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" ContentType="image/tiff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Ex1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159" r:id="rId2"/>
    <p:sldMasterId id="2147484182" r:id="rId3"/>
  </p:sldMasterIdLst>
  <p:notesMasterIdLst>
    <p:notesMasterId r:id="rId22"/>
  </p:notesMasterIdLst>
  <p:handoutMasterIdLst>
    <p:handoutMasterId r:id="rId23"/>
  </p:handoutMasterIdLst>
  <p:sldIdLst>
    <p:sldId id="325" r:id="rId4"/>
    <p:sldId id="289" r:id="rId5"/>
    <p:sldId id="288" r:id="rId6"/>
    <p:sldId id="314" r:id="rId7"/>
    <p:sldId id="296" r:id="rId8"/>
    <p:sldId id="297" r:id="rId9"/>
    <p:sldId id="313" r:id="rId10"/>
    <p:sldId id="275" r:id="rId11"/>
    <p:sldId id="277" r:id="rId12"/>
    <p:sldId id="293" r:id="rId13"/>
    <p:sldId id="299" r:id="rId14"/>
    <p:sldId id="300" r:id="rId15"/>
    <p:sldId id="301" r:id="rId16"/>
    <p:sldId id="306" r:id="rId17"/>
    <p:sldId id="316" r:id="rId18"/>
    <p:sldId id="319" r:id="rId19"/>
    <p:sldId id="324" r:id="rId20"/>
    <p:sldId id="290" r:id="rId21"/>
  </p:sldIdLst>
  <p:sldSz cx="12192000" cy="6858000"/>
  <p:notesSz cx="6648450" cy="98504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2">
          <p15:clr>
            <a:srgbClr val="A4A3A4"/>
          </p15:clr>
        </p15:guide>
        <p15:guide id="2" pos="209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CF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43" autoAdjust="0"/>
    <p:restoredTop sz="96181" autoAdjust="0"/>
  </p:normalViewPr>
  <p:slideViewPr>
    <p:cSldViewPr>
      <p:cViewPr varScale="1">
        <p:scale>
          <a:sx n="108" d="100"/>
          <a:sy n="108" d="100"/>
        </p:scale>
        <p:origin x="636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4" d="100"/>
          <a:sy n="74" d="100"/>
        </p:scale>
        <p:origin x="-2208" y="-96"/>
      </p:cViewPr>
      <p:guideLst>
        <p:guide orient="horz" pos="3102"/>
        <p:guide pos="209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microsoft.com/office/2015/10/relationships/revisionInfo" Target="revisionInfo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NC\Desktop\Kopie%20von%20Wolk_Data_Export_Total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ZNC\Desktop\Kopie%20von%20F&#252;r%20ZN_Info%20aus%20CAE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02\Appl\DATABASE\ORGDB\Do100000\00125376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02\Appl\DATABASE\ORGDB\Do100000\00125376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FS02\Appl\DATABASE\ORGDB\Do100000\00125376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oleObject" Target="file:///C:\Users\ZNC\Desktop\Kopie%20von%20F&#252;r%20ZN_Info%20aus%20CA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55689034830724"/>
          <c:y val="3.5471964608500321E-2"/>
          <c:w val="0.93413663407013325"/>
          <c:h val="0.901257117946761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A$19</c:f>
              <c:strCache>
                <c:ptCount val="1"/>
                <c:pt idx="0">
                  <c:v>Africa</c:v>
                </c:pt>
              </c:strCache>
            </c:strRef>
          </c:tx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Data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B$19:$L$19</c:f>
              <c:numCache>
                <c:formatCode>_ * #,##0_ ;_ * \-#,##0_ ;_ * "-"??_ ;_ @_ </c:formatCode>
                <c:ptCount val="11"/>
                <c:pt idx="0">
                  <c:v>19457865</c:v>
                </c:pt>
                <c:pt idx="1">
                  <c:v>20685325</c:v>
                </c:pt>
                <c:pt idx="2">
                  <c:v>22177398</c:v>
                </c:pt>
                <c:pt idx="3">
                  <c:v>23500595</c:v>
                </c:pt>
                <c:pt idx="4">
                  <c:v>24506350</c:v>
                </c:pt>
                <c:pt idx="5">
                  <c:v>25816854</c:v>
                </c:pt>
                <c:pt idx="6">
                  <c:v>26462275.349999998</c:v>
                </c:pt>
                <c:pt idx="7">
                  <c:v>27123832.233749997</c:v>
                </c:pt>
                <c:pt idx="8">
                  <c:v>27801928.039593745</c:v>
                </c:pt>
                <c:pt idx="9">
                  <c:v>28496976.240583587</c:v>
                </c:pt>
                <c:pt idx="10">
                  <c:v>29209400.646598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09-463C-B58C-714C15DE1064}"/>
            </c:ext>
          </c:extLst>
        </c:ser>
        <c:ser>
          <c:idx val="1"/>
          <c:order val="1"/>
          <c:tx>
            <c:strRef>
              <c:f>Data!$A$20</c:f>
              <c:strCache>
                <c:ptCount val="1"/>
                <c:pt idx="0">
                  <c:v>Asia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Data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B$20:$L$20</c:f>
              <c:numCache>
                <c:formatCode>_ * #,##0_ ;_ * \-#,##0_ ;_ * "-"??_ ;_ @_ </c:formatCode>
                <c:ptCount val="11"/>
                <c:pt idx="0">
                  <c:v>333154436</c:v>
                </c:pt>
                <c:pt idx="1">
                  <c:v>361502279</c:v>
                </c:pt>
                <c:pt idx="2">
                  <c:v>388077418</c:v>
                </c:pt>
                <c:pt idx="3">
                  <c:v>413493246</c:v>
                </c:pt>
                <c:pt idx="4">
                  <c:v>438359606</c:v>
                </c:pt>
                <c:pt idx="5">
                  <c:v>465939208</c:v>
                </c:pt>
                <c:pt idx="6">
                  <c:v>479917384.24000001</c:v>
                </c:pt>
                <c:pt idx="7">
                  <c:v>494314905.76719999</c:v>
                </c:pt>
                <c:pt idx="8">
                  <c:v>509144352.940216</c:v>
                </c:pt>
                <c:pt idx="9">
                  <c:v>524418683.52842247</c:v>
                </c:pt>
                <c:pt idx="10">
                  <c:v>540151244.034275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09-463C-B58C-714C15DE1064}"/>
            </c:ext>
          </c:extLst>
        </c:ser>
        <c:ser>
          <c:idx val="2"/>
          <c:order val="2"/>
          <c:tx>
            <c:strRef>
              <c:f>Data!$A$21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numRef>
              <c:f>Data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B$21:$L$21</c:f>
              <c:numCache>
                <c:formatCode>_ * #,##0_ ;_ * \-#,##0_ ;_ * "-"??_ ;_ @_ </c:formatCode>
                <c:ptCount val="11"/>
                <c:pt idx="0">
                  <c:v>361634772</c:v>
                </c:pt>
                <c:pt idx="1">
                  <c:v>384777228</c:v>
                </c:pt>
                <c:pt idx="2">
                  <c:v>415366179</c:v>
                </c:pt>
                <c:pt idx="3">
                  <c:v>430828791</c:v>
                </c:pt>
                <c:pt idx="4">
                  <c:v>440975131</c:v>
                </c:pt>
                <c:pt idx="5">
                  <c:v>466005717</c:v>
                </c:pt>
                <c:pt idx="6">
                  <c:v>472995802.75499994</c:v>
                </c:pt>
                <c:pt idx="7">
                  <c:v>480090739.79632491</c:v>
                </c:pt>
                <c:pt idx="8">
                  <c:v>487292100.89326972</c:v>
                </c:pt>
                <c:pt idx="9">
                  <c:v>494601482.40666872</c:v>
                </c:pt>
                <c:pt idx="10">
                  <c:v>502020504.64276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409-463C-B58C-714C15DE1064}"/>
            </c:ext>
          </c:extLst>
        </c:ser>
        <c:ser>
          <c:idx val="3"/>
          <c:order val="3"/>
          <c:tx>
            <c:strRef>
              <c:f>Data!$A$22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numRef>
              <c:f>Data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B$22:$L$22</c:f>
              <c:numCache>
                <c:formatCode>_ * #,##0_ ;_ * \-#,##0_ ;_ * "-"??_ ;_ @_ </c:formatCode>
                <c:ptCount val="11"/>
                <c:pt idx="0">
                  <c:v>345095420</c:v>
                </c:pt>
                <c:pt idx="1">
                  <c:v>354508992</c:v>
                </c:pt>
                <c:pt idx="2">
                  <c:v>364363861</c:v>
                </c:pt>
                <c:pt idx="3">
                  <c:v>374757533</c:v>
                </c:pt>
                <c:pt idx="4">
                  <c:v>385516658</c:v>
                </c:pt>
                <c:pt idx="5">
                  <c:v>394523639</c:v>
                </c:pt>
                <c:pt idx="6">
                  <c:v>400441493.58499998</c:v>
                </c:pt>
                <c:pt idx="7">
                  <c:v>406448115.98877496</c:v>
                </c:pt>
                <c:pt idx="8">
                  <c:v>412544837.72860652</c:v>
                </c:pt>
                <c:pt idx="9">
                  <c:v>418733010.29453558</c:v>
                </c:pt>
                <c:pt idx="10">
                  <c:v>425014005.44895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409-463C-B58C-714C15DE1064}"/>
            </c:ext>
          </c:extLst>
        </c:ser>
        <c:ser>
          <c:idx val="4"/>
          <c:order val="4"/>
          <c:tx>
            <c:strRef>
              <c:f>Data!$A$23</c:f>
              <c:strCache>
                <c:ptCount val="1"/>
                <c:pt idx="0">
                  <c:v>Oceani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numRef>
              <c:f>Data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Data!$B$23:$L$23</c:f>
              <c:numCache>
                <c:formatCode>_ * #,##0_ ;_ * \-#,##0_ ;_ * "-"??_ ;_ @_ </c:formatCode>
                <c:ptCount val="11"/>
                <c:pt idx="0">
                  <c:v>19917126</c:v>
                </c:pt>
                <c:pt idx="1">
                  <c:v>20886743</c:v>
                </c:pt>
                <c:pt idx="2">
                  <c:v>22206153</c:v>
                </c:pt>
                <c:pt idx="3">
                  <c:v>23308211</c:v>
                </c:pt>
                <c:pt idx="4">
                  <c:v>24027343</c:v>
                </c:pt>
                <c:pt idx="5">
                  <c:v>25123271</c:v>
                </c:pt>
                <c:pt idx="6">
                  <c:v>25625736.420000002</c:v>
                </c:pt>
                <c:pt idx="7">
                  <c:v>26138251.148400001</c:v>
                </c:pt>
                <c:pt idx="8">
                  <c:v>26661016.171368003</c:v>
                </c:pt>
                <c:pt idx="9">
                  <c:v>27194236.494795363</c:v>
                </c:pt>
                <c:pt idx="10">
                  <c:v>27738121.224691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409-463C-B58C-714C15DE10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00411024"/>
        <c:axId val="300411808"/>
      </c:barChart>
      <c:catAx>
        <c:axId val="300411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411808"/>
        <c:crosses val="autoZero"/>
        <c:auto val="1"/>
        <c:lblAlgn val="ctr"/>
        <c:lblOffset val="100"/>
        <c:noMultiLvlLbl val="0"/>
      </c:catAx>
      <c:valAx>
        <c:axId val="300411808"/>
        <c:scaling>
          <c:orientation val="minMax"/>
          <c:max val="1600000000"/>
        </c:scaling>
        <c:delete val="0"/>
        <c:axPos val="l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00411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69221096645828"/>
          <c:y val="2.438856125049391E-2"/>
          <c:w val="0.45974235185989443"/>
          <c:h val="7.669724967917254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ES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B$2:$B$11</c:f>
              <c:numCache>
                <c:formatCode>0.0%</c:formatCode>
                <c:ptCount val="10"/>
                <c:pt idx="0">
                  <c:v>0.3</c:v>
                </c:pt>
                <c:pt idx="1">
                  <c:v>0.3</c:v>
                </c:pt>
                <c:pt idx="2">
                  <c:v>0.4</c:v>
                </c:pt>
                <c:pt idx="3">
                  <c:v>0.7</c:v>
                </c:pt>
                <c:pt idx="4">
                  <c:v>0.2</c:v>
                </c:pt>
                <c:pt idx="5">
                  <c:v>0.45</c:v>
                </c:pt>
                <c:pt idx="6">
                  <c:v>0.35</c:v>
                </c:pt>
                <c:pt idx="7">
                  <c:v>0.3</c:v>
                </c:pt>
                <c:pt idx="8">
                  <c:v>0.25</c:v>
                </c:pt>
                <c:pt idx="9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9E-4A08-8947-CB1F09C0B39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IAM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C$2:$C$11</c:f>
              <c:numCache>
                <c:formatCode>0.0%</c:formatCode>
                <c:ptCount val="10"/>
                <c:pt idx="0">
                  <c:v>0.70000000000000007</c:v>
                </c:pt>
                <c:pt idx="1">
                  <c:v>0.7</c:v>
                </c:pt>
                <c:pt idx="2">
                  <c:v>0.6</c:v>
                </c:pt>
                <c:pt idx="3">
                  <c:v>0.30000000000000004</c:v>
                </c:pt>
                <c:pt idx="4">
                  <c:v>0.8</c:v>
                </c:pt>
                <c:pt idx="5">
                  <c:v>0.55000000000000004</c:v>
                </c:pt>
                <c:pt idx="6">
                  <c:v>0.65</c:v>
                </c:pt>
                <c:pt idx="7">
                  <c:v>0.7</c:v>
                </c:pt>
                <c:pt idx="8">
                  <c:v>0.75</c:v>
                </c:pt>
                <c:pt idx="9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9E-4A08-8947-CB1F09C0B3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60820464"/>
        <c:axId val="460818496"/>
      </c:barChart>
      <c:catAx>
        <c:axId val="46082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0818496"/>
        <c:crosses val="autoZero"/>
        <c:auto val="1"/>
        <c:lblAlgn val="ctr"/>
        <c:lblOffset val="100"/>
        <c:noMultiLvlLbl val="0"/>
      </c:catAx>
      <c:valAx>
        <c:axId val="460818496"/>
        <c:scaling>
          <c:orientation val="minMax"/>
        </c:scaling>
        <c:delete val="1"/>
        <c:axPos val="t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6082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661106305271253E-2"/>
          <c:y val="0.75501610106514738"/>
          <c:w val="0.13839281577947685"/>
          <c:h val="0.203231182985951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8977868092088924"/>
          <c:y val="5.0925925925925923E-2"/>
          <c:w val="0.46384642508651031"/>
          <c:h val="0.8453703703703703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4!$B$1</c:f>
              <c:strCache>
                <c:ptCount val="1"/>
                <c:pt idx="0">
                  <c:v>Aftermarket volume in bn. €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4!$A$2:$A$9</c:f>
              <c:strCache>
                <c:ptCount val="8"/>
                <c:pt idx="0">
                  <c:v>CONGO</c:v>
                </c:pt>
                <c:pt idx="1">
                  <c:v>TUNISIA</c:v>
                </c:pt>
                <c:pt idx="2">
                  <c:v>LIBYA</c:v>
                </c:pt>
                <c:pt idx="3">
                  <c:v>NIGERIA</c:v>
                </c:pt>
                <c:pt idx="4">
                  <c:v>MOROCCO</c:v>
                </c:pt>
                <c:pt idx="5">
                  <c:v>ALGERIA</c:v>
                </c:pt>
                <c:pt idx="6">
                  <c:v>EGYPT</c:v>
                </c:pt>
                <c:pt idx="7">
                  <c:v>SOUTH AFRICA</c:v>
                </c:pt>
              </c:strCache>
            </c:strRef>
          </c:cat>
          <c:val>
            <c:numRef>
              <c:f>Tabelle4!$B$2:$B$9</c:f>
              <c:numCache>
                <c:formatCode>0</c:formatCode>
                <c:ptCount val="8"/>
                <c:pt idx="0">
                  <c:v>275</c:v>
                </c:pt>
                <c:pt idx="1">
                  <c:v>297</c:v>
                </c:pt>
                <c:pt idx="2">
                  <c:v>368.9</c:v>
                </c:pt>
                <c:pt idx="3">
                  <c:v>742.5</c:v>
                </c:pt>
                <c:pt idx="4">
                  <c:v>765</c:v>
                </c:pt>
                <c:pt idx="5">
                  <c:v>1110</c:v>
                </c:pt>
                <c:pt idx="6">
                  <c:v>1315.3014000000001</c:v>
                </c:pt>
                <c:pt idx="7">
                  <c:v>2042.80192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8CC-40EA-A2B0-6DD0B7564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462890808"/>
        <c:axId val="462892120"/>
      </c:barChart>
      <c:catAx>
        <c:axId val="4628908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2892120"/>
        <c:crosses val="autoZero"/>
        <c:auto val="1"/>
        <c:lblAlgn val="ctr"/>
        <c:lblOffset val="100"/>
        <c:noMultiLvlLbl val="0"/>
      </c:catAx>
      <c:valAx>
        <c:axId val="462892120"/>
        <c:scaling>
          <c:orientation val="minMax"/>
          <c:max val="2300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28908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ata to use'!$A$22</c:f>
              <c:strCache>
                <c:ptCount val="1"/>
                <c:pt idx="0">
                  <c:v>Europ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Data to use'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'Data to use'!$B$22:$L$22</c:f>
              <c:numCache>
                <c:formatCode>_ * #,##0_ ;_ * \-#,##0_ ;_ * "-"??_ ;_ @_ </c:formatCode>
                <c:ptCount val="11"/>
                <c:pt idx="0">
                  <c:v>345095420</c:v>
                </c:pt>
                <c:pt idx="1">
                  <c:v>354508992</c:v>
                </c:pt>
                <c:pt idx="2">
                  <c:v>364363861</c:v>
                </c:pt>
                <c:pt idx="3">
                  <c:v>374757533</c:v>
                </c:pt>
                <c:pt idx="4">
                  <c:v>385516658</c:v>
                </c:pt>
                <c:pt idx="5">
                  <c:v>394523639</c:v>
                </c:pt>
                <c:pt idx="6">
                  <c:v>400441493.58499998</c:v>
                </c:pt>
                <c:pt idx="7">
                  <c:v>406448115.98877496</c:v>
                </c:pt>
                <c:pt idx="8">
                  <c:v>412544837.72860652</c:v>
                </c:pt>
                <c:pt idx="9">
                  <c:v>418733010.29453558</c:v>
                </c:pt>
                <c:pt idx="10">
                  <c:v>425014005.448953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A9D-4A4B-9F4D-4F68AD4EF6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4048656"/>
        <c:axId val="204049832"/>
      </c:barChart>
      <c:catAx>
        <c:axId val="204048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4049832"/>
        <c:crosses val="autoZero"/>
        <c:auto val="1"/>
        <c:lblAlgn val="ctr"/>
        <c:lblOffset val="100"/>
        <c:noMultiLvlLbl val="0"/>
      </c:catAx>
      <c:valAx>
        <c:axId val="20404983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204048656"/>
        <c:crosses val="autoZero"/>
        <c:crossBetween val="between"/>
      </c:valAx>
      <c:spPr>
        <a:noFill/>
        <a:ln>
          <a:solidFill>
            <a:schemeClr val="accent1"/>
          </a:solidFill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ata to use'!$A$21</c:f>
              <c:strCache>
                <c:ptCount val="1"/>
                <c:pt idx="0">
                  <c:v>Americ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Data to use'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'Data to use'!$B$21:$L$21</c:f>
              <c:numCache>
                <c:formatCode>_ * #,##0_ ;_ * \-#,##0_ ;_ * "-"??_ ;_ @_ </c:formatCode>
                <c:ptCount val="11"/>
                <c:pt idx="0">
                  <c:v>361634772</c:v>
                </c:pt>
                <c:pt idx="1">
                  <c:v>384777228</c:v>
                </c:pt>
                <c:pt idx="2">
                  <c:v>415366179</c:v>
                </c:pt>
                <c:pt idx="3">
                  <c:v>430828791</c:v>
                </c:pt>
                <c:pt idx="4">
                  <c:v>440975131</c:v>
                </c:pt>
                <c:pt idx="5">
                  <c:v>466005717</c:v>
                </c:pt>
                <c:pt idx="6">
                  <c:v>472995802.75499994</c:v>
                </c:pt>
                <c:pt idx="7">
                  <c:v>480090739.79632491</c:v>
                </c:pt>
                <c:pt idx="8">
                  <c:v>487292100.89326972</c:v>
                </c:pt>
                <c:pt idx="9">
                  <c:v>494601482.40666872</c:v>
                </c:pt>
                <c:pt idx="10">
                  <c:v>502020504.64276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25-4F46-A933-FBA1D5D3DCB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421400"/>
        <c:axId val="417422184"/>
      </c:barChart>
      <c:catAx>
        <c:axId val="417421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17422184"/>
        <c:crosses val="autoZero"/>
        <c:auto val="1"/>
        <c:lblAlgn val="ctr"/>
        <c:lblOffset val="100"/>
        <c:noMultiLvlLbl val="0"/>
      </c:catAx>
      <c:valAx>
        <c:axId val="4174221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17421400"/>
        <c:crosses val="autoZero"/>
        <c:crossBetween val="between"/>
      </c:valAx>
      <c:spPr>
        <a:noFill/>
        <a:ln>
          <a:solidFill>
            <a:schemeClr val="accent1"/>
          </a:solidFill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ata to use'!$A$20</c:f>
              <c:strCache>
                <c:ptCount val="1"/>
                <c:pt idx="0">
                  <c:v>Asi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Data to use'!$B$18:$L$18</c:f>
              <c:numCache>
                <c:formatCode>General</c:formatCode>
                <c:ptCount val="11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21</c:v>
                </c:pt>
                <c:pt idx="7">
                  <c:v>2022</c:v>
                </c:pt>
                <c:pt idx="8">
                  <c:v>2023</c:v>
                </c:pt>
                <c:pt idx="9">
                  <c:v>2024</c:v>
                </c:pt>
                <c:pt idx="10">
                  <c:v>2025</c:v>
                </c:pt>
              </c:numCache>
            </c:numRef>
          </c:cat>
          <c:val>
            <c:numRef>
              <c:f>'Data to use'!$B$20:$L$20</c:f>
              <c:numCache>
                <c:formatCode>_ * #,##0_ ;_ * \-#,##0_ ;_ * "-"??_ ;_ @_ </c:formatCode>
                <c:ptCount val="11"/>
                <c:pt idx="0">
                  <c:v>333154436</c:v>
                </c:pt>
                <c:pt idx="1">
                  <c:v>361502279</c:v>
                </c:pt>
                <c:pt idx="2">
                  <c:v>388077418</c:v>
                </c:pt>
                <c:pt idx="3">
                  <c:v>413493246</c:v>
                </c:pt>
                <c:pt idx="4">
                  <c:v>438359606</c:v>
                </c:pt>
                <c:pt idx="5">
                  <c:v>465939208</c:v>
                </c:pt>
                <c:pt idx="6">
                  <c:v>475257992.16000003</c:v>
                </c:pt>
                <c:pt idx="7">
                  <c:v>484763152.00320005</c:v>
                </c:pt>
                <c:pt idx="8">
                  <c:v>494458415.04326409</c:v>
                </c:pt>
                <c:pt idx="9">
                  <c:v>504347583.34412938</c:v>
                </c:pt>
                <c:pt idx="10">
                  <c:v>514434535.01101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B03-4549-8CD4-8F3A9A230B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421792"/>
        <c:axId val="417419440"/>
      </c:barChart>
      <c:catAx>
        <c:axId val="4174217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17419440"/>
        <c:crosses val="autoZero"/>
        <c:auto val="1"/>
        <c:lblAlgn val="ctr"/>
        <c:lblOffset val="100"/>
        <c:noMultiLvlLbl val="0"/>
      </c:catAx>
      <c:valAx>
        <c:axId val="4174194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 * #,##0_ ;_ * \-#,##0_ ;_ * &quot;-&quot;??_ ;_ 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17421792"/>
        <c:crosses val="autoZero"/>
        <c:crossBetween val="between"/>
      </c:valAx>
      <c:spPr>
        <a:noFill/>
        <a:ln>
          <a:solidFill>
            <a:schemeClr val="accent1"/>
          </a:solidFill>
        </a:ln>
        <a:effectLst/>
      </c:spPr>
    </c:plotArea>
    <c:plotVisOnly val="1"/>
    <c:dispBlanksAs val="gap"/>
    <c:showDLblsOverMax val="0"/>
  </c:chart>
  <c:spPr>
    <a:noFill/>
    <a:ln>
      <a:solidFill>
        <a:schemeClr val="accent1"/>
      </a:solidFill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14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3</c:f>
              <c:strCache>
                <c:ptCount val="2"/>
                <c:pt idx="0">
                  <c:v>OES</c:v>
                </c:pt>
                <c:pt idx="1">
                  <c:v>IAM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41.74</c:v>
                </c:pt>
                <c:pt idx="1">
                  <c:v>58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B9-41B5-A06E-BCA13F6F85C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ES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B$2:$B$11</c:f>
              <c:numCache>
                <c:formatCode>0.0%</c:formatCode>
                <c:ptCount val="10"/>
                <c:pt idx="0">
                  <c:v>0.46</c:v>
                </c:pt>
                <c:pt idx="1">
                  <c:v>0.49399999999999999</c:v>
                </c:pt>
                <c:pt idx="2">
                  <c:v>0.48</c:v>
                </c:pt>
                <c:pt idx="3">
                  <c:v>0.56799999999999995</c:v>
                </c:pt>
                <c:pt idx="4">
                  <c:v>0.23799999999999999</c:v>
                </c:pt>
                <c:pt idx="5">
                  <c:v>0.44540000000000002</c:v>
                </c:pt>
                <c:pt idx="6">
                  <c:v>0.42280000000000001</c:v>
                </c:pt>
                <c:pt idx="7">
                  <c:v>0.42859999999999998</c:v>
                </c:pt>
                <c:pt idx="8">
                  <c:v>0.33800000000000002</c:v>
                </c:pt>
                <c:pt idx="9">
                  <c:v>0.411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9E-4A08-8947-CB1F09C0B39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IAM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C$2:$C$11</c:f>
              <c:numCache>
                <c:formatCode>0.0%</c:formatCode>
                <c:ptCount val="10"/>
                <c:pt idx="0">
                  <c:v>0.54</c:v>
                </c:pt>
                <c:pt idx="1">
                  <c:v>0.50600000000000001</c:v>
                </c:pt>
                <c:pt idx="2">
                  <c:v>0.52</c:v>
                </c:pt>
                <c:pt idx="3">
                  <c:v>0.432</c:v>
                </c:pt>
                <c:pt idx="4">
                  <c:v>0.76200000000000001</c:v>
                </c:pt>
                <c:pt idx="5">
                  <c:v>0.55459999999999998</c:v>
                </c:pt>
                <c:pt idx="6">
                  <c:v>0.57720000000000005</c:v>
                </c:pt>
                <c:pt idx="7">
                  <c:v>0.57140000000000002</c:v>
                </c:pt>
                <c:pt idx="8">
                  <c:v>0.66200000000000003</c:v>
                </c:pt>
                <c:pt idx="9">
                  <c:v>0.5880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9E-4A08-8947-CB1F09C0B3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60820464"/>
        <c:axId val="460818496"/>
      </c:barChart>
      <c:catAx>
        <c:axId val="46082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0818496"/>
        <c:crosses val="autoZero"/>
        <c:auto val="1"/>
        <c:lblAlgn val="ctr"/>
        <c:lblOffset val="100"/>
        <c:noMultiLvlLbl val="0"/>
      </c:catAx>
      <c:valAx>
        <c:axId val="460818496"/>
        <c:scaling>
          <c:orientation val="minMax"/>
        </c:scaling>
        <c:delete val="1"/>
        <c:axPos val="t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6082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661106305271253E-2"/>
          <c:y val="0.75501610106514738"/>
          <c:w val="0.13839281577947685"/>
          <c:h val="0.203231182985951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14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3</c:f>
              <c:strCache>
                <c:ptCount val="2"/>
                <c:pt idx="0">
                  <c:v>OES</c:v>
                </c:pt>
                <c:pt idx="1">
                  <c:v>IAM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34.97</c:v>
                </c:pt>
                <c:pt idx="1">
                  <c:v>65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B9-41B5-A06E-BCA13F6F85C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OES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B$2:$B$11</c:f>
              <c:numCache>
                <c:formatCode>0.0%</c:formatCode>
                <c:ptCount val="10"/>
                <c:pt idx="0">
                  <c:v>0.37</c:v>
                </c:pt>
                <c:pt idx="1">
                  <c:v>0.3</c:v>
                </c:pt>
                <c:pt idx="2">
                  <c:v>0.28000000000000003</c:v>
                </c:pt>
                <c:pt idx="3">
                  <c:v>0.3</c:v>
                </c:pt>
                <c:pt idx="4">
                  <c:v>0.45</c:v>
                </c:pt>
                <c:pt idx="5">
                  <c:v>0.3</c:v>
                </c:pt>
                <c:pt idx="6">
                  <c:v>0.6</c:v>
                </c:pt>
                <c:pt idx="7">
                  <c:v>0.3</c:v>
                </c:pt>
                <c:pt idx="8">
                  <c:v>0.3</c:v>
                </c:pt>
                <c:pt idx="9">
                  <c:v>0.34999999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9E-4A08-8947-CB1F09C0B39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IAM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11</c:f>
              <c:strCache>
                <c:ptCount val="10"/>
                <c:pt idx="0">
                  <c:v>Mechanical replacement parts</c:v>
                </c:pt>
                <c:pt idx="1">
                  <c:v>Electrics</c:v>
                </c:pt>
                <c:pt idx="2">
                  <c:v>Body parts and Lighting</c:v>
                </c:pt>
                <c:pt idx="3">
                  <c:v>Assemblies</c:v>
                </c:pt>
                <c:pt idx="4">
                  <c:v>Tyres</c:v>
                </c:pt>
                <c:pt idx="5">
                  <c:v>Oil/Lubricants</c:v>
                </c:pt>
                <c:pt idx="6">
                  <c:v>Paint</c:v>
                </c:pt>
                <c:pt idx="7">
                  <c:v>Other chemicals</c:v>
                </c:pt>
                <c:pt idx="8">
                  <c:v>Accessories</c:v>
                </c:pt>
                <c:pt idx="9">
                  <c:v>Auto glass</c:v>
                </c:pt>
              </c:strCache>
            </c:strRef>
          </c:cat>
          <c:val>
            <c:numRef>
              <c:f>Tabelle1!$C$2:$C$11</c:f>
              <c:numCache>
                <c:formatCode>0.0%</c:formatCode>
                <c:ptCount val="10"/>
                <c:pt idx="0">
                  <c:v>0.63</c:v>
                </c:pt>
                <c:pt idx="1">
                  <c:v>0.7</c:v>
                </c:pt>
                <c:pt idx="2">
                  <c:v>0.72</c:v>
                </c:pt>
                <c:pt idx="3">
                  <c:v>0.7</c:v>
                </c:pt>
                <c:pt idx="4">
                  <c:v>0.55000000000000004</c:v>
                </c:pt>
                <c:pt idx="5">
                  <c:v>0.7</c:v>
                </c:pt>
                <c:pt idx="6">
                  <c:v>0.4</c:v>
                </c:pt>
                <c:pt idx="7">
                  <c:v>0.70000000000000007</c:v>
                </c:pt>
                <c:pt idx="8">
                  <c:v>0.7</c:v>
                </c:pt>
                <c:pt idx="9">
                  <c:v>0.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49E-4A08-8947-CB1F09C0B3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60820464"/>
        <c:axId val="460818496"/>
      </c:barChart>
      <c:catAx>
        <c:axId val="460820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  <a:headEnd type="none" w="sm" len="sm"/>
            <a:tailEnd type="none" w="sm" len="sm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460818496"/>
        <c:crosses val="autoZero"/>
        <c:auto val="1"/>
        <c:lblAlgn val="ctr"/>
        <c:lblOffset val="100"/>
        <c:noMultiLvlLbl val="0"/>
      </c:catAx>
      <c:valAx>
        <c:axId val="460818496"/>
        <c:scaling>
          <c:orientation val="minMax"/>
        </c:scaling>
        <c:delete val="1"/>
        <c:axPos val="t"/>
        <c:majorGridlines>
          <c:spPr>
            <a:ln w="9525" cap="flat" cmpd="sng" algn="ctr">
              <a:gradFill>
                <a:gsLst>
                  <a:gs pos="0">
                    <a:schemeClr val="tx1">
                      <a:lumMod val="5000"/>
                      <a:lumOff val="95000"/>
                    </a:schemeClr>
                  </a:gs>
                  <a:gs pos="100000">
                    <a:schemeClr val="tx1">
                      <a:lumMod val="15000"/>
                      <a:lumOff val="85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60820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2.661106305271253E-2"/>
          <c:y val="0.75501610106514738"/>
          <c:w val="0.13839281577947685"/>
          <c:h val="0.2032311829859513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9"/>
    </mc:Choice>
    <mc:Fallback>
      <c:style val="9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2014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de-DE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Tabelle1!$A$2:$A$3</c:f>
              <c:strCache>
                <c:ptCount val="2"/>
                <c:pt idx="0">
                  <c:v>OES</c:v>
                </c:pt>
                <c:pt idx="1">
                  <c:v>IAM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31.93</c:v>
                </c:pt>
                <c:pt idx="1">
                  <c:v>68.06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9B9-41B5-A06E-BCA13F6F85C0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Tabelle4!$A$2:$A$9</cx:f>
        <cx:nf>Tabelle4!A1</cx:nf>
        <cx:lvl ptCount="8" name="Country">
          <cx:pt idx="0">CONGO</cx:pt>
          <cx:pt idx="1">TUNISIA</cx:pt>
          <cx:pt idx="2">LIBYA</cx:pt>
          <cx:pt idx="3">NIGERIA</cx:pt>
          <cx:pt idx="4">MOROCCO</cx:pt>
          <cx:pt idx="5">ALGERIA</cx:pt>
          <cx:pt idx="6">EGYPT</cx:pt>
          <cx:pt idx="7">SOUTH AFRICA</cx:pt>
        </cx:lvl>
      </cx:strDim>
      <cx:numDim type="colorVal">
        <cx:f>Tabelle4!$B$2:$B$9</cx:f>
        <cx:lvl ptCount="8" formatCode="0">
          <cx:pt idx="0">275</cx:pt>
          <cx:pt idx="1">297</cx:pt>
          <cx:pt idx="2">368.89999999999998</cx:pt>
          <cx:pt idx="3">742.5</cx:pt>
          <cx:pt idx="4">765</cx:pt>
          <cx:pt idx="5">1110</cx:pt>
          <cx:pt idx="6">1315.3014000000001</cx:pt>
          <cx:pt idx="7">2042.8019200000001</cx:pt>
        </cx:lvl>
      </cx:numDim>
    </cx:data>
  </cx:chartData>
  <cx:chart>
    <cx:plotArea>
      <cx:plotAreaRegion>
        <cx:series layoutId="regionMap" uniqueId="{0C177AE8-9D7E-4DAE-B602-AAECE3158AFC}">
          <cx:tx>
            <cx:txData>
              <cx:f>Tabelle4!$B$1</cx:f>
              <cx:v>Aftermarket volume in bn. €</cx:v>
            </cx:txData>
          </cx:tx>
          <cx:dataId val="0"/>
          <cx:layoutPr>
            <cx:geography cultureLanguage="de-DE" cultureRegion="DE" attribution="Unterstützt von Bing">
              <cx:geoCache provider="{E9337A44-BEBE-4D9F-B70C-5C5E7DAFC167}">
                <cx:binary>7HtZj944suVfMfw0A4xcpLg3ui/QlPStua92vgjpdFqiRGoXtTzfn3Xf+o9NZLntsrN7eqobNegL
TD0lUhQ/URHBiHNOiH98mv/wZJ8fuzezs1X/h6f5T2/zYWj+8NNP/VP+7B77d848dXVffx7ePdXu
p/rzZ/P0/NOn7nEyVfZTiDD96Sl/7Ibn+e1//BF+LXuuT+qnx8HU1eX43C1Xz/1oh/4fjP3doTdP
9VgNL9Mz+KU/vf3zyTa52v/57ZvnajDDcrM0z396+8M9b9/89PqX/uapbywsbBg/wdxQvsOMISlp
SLkMmVJv39i6yr4Ov+NCCqqQpFSEnCn59dFnjw6m/9lmz515rr5e/XsL+nk5j58+dc99/+avf7+f
+cPyvx8wfR19ef2ofllr/PDzy/30o3n/44+vLsDrvrrynQde2+b/NvTaAdH52fb8H73tP2f+IHwn
hRKEKco5YyF/bX/yDoyOMJYUyRCFr+1/BFfVb/5HfHX8n/9oUX/fBT9MfuWFH8Ygol5Z9G8u/D81
+s3t2f76t4x6Qt9hTCknEnHMQoLwD1Gv3jGBlRQwhJTiSNGvxv0S9Tdj9dz/S1H/y8xX9v5l4HXU
35z9+6P++vz2Zvfmz5urffQb5p4gVO8QCkMMThCIM/rKDSF7hyQC54SSCshLX3LeFxdc/+W/Pj1+
7kz5+PX6r08938995Ybvh1474gFe/d+9E872v3H+h1CXLGQEYp1hhikiP+wE+Q4psD5TmAsqEUOv
dsKZecn//4IPvk185YBv119b/2z777f+yV5/+A3jPxTvEMUylGB7hsXr2ovB+ARJLBVRIZLqpTR8
vwVOzMflX6m8X+e9svzXy68Nf/Lh32/40/Or8yj6Desuwe8kxUTJkChMmPgh6AP+DnzyYnoB95Dw
byx/+tjVZVl/dcevzzzfJr6y/bfrr41/+t8g53xb3G+FOX83/s9k4O9C0dd4M9l+uLj5R4H2z+HN
kAO0gXzOpZCcv6CbHyIfCrIQMMYpVVAXvj73S8n9y39mSzP8Kxnnl5mv4v6XgdeBn/w3SPc/YODf
Kvh/R/x/jx6/Dvtf4PBvZfffIf83FeJXJZ7vkfBv5YPfAf/3YtCvcsMvGfK3csLvJeCLFverzP8V
FP9mxv8d8tvhV1n+1yiL/yT2+V3q/KpD/yoPfKPiv1Xw/3+mNbySTL9Tmr8J8vHj8Jj8rOT/6tGv
rns19R81BL74b//pT28xA7z/rT/w8hM/KAqvmN63Gc+P/fCntwF6p4AwA2dg5IUcI0aBN0/PP49h
8g4UDKANoCQRIqTCb99UdTfkf3pL2DsVhhQuAeNgSnD+9k1fjy9DoIBwzolSIAMiwbBi37onF7Vd
srr6Zqq//v+mGt1Fbaqh//lt0Ns3zZcbXxYLtAYrWB9IVSEWnOEQ5Krm6fEKejQv9/+vpujrNlDt
80onWxobNUNfpauIV9s0q0ksCTvZR6v0anzCWWoQ1qiRrl9ilPcppZtZ4gxfLdhQfFI6PHZHH3rM
91KNXl6XqOQB12LuVHqe0zJ1+2mwjTlzGYjNR1LMU3GHslS6QwCy20J10y+k2zcIrWumHcmmZs/W
snO65WVvN4EZVBA7aACwLcUrZlEwFW3jNhlf2tOqzF2ju34a+MlSDmzl2wqXbk7jYFiztdg4UXD2
XAQNWy5U09nhFvUZI53OOM2OtJzklvqi3KdVOWc6Q0ydT1Uu9kGG+bEuXatnz7Jn17Kg0Q4Vw4XI
O7FVtCI3rZnTTE82S2M2BMtpIMdgw/Oyj7pKqZ1U/bKrx2zc1SycDkvOFl3MeR5lHWuOa4+nHRGl
jZRA4QmuA1bqCdd2g2hXbJgo1WWQU5KETI7bDqFpi4pCxQGe+7vArum2WsJ5My+9OPZCljFJ8XAy
s749B28FCZauSvXq8vK6sTbb1hV06HTYD2PU8ancddXIotXxNlrSnuoWizZeZrWer/NafaidaZsY
e2IvrJXrSeZ5tVmy0J/ZTPTbchzwrpllcMzGLNjawKrE4pnuJsLWi6GjZi+mety7OqSH0UiyMcQt
re57p7DmSx4mc2vnfbc0eZTmuHmYFaeJ4UV9pkrhm4gVuDwQSpcdLtN+7wgOkn5I01pDIE+nPW9s
bFAtE+zMeCyGhtwIhppEFTm+xo4EThd50W77qWAHRIrlbqF5t1/Tvhpz8Bmhc33wquR9bEpG46Er
qvFRwrtuFl6h9/Pae65XOzfhJ9W16Bm6f1kQ9fOClliuztW3pHTc3HRT44M4Fy0Pbtqw9tUF9rZc
rvqs5JVmBhGiaybzI83abp85n2U66FnY6WLqwuy0dbm5oBbb5mQsV5EmdhqKo+JWDEnnGsGO1gbm
2qOeKx1ULPzAYAt9aARfjwiGzhcyDE4T4uuPSyad0TR02aqtKrO4Va23m9SU6+ep7tMlQpxMlcZl
7xsdGLug2HFbf3J1MwVR4diEP3TGNLdsyknaxKQP7XwuTVVKHEEWCLooCBfebT2VaacxyVOepMxz
k4SqqeRmBWvcr2s1lZuUp9n13BY+jPGCvI86QzKjh9L1B7v4td6WqzdO11nLNowPbCNVs5a6DGAH
6Ub6aY38IkgWuakusV7F1N+24bo+WMcWEWE6j+sWTxLX52YewuVQtkQsD4Tm4rHE7GAKNu0zOiyH
el6zmBdsTcZqLU7rJbQJRWooIzOi/kw1Y6zC3tX3bYpaPaxBflxSKreDHG7CvKzicEizLRdlqMec
n+c1u58wuqmm+WHAttDZmpKNhNZwNLmGxEVRsweIX6Xb1r7PWfbZTehBsBBHtFPVAR4w676r16Rm
Ad76NhwjX9DybBpplpiqW6MpNU9L6JaITusEkSzTu8DjeRv4xe047MApK+YoD4uzMqjEeSVDE4u0
Q2FCcSoSi1SUjR5Hriyu+ICbK1bl/ibsx/VOeJx+KjMine6X5bkLmk+9XBs9LIHfZ8Lt1lRkUT5D
Bq7T+RMeVrtR+eQ2qht6XaAsPAwBtpftlGa7sheXM175LsvLG7P6Kpkq2TwKZOR2spU7L3wKz6n9
6SLwTVGqGyRkUnp5TtYp10ZVSYlFqGWNt+My86i3fFfn1QWqu0y3eTnqYMoeZUDSyDSQ8/x8HGnD
9ZhWOB5qsVktyrUNil1f0wNV1V1YiN0UpndO+sPoiyfw9jOZqNPBGG6WHB9ebF6b+kTlZBc2+VPV
licBxYelwZt05R+adHV6rpr3eSV3o63rhEJgbjn22c62PvjUWei6aZLDM5ndesUOYZfqELHY9sup
q+SJn0iCUa8rPpzQgEVVgQ9FyOLA10nYlbFg5Q5BJEHYntW4ugw78r7qHdJucdPjOnu7rfKiOog0
R7MusBM6lFAkaLENW6mtFZupW+JUouvSl0ZD40RduKVYDhxZrH1Y7NE6cK87MZxYys5Zu24QCvZj
QaKx89uxCq4JMkU093Ms0yExluM468ursFmSqkDPvBmWO2KK9nrEeaXztlXapLLbZk2bbsg817FZ
q/q6cMpo3inYshCpHe4PgRIi4jjFH5dFPooX0y+8z3Xpq/p9ZXM+aM94vW5oZqp9XotmW6Y+GmSZ
P9lSCaubxjBI+U2V5Fk2bQSfP+bl+n4pC3RWheVDiNdQo5qdp3LqD3mzbGSY95p5yClVdVug8LbC
lEWO9ejAmzo9Hxbs5k2Ly+J948c+ykl18GsVq/a+wCJGhscjhnWGMumw2yLVSE35WW1CXWZ8T9xz
4ZXueBiNTZtwYk9KEd7b7lRRc2aqJ99LzYPPXp5l+H3dBTpLWVRmxVY1TdLzJWY43yuW69ryh0zM
+7yaNICgiLTzadjirc1v0+7Rlg91/74t3UlmAY2sRR1VTN0ZXCf4xS+URvngYsQzePCoR+a1NVWy
+nC7BLWGsE8gcJMyLzTLixMnpqibx7uR5Y/1SGCLzB8CQGRFWe3Der2ZZtHqJbgr5zCa13SXBX5D
xJlxWVJ0KJlnFqfTclBNmJDhCF8JxNWQb6w6iHC65/24HUTwIajJdsqRXiasMUJRNfmT1j7ihUTO
ytuiWjZFt95g3moq8WGaumgVd0HxiQuuJek3frqpA/JBdf1JW34oUR0NSxoVARiLPxZrtl0zovkk
EyVtUg7mgnVZPIdB4giPmr6JoJBduX6I+MguBRpjJNCBtnXMUZ24MtsoAwWmhVdtunXRIwYroQBp
Uy0JzbM47cmuRqQVUd2xodBznRWHuq2hEii6a/hxzXm8pIe5cQDQDm1LCl0pF+X81E9Hyot7X+Ed
adpFE5/G7ZDXmq/3K0U72+S6Z9nJMLQ7qAFRT4ckX9oo9FPUChdn6nGZytOVrTEtxrhDH9fZJrbe
d2qKV5/pHJNYpc0JZjaeWB5GnVqf2eR0k+cXcsUugpLZR4DqWu2X50Kk8eyz06Asj5DTI7s0l70Y
b4JWgnmgw71reaMivOzN8DANd3N6WFGhsVsj1F0AItXKQuAjEuGW3pCme+Tl/TwHezzumrGPGezl
Gu+w9Rd45BEU9JiKC99cynXVwwj+RC4OS5O0RkRdSSJubjGAhh7QG6OhJvV7QVE0qwepish3E/jp
du0zTcersriDGnE7jChJV3/Mm9NyfFhtkBQAc4cRAIA3upCpLsy5GplWootqTmPSyJ0fg0tZW9jw
Zz2nOhXwURpLsl4k2eI0rPrY9H1sba0tSnUbtDo0B1N/ImuuBU+1769RQaOxDc6ouQjyVXdzcVou
hxC3l2o4KxVsLv6xH11UqUITdmqCOpqdulvHPWZ3ubQahXOUAloJZbrJEDmb3K5hZ5Audv0sD7Mo
o6AIEjkD41mUxrbVsho0B1Doah9PPEywgEpmecJclZCshW1Q6H71J+liY7mM2hRIZy95jt4wemzF
wePHmlQRh52bCl2s523wWWCpG15rV0CazV8Ay7LLTBk5jiG9hTvR8Cigm8YYKCGnZp01n71Ww8cy
Oyg6nTAxxXy4DInZ4uzI/F1QwxOt0vCNnAZcBxSt2fXWaTR8moomTukuk7clzzTOFbwK0iPQCUD/
UVmchxDNPbzNLDPAUKfT0G+YcdtSiisKZXsqJWzHNcqc1CIv48EsWmaPaIXUwblO8ycIE72GLMra
89DmmsPiubxNeR5TWWinnMbVp7b1OmjTqMnup5XE4Kx4HutoooXOK6czQxPVSZ0XV0E7xYZMOzGW
Oq1uq+ZTmPVxvgTwU93lgoHrUppw+j53x3UCVMhI5CH5yqrSnZx1IN6j6iy3MYEQSoPHPvhgXBWV
E4kbtCTrHMa5pbFLz201QHw/YR4kVdfsG/gRVJ+M6aKxvJ+QTVJ+Y+gn1lYAcMZorUs9kjKiRkZh
M+mVD7ehvxjnlwgCx1nxMSD+aA3Ee9bqNQ8PLrxIEcAQSvbB0mgJIUhJqrkINrT4UMvbQNwr1+wt
ElEBKSSbcLQYMujcDDrt1WYc/cvztJLlRuRGi55s1lVqBusR4p6m6q4aHlCVHud2MyGgLYZoA0ZN
7XkwX/VzH4/i46KeuXoYhyWSpY3H+VNnToeQ71F7XhRlnM151KoqCufgslwygDGFrsd5k0t8PqVP
oXoCyBaYQneNKDZNftNkmO54Fm7gi9KThsdp6p+yhuxWaaMRAEtXV5HsDgydC3EztaOuzMc+faja
83W4GPLTcEaRqoJI2PlaDlMSlPbGpdPdS6Qr38Up6wBbDdHUVheC1qcSmFjTC52WVju5r1sMGPd9
Vd8VpYlIHkSyn+dLSwYWcytTq1sSAvxmChSN5kqO7PPQpVXS1VCz+nY8zYHwazt1ZGuQWR+YIlux
lPEyDHlMajBvCwR2P1iFN6HtVVyFRRZndKTaqxXFQMyypBewIeopf5p5s0bGwCqAWcqdKscLvmTv
S0XizJbJOI1nBHO7zVlvI8uoT4yX/E4utrlpy5SclB5RXda5uMUoKB6HbjwpuxHgXB90eh4Bi0Zq
6AEbLzOU5yq8k06dIlb1mhh/Dqn7KPMssUW56KFSHzLvSTKv7LrJArMrU9j1PQpGLYLewL4HHFNM
83no1suc5PgqSE2tjZ0/FRQUp3Fi5CZV5XwSFHI6pajZ2RSd5d1cbThax60DVKjpMt32CJzRB2Uc
FO1tV4VnXrkk7Is72bBDQXCu157fj5JB5JNcK+of6QpLDedeIzQcR5uetv2wVyVUaZUltfAHknLY
JG59Nt6vOmS9iwSiTIOK4qKChU53RTcAIJzHg8nUdCxD9bCsayJWO+hCTde8Fm5D+q7TK1P3mQuu
UrYwKAZm07TsCfXL+xFlsDXSc1UB6ljEvl15tAAotEtKooG27/MBP+dicXExhG20pvBYrvpnEJK2
hUSXq6FeA5VdtK9BZygr3OlAgmREKblgktw3s/JRnUIO4vhzNTVAj5Y5AVJ5HXb082QfxeoygCG0
i4lX/aFL6+3Uj7Ft2HVduA/KFh/aylUf1BhALu94W+vRQHxmQdhFC7HPGZsM0tal7ui9ncdo9gDs
JhnaTQ84MqZZ050hBGi6qNv5iEdno7YVZJ8qXNa6oO0YjT05FAsdTucq6JKxdmu8GplHL2Kc7k3f
xJVF/ghcZ5cSdVOMoImNWVSg4VDk0yYr7CEkbNtaYBvhvJOLJ7oqww3CEGV0xsnKcmciPrh5V5RA
TJDKP7CgpifM9+2Gk4bcm26ZDpzNHui4YxdVie5D33XHtCPZSb+4Lq4K1sUuHMHzTUM/jLJYT0fA
hanrNwBquyRMESujsgc9pmXVeqFq9WEEKLUF1eAziFQqoq3cURvUGy7bfAsym4uYCyuzk2i8XFwG
NIxhnlDi6gRegBztkKvtwmkdBRLAOWQBvjEvLBeNlY/V0hwtpVTj3u9lTdfTdDRTlIU5wMhxbU6a
uWW7qS0eER/xJ2TSRI70WGID4QVCXLSML6T5pfSaFfAe7NpyxFuUAg8hXeQqwPH9rMWYvsR5bJx/
SYO1zny7Fz1gBZPvKv6igwY48g07+iY4BKZrtVnHDxVHulZuF7Z1lHnAz10b9yPfLn55qBolQSlN
5yPK22brh3S7AlmpumkbsD4K8iVydN47nz54itYLUaGXDH2s8+ulFXGAPk2MRblpNRZEuz6PhuBD
CKVVlLdOnpLytsf3I6DpcJoeizHcmWq6HEax45CNN8EK0mKZb1O3HCjO3iuqhjwqPb8te5yACK9T
kD1z6iM0jJoVwOSy/mM4DjaaCfL7ig4X5Uqup3HfBT+X00sHYlkDuXPObTKlWJNxPkmb8sqIRXer
j4lbd7W3E2DZ9jiLOmpNfSasODa0PYSFj50zmyzLEh4WUTb10ThkMUiwQEamM4hFEoQ3Epi/6MdJ
h617EN0KwT30ydK3sXDVnKRo5jpoABmUxl8EAUtaNx7aGrRb7kAJWmHDAN5YpwdKzZ0CCaoy5tIz
dAQxq9c8nK9rsxxwRu5efFCEQBgJPunQsehAMgjsljTpFbCLs9JfL1kRz6V48WqV1AGOy5ntLJTg
DPJdNxt0xE12rFC4HafLypNNm4Iqn+LPDe710hU+ItW0SUvTAUWDgx+DuJgJS7qyOOGy77R6gX+A
mTlZdTlDAkcrgBBIPqGNclDz1mrRTVtG2NTRiHgiKqVrQD6uB3CaZZFaXATfSYOqK8ptOEw37TJH
TtVLhIEEN6C1ieE8xfmJM+5jsIQRKA6xBIwleDKA2YuQR3VdxKNXSbtALsHWXa/pFAegVUWKNfXW
p22buBHewNgc7VQPFL5zft3PGX8QtN+vmdeF7aNasrgHRkQHmxDr98rZU0Bmm3SYNaq6AzQi4mG+
GWV303gXS+8AheDE51bnay00dx/dynxUdtm5WfLdixjbtP1pgQeuc1lDzSRh4vrpxhcDOK4AqLxk
7UMnj7MPz7kwWb6V2WShhM1TZ0AKZZDrm5U2B4ybBoOju6KZZ50R0cwNiMOc3xfZMBPgwCDsYPAB
aaeQauh3BAQQT1GQqtOl6OSUiGx6SYMihFZDE7lCUjfoGmVzdmx4UNiNd5l4QqvA926BhhZQo2Zp
2VmrFGSCPvClxwmq8ODOh6mYSyBgCxU2KpQLgGuqaXZ7AgA928iCO6iCVZWax3DNy7SM2Bosoo+d
h9RrYUFr2O7rl7oBFoWOwmZSxUK2M/RtCqBXTIDU0qQG2gN6rVIJGSp32bDuIE82ICQ0VZf5PYcW
F9CmbKDBx2Ie5QSFBCLmkmMFpMjmwSw7XdeZaQ+onGe7nQpIizodWVpeBWXegWLueu5KEEzZFDwQ
I4gd9UzZBGxtneYRKnTXmh6f+jQgzGqQ3eE1orrvu4FsszFd6bVqF9e8cLLAZTGSXKX3XTCh8WSU
3tKbUllUN/GaegQ0la22n4mWgOgrHwWjGG0Vz+lKxoNEyxQcB1mhObY+LdVFQAXgrO+/Uf6hdfhU
N0sHIfPXs1ff/v2Ps0c/PLc/H2z55eLLt2m//Ld9rl8+fexf3/TS2f121y8nX176qd8Oxrzqz/74
zck/M/jrOrsCvtv/Pzd2//KfQ27q5rsjKy/t0pc5X1q7VLxTEg5hKMIwHInhFLq3Xxq7JISm70vX
V8BBgFBCPf/W18X0HfR0EVcUhyGB4zTwvehf+7rkHUUhhSM06OVMkyCE/jN9XTh1A0/5rq8rCJz/
gH4uJYpzBN+n0pe+73d93bljfqLAtnQ+2nVD5G3b5RfMtC0wJjLpxTRmY7N2G/p22DNenFHZzRet
796XI/Dngk/jtpmH93XNxJmbuiKClvEtY5/IHJZPeJA7ntfB55aiuMQ5h+fQzyMHpVnTA9QQoHWz
ukXTAA0onqYRKFD5ZWYJqNfhMCaQuYdNZWd8s0LTbY8b7iO5lvjGzG1wCr2j+5//gzaeP1OF2Wdj
s1FjpT4CKoPq7apN7ia2F+mtZ+UYOT/mm3VY1jMxsw9D4eWtXUHw6xg+VpN85tbIWz/V9jQIR+DF
L/+SrvcnxEK5epnz82Q1lvyI6h59uaMr80VDny/d4LY6tp8zoJdxVbt070IrDnM4BHrKDdbtVKmL
3PhLZGk0yXHYhs7FEwnmU5DfkxSHw3ntR3HKlDs1NsRXM/DKK2Gqe2/Sz1XbZ1tZZ9M1os28Cfq6
j4YO+ple1lqNzh18PXwO4XeTibVQ5vruGvQE3kRDZj67wMD2Z2K85u047IoVEgTop/N5bYZd93Ld
Vc+t6bKrLzfB2bkYICneiLKGhkIzQYc13DBPoKHs1XnaQV+xCYHXlSAtkhXn0ZqB7hkqeHzDoCto
V7K1UyHPjKUnvksfVNGX2kyzObcyhHKPlw10QnmCMeT3QhQoIbKCqgM6S07mg2sys/Ukv24wO518
l8e9AKwDgNMCRhuSMHBXtbRmBx2UNpJN8ORmnh8mtOyLaVettdMevh+wizmWbHrfrWufFEWFgB1C
w4gVNIZu+xANE4LWW+UP2YSeRFYOGjT367TtFTTXjnhezUGt8lzIye4zUOtB5tCOZg9jLU5tCVCz
epaZoJoUd1T09gikqtYB6EPRHKoTgOAtqCP03KVtsA1Xc1oNc7MrfXg5mxEwOjdX8FkBkFFitLPB
Y1FClW1AncqWfD8E3Olq3izlckEDYM3QKINNCbWxPC1zZgCfXpRmmKMua/pkVCBC0CK/d9S/6KU4
If+bsXNrblSHovQvUhVXSbwCvjuOnWsnL6ruTjcgbgKEJPj1s5yumjMzNVUzLz6NTRzHIGnvtb6l
My9Q4OWmIkmQ0lLP2ymGP1f2+Jo5hWlq0TkLZro0aKIVzoXH0UNAHF7GjWazn61WQr+x5G8A92Lg
ZSrW4FHS7tqtiXfsp780qmZMAtNLT5vXKbbPruiPcMxT5t2rotZb0S7MX5Qne1+ya2DM87C2ecJR
8zQ9gQzQ1NnCnmXSnUPa/V3Lqt36dDxKuezClpBMrPpYtLj6LCTP44QeeTyCILBppIZj7RooK4Ny
qQr5Ia7qFxRZOh2TGH8NKlsnwCmo6bNu+49xziTE04C/3H+yW70T7Zq98Lu9zOKavvS9TTZxEPwp
4AHUs0uXMM41YW+1SmPxm8V878e/lWY884T1t8NIcBO0bTZgntkAfHlOqtynPE7rYc0nEqq0402H
YmKo07j1IE8MPzRRTaob740WY9oOkmcNlw14C6ghc8DTYvI/C1PVeT92jy18hawzfcp85T3GVlzL
hB1a2IjbLm79zTJD2Gdmgxjm2U9KLxsJqmEpRc4qG2YYpsmGFpFKe6k3xCsezAA5WFfmh2UgUPy1
fhxN8TTbNbWJvUItfNBOfikJV5pkdjFmP1f1To38z4BKJGjUCTXqye+GHV+SX4X3QPW8g6QDValD
ieZDL5aW/26H6mnsqlfNlueAoGF34rdpG9QwPG+Bidzvvc2q8Jt1UqRV7K62HHdN8Wty6y9aJFdD
B5YWmMYrqJepFq+KuLxXzV9Y2292MtNOhMtuBTOzJXbYdrQ4kal+UKw81aU6eKhGl8gcx56B6ymi
NWs9+lnGf9Uav8iIz8+Ls5+VjwpxgObsRcWum7osass5o6Net9NQiMdA3U97xq0GT9YbYUJUQwaZ
Y0EPDtGDN6veJnz5VDMMFxIo94fbV2dJzhqMvwQS9gqsoJvuknJP5EYKHuUmhpPT9mmpE5sJ5qqs
gcJfxZhjpVjWfYT2TEU6bFK7YDRbIdAT0LBDfz+qoxp+oAFqT/M6tCfeQuMu527fqRJvHg7w5Iyv
0GqEbBNS6GXMYVYWAeN5CUtl8OIdleKHWuGY9XbYxFrjo60S1giVGyPNul/6IE7Hro1yT/Lj5KOn
FBF0LEGHH5InZVZhjcq8an4PS3xjRlfvhVJwNsoqeNJ2CDYSzvCmGn7rquRPqnwiE570xFDApdLZ
4EqshVHtpbVXPTvqLnP/e+A92Rp3aQI35ANbdIqxpo5B46kjaSO50fUQ4KvYCDF7mezsdCj69hAX
Ks4sjUconR7YqUaRzaxnncnJFrn1lcsFAvn7YkG/zpQUl67vLkqMgE4k+gd4tfVmstWIT2Zk5s9r
A70fRUcRl/4hQiXBqvYraa0+KdHmilfLHuhWC6EtebW1zaa+YWlIoMK0FHbi8EQnsl66mY6nsm5g
TsMn5uMmXsMfNYc3RO/nC4NxMAUrfpWESVz3M+becRfAYBT9+reCNiPbNTxyobx8qQbo/2Usj0Rz
uo8FG3M6c/hpDKhRNLUHL/IO9TRUWRCG4zt6uArtODi0MebTqVuJxKdcv6A/lxfoTcmr6Ob3oKzI
RYXTdO7uZU1g2EvI4VpH0ape+wHLAgdScf4+5MLeQBNdEqrajaXVbz8e+I0uNYNuu6p9hDbOhSZ8
VN6qbuvM20NSYmpblmEDwa6FFT6QawMj7wqg5Q+NeQOwq66v+O1zkbDHlizFTtuGQCMKLd71/iT1
IGW62EQ7l3T8UUWbMArEJYjG+TFe/PMyG4yIqmcxHKNgfrQBnNqGTOfvo6jHPODq5Zy44aJUTzeD
9reNbDuKUcuKEyCp4vT9r+8H1S0Fzq/LE5ZCmaPdFJgkg/I0lyB6ZqnL0/dhPHGM3CXyb2O7ku2/
U+6vfp/332FHFkOz//Pnvl8f72/735n/3vG/4+9/+ZqFWYQ9NP6Xt/h+s38fp6lxM6DgLGaPP9bN
6jaaC3mrRJfka9HpJ92DwJp8P3zWYxBlqg3kK+rQPhsNs28NhzoUzbT4Ye6mDi2l+zCJV6WdHOXP
vi8/VR0EvzpDbm1T6C8n9Km3s/zrnNs2FRiflMI06FAdVNBPzoaN8NpciTI27vEPOkFqjcDKeXDR
rej9vwUND5YN4qtK/McqIKAexu69MLX3swqGv5VIUEzVWJqrtbE/LGnBaMDceL/fJsAWyuUV1SyM
ZmKbF4gTWBptS5/UwoK8jRt344YPm16Q/uqUKbatrORjB2gU4mohHjo32F2UNOw8kGXY0/FbntTt
oalpfIwMxtY0xvTQLGF1Gupa7CPbyfPELIyKbm0eJvwRu7ZK+gvuDruVfjU/8qmgQASodxVTUG8W
aZKbiDHheIFoIQfWBC7/uLzMIZ0zVKfk1RYUcEel5nfbACaotEh+VDKEg1Ks5rOo19+Vi6tfWLFf
msSFqDaiB4bb/Q9MlX2iImAdq49ORWGDkTTQv2TXUpkm6b+vn5L3YRoB9BhKsqYG6JD2ju74FC1/
mrp7QKfJf/dr8wK2tPulgdh0vvA+UfQ16Uz66kMq6LvArZb3AIZUOjuYJmM96Ez1VfhS8xVcGFCH
59IakwtPlk91kVQb2OvRtZt4uCnq2D0ukEm3y1BPFxLZFnJI0D8scVPsjTbtuQkmtmeLa06M6uhQ
S9MeE2mD42pEf5CJH5zc3KEzgUxyxsK67GKDiiRAa71lVpOLT+dqW8LQu64umTal7fSN9AuszZYF
Tz0VTQ4xv3zB8PezZCjn18Fh6ifEsbcSc1Tqk3n8QSN0hqGt+Ad1IAhYXZuf3JZYsDG7yW68rrSI
v6a4PfqSmr8wpzZxcQcy5mVNWVNKmTbx5t/3XtUHQwJWpRXjaRVY6O1MgMSdsd1NQhIApLH7mkuF
Wl/xX5I0H0nMup8xAMi0HY3/gVE0Qausmh+86GNoUbH/VhqsrKTzu9dw7jATKMueY4KaNKqUexqq
huX+3PW3qAjNZorL4uorv9nCzcYUPjfJNo5k8IA7JtiF4bqeW83gl8jYnUD16kPZ+BB3Ozsc2dh7
B9SY6hTDCNh7LBnO1s5855pRP0DxkrtVEPR90HK3oWbBo50KH9O6SK4Vgb9n2rV9qqJCA0hB6U/C
EXilWfjLqOoRPckwvHkG1qVWcfTuFfCoZtupj9KhIAbsyT71OP1Uuje/xrZ5Fs0sv9pRn1FZ0T9y
6nYuhmuZGrNkHQfAg0n5qU7o3Qn+Ga4xKIdgkAAVSHDXhcO8rCLx9644MLe0f4LSu8SFsL9rRl4L
O7OfzmdfgGfVJ27qYxG0KJ2fy5huKZTFrbWVfOoMC7YrGcp87k2yt7ZFl2KS6tpHeTUndDfDmUtR
/oYd57dgtfyGRQ7FEsSazfeh8YbgyMfp12SiMK35tBsDARal9qCMiGCCxyv5dJAuoDcmav2QjLgQ
dfSh0WI4DaelXWBA+dB0U9WQs2jD9czJITZe8KhM3+04cLhMx4O49azbgdosMeLdjzgClrpK6u8B
K8CsqB/sGMSPU/3LI6K8aTLzg2SwQPUwVLdySbJ1WdkuknZCaRUNGyQPYJaawlxr8QfdaNY7b7iY
uo9vMA2TrY0MgBd0Wpgk9Zn18lSoXgPhEn9ETA4197obSM6sgoPxSPqivy1ltKCvbfzthOKLetuo
wkfnCRZk4iDA2q4t8zGq/8TJsHfVKM6zGy+CNt150jW5fj+wUWO6tIHdaz4vJ6xXb4O/gMTqFp03
6E9RMUSg2+sK3o5GDQYl+8mHKeVHw8+KrtOBkXklqRnd2YEEwm+PThW40Vtxf+Cj3bQAly6LkvRQ
i/E3aft9rWBny9Vi8qHuwRn6yIZ5OCOC0dziZc16xcWltIF38SYBU2u0W6XBU3E022l15x4VlI8c
4kFWRAm9DK0dbjVzc04PBldhU2HU3fyoHm6xsDQfYlyA78PeWfU4oBxlq4GDJFeSf59b9kCoumW2
e9RZ+wjQ247PFtM886bbwE0Jsm1RW2dUdVz64S6TqOlGCuKyYNB2x+D3Z6iVb5CxaZZ8fyUjatGj
F7mvJSDBJQLIP9p6zMl0HwQawYFB0TqbQlVniE64XTPP9c0Lq/FQqrAHitQ0N4JGGxojf/CDot7X
C7pfs3dga29dTbYjFSpbowGXPnheyz7Zar1Gmed4dPt+oBOuotSu3I5q45syvGqjupsfBkCbCBSM
78MmDKcTc+ErS6TawH2heTyDgi1K7wwjM9p6Aoi1Z5tzZ+GzUQvLPvC7MsMZEkhBKG/dCFBBK/c5
oHbdxP9z+AY0qVMCPpMENdsVEeCZJInEg+VJ7gooVN19NvBJzW93ElkQ3h3HPYaw2PWhe5/78WHq
aZmkWJagu3e92sG+TWXdmBuaAHPzC8MPAbNPfePlkCcxXEfMkUcnUFRHD6OPwVzN/VUOQ5nCfQA8
2pl9Y+jPuOrHH2WF7t1JUqV9felLWtRpceubQeG/dlO1IGCKECGWBjMTkDT7EMcNsAisWIfJQcsy
KGt+TFDQUl2I9a1UrMsgFULMBMN2JhyGbWNZ+TLXM8sakevS/SBtpS56rkU6dVX/NtlpyECll69h
mxxtxNq0Ghh/xhfTAouBwY0wCWZpUF9y2qJegVxSY3u3oDI73eJ63NXZoy5GMI5GYB2FwESvHGDp
s6h7k5ZMBfvSYDJaAkBrnDxjSR2zbjH24OKgOJZz9MG4+pKjWh9ZRNoci1wVROTdB8wUhKXJnBbo
kcx1mF393I6BvxnDyM/RIaCWDORxrQcsBnrJh6ZzeTmLw5R4LkULOV1KYXcO3/H99kAz45dlLl3H
wCP6wTaRzYZW8mdnSZMuM/lbs8TbhUZihPvQuuvF25Srpy/LpIJcJy3Plgb1sVrZtMF8Fz3Q+8P3
vzqvQjdXo8OeiypJF56MIPmRTMKt+lO1UQ+TbZ0eyjtIHMRy3861/6YZEylv2uUkXS8fqmpogI6Y
ANxsVGW1SnReDpBFE3+69S3/moaIQTuINnXhv7btBLfRQSuz3Z/aoUCkoUY7XjqzgyOO8FYNnPt3
AsLzqRYqfqqK+q9r/PPgAwz1HD7b99Plsso9WcmUmUJET+R+vgrL9+j+WZMW311ie5jOJeswTd8K
CarW8QAi3toeHQpOHp1bOdsd7XRxKY4zcwh6DFP1hO3yvKyJBvJeuRDNRgUw3nXDHnDPJ6z1L1D+
4zYYZoSo8PRp1vWSrSZUF0xSwD+rRBxA0U3weql++n7QdDmMPdxz0GEm98J1fCQQN3NbRPO2FT3J
zazUnlRB8ARFbqcUcAYkjz5LvXgZGZV+pA3wqXZexWZZg3NpxOM9g7NMXbgzU7GnUdjs+hF05UIv
gZgwfy9tnPZleAlxI97mTuXeSgJIJwMCY8UdBV/2QZNWtPF2YwJyHrfhYawaH3xw6dK1ZvIqoeCl
fty2H8SrkrwQDYx09rsd6+LFInyW2lE0IDUG6DJoWkJGq3RBrGI32jWGOGbkHvfgsGuEg1EzQkfq
e1RPXJAhoy5czgG0Rk0d6G8sQoPgwJuoTQG86hPmKCS/dDQ/mqb8NTcBHPuq+6ilgLAqur+hFOQo
plI/oPXUWVHFMCUgFqK3wNcvwgc4lZmoSbwH59Id+/Lq1aLKHKm+ShH/1Ev4Ju9l0FTWVzPH4YMa
MJxi9KkkVhfXgvyk3bpCY0FUBMm0YFO0Cn2eAQDgteKhGepgp1rsargQ6GsV1lahWLXl7BfqyzUL
lrjIZRDtYx6f5CSLg5DFFY5+JWm58/lk83GA5TQv0FqN7j5D07zp9V5CDTbtA1/mdQR8yUviFjQf
39h+hCAXoNYHCGzSsAZ+aww00zbuCW7txV4dxNdwOier3zwOUcIfS2I+2w52WCWqG65VzotW/A4V
lB+iQ46WoXRZ3cQHEyiOGvHg4wZPB9ALqWvWaj+sPYj3EN352L/XwiNQpctpi2aSQB9GHIar/hO4
q8x57+GSwTHCrPe7uwcHq7vK5sPej3oOVX+gFRws49Jew7orAREeh7u/EBkLwHfVu9Et27DUEhXj
hyF9n3PSS1DXBjIA+KRKUA5BTO9WgwgJUhpx1s+3sGmHA5aiOxC/nXULh4Oqcz8000aQrZ2Lds98
OHwuah8HDQTKgO/bkcrANkhWpAbjUhwLFudlKb/EMssMTPBOYYqw/YAAwMQUoK+zDWTeFRbTIvFs
qiABZ62fvC7b2edm47W6yGzSvc6mBQKQhKlZXXsHdCimZIQiasRMCmVzPYGwnPhxnP62LqkuHlv9
xwHkx6EuiqfEtnxflWLbR+asfHTu9bAPOJsBqgEnGe2bs0A2xrl8tISnJAK/Ct3sYWz4jySuArTD
8FFamCCMLf7JJQ5MlEsgs9qlP/UOdpIJ+33sMGultGLuVMm2xKofpJOZkY3wRX1QM7wPwlCPWQ/9
UhDNR+RW5mOMSX31lDmSdWLntqd5jcDciQ9TAIRh6eBEuguuNFZjSebH5f7QaneIlZ22gV4ea1qp
Dard5W4MdSdZtx8MCihunArmkuAIF6mMo8W8LoXmiMwU7zXrquNY6QOdJRZ45EgO8zzHYE/FtKGe
GW+0avO+isjOkPYtmAhcQ6zwdadEvoClwYgptjFyK9fajltEBCEtQDrO1IHpKHkAAnIjYYXuKf4d
enJ9YaJ9oEbH2UIXuu2pceex9Pa4We+pUhru1LLifvCBK8BRE6c22GHKDbbdArqXanvxE7ULVx5g
YW8g1/LwCPQyyeQooO1VyXOwSrjNzQDvTn1YBr5q9aFAtCFrtlQCF6scKfLSIgeaFAGBksj3rl2e
+3qZr3VD/9AV6o1skGxDGi7q7F/QnjitDFjWQcvYRKgAQYQiFEwT3897cdGgWx7rvvmrDH1HPSo/
oB5/xBzQoepIjOEdrQc9GYf6tUXTOtPuqErcSSvT3QGtDoCxsauxVk0JwE5uQZ6HHubGgaKMR9Hh
+R2ackxWWFhiIRDHARdzGGTxsxsZ0kztCK0HvL1BEYBbiT0Y1lSXxmvBcMPrA9m09kcaqJx1GDOT
3dWkX3er9svtYBKVYbjLfOkpz4NlHa9wvAH1tYn6mIcxzn1QiAfkxMsPEKX1OIAGlevBxDHJx/th
uZivyGfRtcT8+e+Hv5/vaAMKmqnkwMuu/EAQq58Bibfzx6CSc8m0u3w/tH3kLkJLd/GaguYNM9DR
7q9+v+DBQDioVqNyqqqTz2R4hZZvXuno3SZEP2BJ4wh13wfQS3UxjTGvEo5rKkZWP3wf9pToFDcJ
cC/CzCtkTQjOJfIK369GHlMZMzrcLJCpEaPq9WWMhNx2EfGugy95nkhePuMPBnOI2ucVtBmHL0T1
j+aO71BJh5+Bla/lAs9zdGJfr3UEow1xcDZSrCayPyDuBmheldGm4Dr4E2J2h927JXSZ/jI+ZzGG
LYS8+VJFY1emfG3QW8N77m3MYUsa5MGSAnaE48Mb8AmxtWqMNnZV45ukUb0JV88HkYFXAQtBB5vQ
f8R+ML4h3IxIKGQx4KB4taLuvUNS+HF2cshMt9hNCe1mF0x+C9uvGF5Kj/6cV9r+LsrhBxlXcPPl
yHch4f8fJ8ToU19KSn6Gy/h/fQd7/xWiTf47IYha9vLfZ8Bk9u8z/O/v8P884ftDiqXu/vsrdNT1
pwnUGFQcrreeG2kehMX0XHpe8xT6r98H3w8sNjEaVGg934exZ+qHObb/zgjZND3bDpVnW03h6fsM
0nRkzwTUF+/+jv9+iou8JKNBc4KnfANZpwLgdr82I/CLhF6npsi/3+37jKq6515mF+6/zxgFKc48
5F/fL34/rH7y3qkArsyMW3M0fD5pmozQbKGT+TMD7Onh2oEJvvJAi2e+9g0CKgz50/thuLrlOIcO
ekxBxXMyleI5mvMYkHo6FNyeioLpLGwjtNdN76BhzP4e4DeiGs08bhI2wymzL4yEZOtL6I6kHl6G
RD/7BZbNkvzyjHiz7YrwCtTVOfpTI2u97RfdH9hNG/7hg8JDuwEisEAaqY7an4RPD125fugC9GiJ
zRVAIPtQuSOFVHOMmj9ZNnDFrwtDhASB9FdwlohBgthYgulp6nWcgifEol+09tRVZR4PFhFGAslu
9UWz5z6+U13HKSLZIVRu30+7eUJPW7+FSZdseQHQQk/VdV6RoAvcrWpFiLbY/BxM/ASjJjzBLvbT
ufEOFVaZuoJhiSeBYyYwX1yx5yNnO970m2n2IEI3vMJqaZPDGrcHp7H2eJDrVI/GqIvaF7LSZeNm
r0T/rfUBI/kiSf3Hi2a3MX4NktDtzIoiFZ3JlHmYIxBDKTPwveGhV9a/aAjeR0R4L99HiHoMJ76g
NmEwTEKt/hSklp8mxF4cIgB+zXOvs3mM3q/V9sPFPuSkCdeZ/CrvleEIugFuDW6htYNaBJLlPI0I
ClpED5oekU054sp6HpAspnGB2GhzRKSxrwU3P8u+9W5+C+yykOJprW9zv+284Q8KaZAszRZZgL/e
Wr+JuP9Q1Qa7RZhssgfbFmUGTVqgqnN/URzuW2desUs3YPsItgMUxLFWwHIH6BUdRPEA4EIauQXQ
/RKEe/Q0CXZyWBlJCbARzYsgTRLhMrk0P2tZX3VthywEmAFiOe08TyMuH8DkaiaZ8nHJQEJOSOKN
TSoQgVHUR51FkwPETOyRELI3r4Y763B/5VUR4C+P8dUHeceQNkILh2hJCf55ZugYluigB+xMIbB+
zclfFChiM340CKbBNpl/rXdvumGyw5/dn6oQp/MSbY1eK3Bw2CKjqzQ/xcm66ezKMk11v3FJ629B
2T0Q+GOpLd2HZ91wM7J4hMgLn7afWKZmeC2tGJFE9jCOEi8GtWO2oA3GtJlLmw4Smjhpy71f2A/W
o3oQ3XJsK7Kz2JR7A7K8MncjY2Bko9EwbmCeiBT7xSCHh4R1OPoFbMR5i1LmpSzVRpVh7mRdbntO
4ba0NgOcBZMJ+LDXeX0ORAeyR2TxtQ+PsIx3E0Lvm9WXvxUCu9ifBrtejK/AWhjYCcR942PLnTzr
pf2hZR3ffFTSoLcq9IIWuf2MGs+kS49LPTfupfegt9PZQ0ai3AUcebXCQsUYpPfEQmkQ5hYZ8wGE
KQvY2UGWf1bJxa51vcH+7hhYLT8i8Y+434gbZirZLUL9EAKlOYZETOkqR454l79BYPAJ/5MCzI9C
jSnHNiBsxB9VaRlkNRnIZuTJT2xU89mFqsgwo1Hs0eGT3cD6M3VMbkKmZQ4c7dfiYO6wjtS7Lo63
TsK9mCRT+wH7NWycbs86wG3kgunq+QMyMBPkGRLPYGKgmc3DqRkdSZtBHiS2WbiZRR51MMW5iRRB
IyHFpsNY3UjcCyvCvXDNjlOLCHFdoG72+uI60PmhmiighHD4qIOlB/3T7SKD7sxFyXUk/j4OqweG
DCCsd/S8rL9vEBIWuHMRlURW9XkSc5f5ra3gcwR/ohbLRukQOUow3kzcFQiJ8xa7XJjDaJFaI164
m8sESl49IqV6nx/n5ldbaZbP3noWPWiWqrwTPXoI0yklcnRAJopsWL2/ENgAi5UUp/Qz3I+AbXtP
pauZ8OeiDcXeCPSKAi7YydW8G3VEnhKqAOAGHwn6tRxyNyK6WHoIrTBomBES+6l8NmqZd4y4T2w2
gXy/hzhmTRAb7xycACSKaYmrbw2EcsKQNw5oaM9yOdeROBFdqa0NxVvJMLUM2Fogg6DR8OiLxuKv
dzYzVjpEkygYzHZd0GSXT/HalzlyBg+jFpgdsKsBd7G78IRdoU9UlwQyb3KBZoN8tU3qvMGWKsYj
2KcAijTDJgdYWfgeUwTm3+axmBFA60qU1Q0Z3qdm/BsWLusoltSqKjatH0zpGCZzOmpynoh8J0KT
XFEZILCFRdIma+5Vxa119qOiLab4Zt2FzPuFIvPHGh/irjv4fnIa4LTtg8J8CuzjUfL6j+hGnpWQ
YdRXJ0bkYtQv0fxe2gECm4k5UhhuP4bYgGNx01fYjBszX1u/kuCLvAXMh6tT40fxgQe56wMCyby1
T5D9zX6cWZV1YkLSifoW0ZWFB4ekYOYOyqsr5rZsWbEpU3bHn7d+C6z137FXr58KWz6hR8PJwepD
UeX8/O+tXBD0mzEYzeb71e9ftwzgOIq6hm2JH3ChNSeYDr/t/aN8P5XYiIC71MXu32/wESmBA+hf
v09hCpwzKFFk2b4/LTKVAkEEaEvf7x5W/nILDIK2CX9YJG6iuGjLbQGgZOHIXo+SfnXMfCmRPFdN
fZWgaZIln9WC3VKwMw3Y2hIxKQxPZCyOCVxqBCT7e04iSnasSmxaI1qGNy3iTLPuqejqd9FVHwUd
u8x5NITTidxw/SkpO/s+rrhqyS9sCWawKVOfg4iuc9DU8iRLlQrIqY+a1nncNR/w8H9UhXtCj5EL
eoADIhEEQpQcu6tUmXEBFsxcM/AbHpyaN8XUKVoT8hoRoH0xpTfsxuRpZN/BSXcq1nnvtT9UD/JE
6ifEwl+Smr/OS+shaVx8uEntzdgcy4hmxYrQqpLjk0qWJ102wC1H+1NP773zoaWh+grNwaxxnE7+
nZciQFGxHdihCKtDYq3Oyk6gYLYuFVWUoMuas6XT7eb+D6ZruU08eISUwHgYJrNnMA9Kv/4ogNNC
0cP3Fk6IVgitM8RuwZ4y+IVTBcxr3WI/FwDlij9BjP8MpuCdAxHIDJTfyQXYm2IefkfzeObF+EUK
dPtxN36uohmyqONQh614mXHyLoH4/D+oO5PexrWuO/+VDJMBX7A7bCYZiFQvWbZsuZsQVXaZzWF7
2PPX51HdIO/3BcggkwDBBYx7b9llWyIP9157rWc7OY5J03l18k3X6FPQLtlju7j2M5guk8CbSX+f
5utqShswKsOtFt5vTVAm8lXuWnfqdUKw8NLF8rem+bgxfPUrLcdoi+8wQrqDmmZZ/S7S6SpE/ByV
DF1VaXxmOQCwYaBejLwaZlSbzBvbmRHsyFa7xHHxlWeh1iwf9aR9RyPxEFfXIWPcMSLibuSqNI/J
PHn9QCQMa93E/sBDOHB1zEydYB6hU1BnZe5Ws5qTex9G5cK4qKLM1nd1NIlxQroFIgGPZYScYdUQ
HtILka7n3I8D7EMkvItSW02LHI/CKShTmDCAtTAeFqcewng2xo2lA/VqogkrrW6CcEovXMzuir9B
D4ejhSy4TjmD0uKu9Y6QIOicJfig3lALtt7yxbaSACc8z+WczHWGPK5UCQIuestUK8NUE2+OWT6h
COnMegjodYk4irPowBy19d4sehxFWfqEWHlciA6W5rat8UzWRSAtI9/C2DjrrZ+ferP9RTyhedTG
cdNbojxHkLMKV7aP0TDXVyqYTDjpo8f/1ZxMPQ5pXJ2oe09Iu5vB0tyLK8riGZNHzsXfbfPZn4Le
tn8y+ilYJFASZH4pS8m9yHdJ3H6njdUfz7G7cB4X+/6Uli8ep3zrQOBQVNTNs1lmyzFeiDTQaPhO
SpY9xl1oZVx+BsnsIa7lpvTIJviz9zwkQaJjfY5lzVy+aNc5rcneVk+ymzTwcKVA+PRfx9r9yurs
K6vM6ig8oh/taACtYGwKIyueHm1j8APfqYbNkCV+IBnrbgrTa848UfdVK9+rpSQQEGubQiBFpvPw
pE0TfmWRvzD2kA/C05oXBtI8RBzX307pbAdD09hb2Z4Nmd8yNatdujRh0Z6j1POfOquMnjJvKo/K
in5ptHCwhVwj1EyGGJyEPKtwOa7aDEsTdCIgLdH03JdeuulI5nEGWXfNmpS0NJywHnQe73mDK/fO
R5Cxd6kIBGwrzE+0BFH1UMhfqs8qwhvWPToWmY/GLH6JLk8ZfZTwTcbiU6JJtz4mnC4Hr5W2Wbpx
lQAoMhbqQXJAVAPnjLJ1bTeWefuS5sTEUp47zlzmQUThGWA6g2yU1s6ulvMxbXUb4xLYhlG8Mj9F
GMjkRw3C6vDPB7JGG6Nvn1xko0DlUJWEUlDZJlUEfK8wwzy2Hwl34vcw4l0xD+SefTrRzGLeBkmP
7GI5BxJlGj/ynAZNbK+EqgD6TJoMqlTShomGB1t19VMGWhi0J0TLBz3Nj2aJu57OMR0YGngTjw7L
qW5LjkA58MxYmW5PO+t4XE4Z1JYSWKE5y33XGXLd+GSN3YRPxev0QxlMByLw0Y0D2m/iPy0ClEWZ
MT7BCUxdmsmjA+uoMFWxd1R1wW5cXhsDi7MZ09yMpn/oVVOdx8Wj2RrKDA7fEDM7clrcOnPN7WEr
nLP+eUkzGTRsrgisYTmaExQgOzI4Q4Tc9qYkV9plCU+H5EEn0FI446lX6i0tXLEm8/HWpdZ5iccD
2WtGiDmRwaJlDiKi6eK37q3hBArLQvPfJ+JKECFjTCAkNIkkYg1qEv9Nn/Tj2EA66qPI3E0Cf9hU
UM7RsHHdppW5lY6zEIdCyY71txh5edVEdnKq/OrzPrh4mihaLnlH7MqQ9YMHb+xKUt1bD6WF+ymf
Ly3Z/ZcGXmZUfwx4V96qnBkAc2T4e2p0Q8hSI9ZNjwJDaYoMsI1RPopNMpb+wMO/+o4G7p8S8pdc
fG9tv1iaAoZkF4xTVby2AZNt5DxM79HYoIGp5ZVm1jkta7r6e/7acm+tLPOt7VOTp2P6mFowNVKr
5+yvaMfpBdujgXmkmp5nbSIMaUrgNnI+R6AMASSQNlMqpriWxNJxO9KJ584IHEm8ysQzL2WWMwQ1
ildj7PAUuc7vmHEneVE6ZpBGrwPkMb5L9Z4aPpLf1JynhJt38nQdi7mLpXbA+IO30NYY88E63Bg+
Odu4cXX6S1eufRI7oA/GLySKx0ga05VK2cB1HmW7pmv/FBnef9E0EfAMxlymgPYo4+gwxrcM7sG6
tSJ+q/h+EZcG6K3cTbaFFV0GS/9pR9mGJJnbrePJbyfpQfHV81sbcwcdPEI9dJmE5A23f3PlbG3a
wnUO5uRB4yoZUclS0w7Vkr0Y5ZRSlxknvcgQgexo66W9drCkSug17XYLXZAJ98jBH+F9CvQ5aU52
uTwVmtRfSymYKraiWrXQGIqu+xlNGCNCEHmfyOb0yOfnyPZv9sZGcgTLWFT7toev1hWgeZp6R/6U
AbWjSMGjiWv1nLxiQ0SCjMRvPpG6H7tWMenaKoH8utZgNEpgbIiVjJjG6Iy4hh4DC2er9TNzYJqt
C+cY/Avqv4NbOKvOLS46WkhgTDy0yI0RDIgiEZqjXlx1xk7JtOiHMc/3VBm3ZFA6MlYywOYygshX
v51pgb+EXCQe5rJ5WhJv2XtS74NIqWvj3dONmnYstKU+d4IhlZvON9EPghlfFVGrclsmhe1ildce
eUP/dCZvcVXi9QJTEDY90CdSI9ZKVON2WbQhdL3Wo5CsTkvjuqGrvSWaiJ+iKt1WdCGSkkxYXOhF
NzAx6uEAaEO9mS3MZYthBcJV2iNIDIpICJxZfv9FhoacFg1+7FenLHrqpr7YGUW0hAD/Qh6hP0VR
fvXKVTdlTz/zaDpnS7cisKRHK8rsd79idqPlVdipwX7MkuY2z9V1mTwIWxR2/lTbO2lDVPWW7I61
6cCQAll1O+G8ACZ79orpn26lEEsdxnJuN04eZ2+Jyh88UvLYWR813oUVbNPkLCdQXWih0D6K9GA1
1Qfmc/GYG8mDMiUv1LJ0HxSxgSyGJ4Agy2NuITcxYHLWsUHAv+0T8xRRxMM3HR+8On218UFfrNZe
Xs3CW7V6QiBc+uazXqc/ee+Jz8orf3BvpIeiZH6FWHBUsf4Q677zHjjzfEqdbu8pf9hasy+O9HUh
gaHiSTcZV/WoGInhMQW/16W91T1acf1jO/VZFTPlae01+4ExE7g8xt0QboIhGd9bozlXCxbojsz+
3vCEGfDsrtdZxQCnzoBhxuQevKYEqsMsSbiz2JZOGV/zBeWTLF26ISx0mbAlYBicrrqdM0BKTVk+
dp2OBtSpaqdXHdYJx0uoFCec7aMBRKuOD1aq3bP/2s5SjYZY7mdb7LG0iWb2nS51t84079G/NyeD
7iRrKScrHLNiOKb60IeDTgIznvSDb0ZXY1DzsdM7HoVkz3vkalO4h9zLswd8af1Gb3BkFGoxVm0z
M7ZoNVi5JuoxlI1d9dHz8m15a+mb2yE9tGP5ZrvQ+FzLC4elb0LLnze4zwaQgKO2NRqjDv4WxotX
xNtC5xkIodoOXQsPOceHFyJHYs6J1YMdQyOOI57ssku0Lend50VYw0lwgV+LGg+tcAIrr4ozClG7
TpMRBB6pF1CeTrrtrq1V5Ce7g1tFqKE+uT4EVxjLqL6lVxz/+RBPdAma07pg3ZBL19BWiXVUefnP
n2PBbDfLnL9FNVbJkQFgYHrmcnRBmgKiJoI0pYMbJBQD+Otc+0i/624dzA6HoUEXtLGaE9T3QLqV
thdWhHj4WxwVDgB2T0O7AFWL4ZLG06Cg49JpHUbkgnzlNTQwaKBU0Rirj7aW12t35qqahqpfK4WM
xk0gDnPmmOHiY7ob+3444LAdDn//Gkt2bTiryV0Vy9Qw23W3y0x8MOYemdTghBgm8bcI2+fOztpr
p9Id/vyPDl7VulxmPL4tlK3mDP6m/JgXEm3NmYK6ODZJ8pGBruZB61OhGHcAjKiDlidaUMti39pf
XmrO27kuX7LC+CRzuW1TH2pZqn9ZUWMHFbiqTh3NhMeyUaWfU6Q9lLN8KgaRB7bVFEjKvMOwS9aT
wl7R2+vemn+4Wrs7sKEM4sBzilfal13f8BO61Vfs8IsYnf9rbvonyftPYnOcwfSVh6jy0eGIu9hp
hO0nkqfRsn/mSgMHm5gPmW+Vu4pgBNyRp1L0e80giEhFHoAl+spcyEUgikFp2C2iXELYhoxLB3gX
8wn8qyG5ohM4QCUq5KviyeSHFuqKMeCltl7q1CNdm3RkslPxNGbebwLFT2Vlol/AZ1n5ZUe6r4HW
4mE7n4ctVc8X6Bnsfz6jmMXJwQvdU6LugkDdGM9RP67vXFSQm/rFnsvfNXhodHtkI3NknuZZKNvx
Y6XUw2Sl3TZTVbp29S7GfH0B285cCbudBCOeKsKIjo5FCG4w7EmzfcqH+EBk1qX/8R4y56nPx2gl
WzQrSzBDaTJucs8gBdN9krXgJDIr9hbiUlrFpPF5f+/TI/Pu/+izzRhPu5oY5VrDuGTj4VqhnlSh
pV5BFVeDK+HBAWzJWud6dxYFOP7lFqvt0YtKFAQ4kp0+eEFjj68YTreGb77OFHuAdC+DXJqd7NNb
yVwBd9olkekL4LQ0pKw/K4CVOkjAVWVhYrT4wUoX1iBS2nMM2XjV2Eu1Ggr7pOe8FMBkrTWG6HeN
2tjDUJEBfSXX9eUt5raJtSdy0xvXbfeNHd3YMivWrTe0BIqdR2xL6SFptC7QYhkWJcJ8Xd2kPZ/a
TOvO6OLGdjLAjy4vmj7sqsr9im1KLdnLrRCNHTqF+1Xp2bhy7GRvRWYT6gV1DuXhTubjrzyj0OMc
pgCDCStzfC/9itoBPzvXKJgsTMK2zeEM2zsXlBtDv25Mew8TF32eN4OifmHixbSqKsd92vJWcBrB
X2KWMR0lyjSBErg9lEBUGByEUWmBpJzd14i0nNQsG9qfvlI9ev8iJsBF3bNDEBqQ101p5TkfxdUT
i3N/ymVcKBmncUILKqi+JmVf8pobw7Rxq/fD3RFqAp3396mO9ZtjY1O13vsopB7aBTwGywS7itnn
GYv2wTOct2aExeUn5A/6Y6/zHPTbaJN02qs2I9Q4OUHqRt87MwqyKh4zJ/3QbN3bZG57Y2gZ4LN/
zcukDLJOIlL70mA6IKBh1+q3gZ6nTRjYfZpTpin4I60vLesbqnlAOk42voKKgGvHaHfVJkoeh8h5
qPN2ExEY1vqHXsbTir67WikNBqsyl+dsADWUdvU6HZkHgVMMNAM/Z9+PmHY6YimqLcPcKMt7CJ5y
qtYJNrXM/LQ/Jjb+9s5R5TWm5BoZfmKoG7VoTYqaBtzNHgY9XUc+Eb5oAmTRZptkim/L0qdHLNuB
dOhd3YlGGbEcZI3xUWQkkQQOb9LF3YvwTr01HpV+55RqD8NAdZ2ClJYZQ27NeVBN9tzOzLc9lyMt
Nh4dD/uRblDZV8YquY9sk2b+jQYyXthnYG2YChhr08536awV57y1tr7pvvG8349Isz5T5pXe8A4b
N0KtH1Us91ZZySCqq12WuxyJUburFppvfK62jYtQ09yvzgNrK6anCnYSo/xy52XNjx8l36ZebkWk
FYEfMwNiVUK9+C+Nblx8JeCAtC9CDI+jpr32Csc6Do0wnBxYz0pHUqOu51bJv3nC45BHyDJPJtZk
q+z2cBzETlcaeTt8l653jjGGcYmeST0zhplJ6ESedY78et+n2jmvsluc5L8juz3iIH7tfe9QyTOX
jBPAY+9XPpOAgInzBk5Mw2g2Iy6W9wcjnfZ9Z67MO2+UTcmYZkntpRVxCW8ipK+R5R/JsOIMMUyu
9RRSaOLIqwWdceFVxlSWatRlqiVhBAQfK+5T1yBppNGZVumTnRTkr5buos/pNZ2xbAyed17MGbi7
/ASW8Rvo/nsHsaF2rHdwFCSrrJMa1Jn8Ihppn190DfubqE0bRCmKJRah1USKyu/024CHCTTbmeja
A2s+VkacB3GW7SI1nNRU7e37UCUZdqWl7RxpPAIO+yy6T1Juuy5RN9HE19R0/gyNeJ39xA5lxdHM
YX91XQy4o4WmH3nzm2DShUVtsqNVbvNzTEb8rc3ljzS0VwHeTS/NmzFrGYit2goiGPEEv6vnRtBr
e/YZ7/unl3dHCVQpFv2hgyiAYn8x+o8IA86S8IbGiYbwUx5MO2WiZNq0F718sOZ8j1cd7bRkmu9U
zaVxpsdi+QLhDPajMV4bc4YXukiGevqpK/nUu4I2qPRl7OSjhBETWjY/FEgw4I5U4plfBYNd3GIE
+GBWERs38I9OIFuBak3v85gwkIrCvPPP99s4zoyTG43HLJ83cc5TvMi+raraz/3dtdtwM8SZCJG4
Q0GVrif2W4zLHlLMpmsRiXiunCFlInqYZDn0aHnrQIKQV2uJlCPJ1/pHNrTHzMC+Dj2lrES5git6
dXQ2tmADiSqu0yWLr24cshKCwWDyG108WxNx+hnSc6ExHlbSvBdE2oeuTHcFEUutzGXY276x63kC
Q04hi1D7bRWO1WMyW4zouuu8iFdMwN9DAg/TsXkRtekJatdqapt9ZwISissr59kYuiLBEBe7H7E7
bknkWAGiZRnOhvbkJNNz3tl/DL//LMcSD0mCfJ0xbBtlf26UFdr6cmXYrLfc1klCCsbskoe+L378
gSQ+7LmRki3AlnnS9DJIp9TGyW1+5q71C0oozUVcbzFI3slc0SOPk0Crh50X9dsFszhjhWFFlolp
+OAMBOqpvSQIBR5yBBKWwHPBfDkVGf85evKHao8VpgSFiU9mgWWzLShYKY/sAKMNeg85lrzn8s7v
yR9/544dHqoZB2NsbOd+CYeBfTX+UuL1x/Dq/vF4ChmmdA4w/PjFpGVvbiSqy7N2L0d9+V3JmiFg
LuB5PM5IsJlgbpr6D1UB3gPLYbpBMgy1GKsgx4WJTUvxyN04KZN5D59NO+IJRHA7Ld3waQEyuNdK
RjsxdDFwBqm+Xd3vh154PxZ/292/6MImYyyfVRhF8BethRVNp0FKPaideOssmcQi4L/Li+dCAiee
+t1p9WeFmZiLdpcnOQAHW3ufF4wuzsT9L4y3KZUPeDe+Y9/I1qZJirTkRpkJemo+BzgFK4ql9auI
IF56ub5bFLAB22xwijGfCopaX3uTB9L2e+xsBEpR7a0p5zHw6Mn2Z9FAw7icRAJa7kj2Y+xYZCMs
QvMgeZoshRtREHfTCX8VM7CWjuRzOGnVyzQwbTdZK7Aas5mKj+vM67PjYHqfXV4Dw/DDKHH/sH/m
2fTjH9REJqXlJfWLn0olNxXFD4TsiBYipDeY0razvcRBXC9cqdlqLHRx0El+6228HCqOE7inBODE
DJrSNs0lBC9srBmdwLGdtXldRzmjMBwm9qiv67QOvcF3AA6PLCMZChr2Jj2KvCK13ajLMPAC9Fx9
6CKrKiWN1g4XDWbXavCX9w7rKN1QjnjoMROa36Nq3BDfuWS6/96zOWdp9QUjfiZgPP5kkbgg66l9
RBOCMLYZE/2W9wyx5atnutcEFZQn2QJuej6O0LJB/f6yIZn08XSMUyru3nZZIUEYyEzxPlXxbVbQ
p4f5VCSnWUMMRTs6zRwMeTs9Jkt9qbsxJCj31sdDWFd4i0eTqfiPMrLXXsKFzCXaqX2PzPg/PKY3
FpBjyMr1AorQ0KCHZb+Yqf8GOsKFqenHgkF7Pcwu09R6z9T63Psa4wtshrKLdhGDfGV7a71TxjGv
OUWiGvUWZx2Sv+aoTRUR3y+9eRVNYA1cWwsnlzRkZRb+WpHVCsViBqaMELbTydvHZURSG3WJ/Ren
3nH+JDaqoQfCsbqi3DU/lSDzvMzw/w2N8IrO7y64tgv3TKmKA8v1V50N06Iovw2dFR8p+RFkr3nQ
eUol6C2x+aJlaXuI5jhf12YJb8dj7hEnQPaHBKBO0T6Pw8jUTwBqsHvj2fDL0DX2iwO9mDnie5lR
BGYjcIklTcgsNweclK95cxqMYiM7CUtKZyKJt1OGQ8r5DjVkVQGeBR8XrROfiDvUzmfR658WA8AA
DcSvj2U1l6HEay26+eB1v5yc7q7yp0fci/U2RwBEQMw3I9+OtrCjj4Zj5GE8o4U2V0WZvOrkngP2
JuHZMs9NI26W4lT26JAgkBYspKneY4fZxIiSxnRUnDrD2dPJ1LTS9nUc24XvTZWZ59GXb4IU8aX7
VAe8MMC575J0qk7jwuIfG7WWAM4vqzdfHGldjNSS9zTRkzuh7Dqgb+I7jR4P1Masm001FLsB28k+
bstuK+zyt8USl6X2vgz8fJZP8KvXe41bFc9iS7B/V5YpxDXNeo5nXw/uTBM9Hv0ASJNOwsYZt6Nr
QWFitqs45ZIlG7Yx/jojsyEeKP9MlbpBl/i0iJQ4zXLscufEhrj7MU/xNOndnwmL8uKW36qr946R
hF1RJQ9DLR7prs6aP2zqvvPXfdyE5cAOLmWExsgZxuB9b47aTos8F2KHizX0PRKSdWuUj9ZrmTrv
S2osW1ZNtdsGfOfK/r04d/NckuGgrem0u2c/tm4l+m4QFcuna+Z7Uzc8KpC0/ZCCMtfy8w6LFJud
vLaUW15QbFi6+og1q9wWjowI6/K5bhzv5ykzX7xWOidsxffhneW8NzVkfo3nt87MO1o0ERZx85Gz
dWF04zW/xns+NPZDnVQP7dz3n+ZkM7Qfe+vgWHwtoMPkKGL9M8MaD/LKVIdxalSgV7Z/8nCG7LlI
r0nbbRLFL9b1ZsoCCOfb92AtlfamKW5lqV2T2Cop27ogzSP3Pi5fgSA5TFb3tng1qJNG39mxDU1P
suxM85MtzADOzclk7lsrwY6FFCaWfTdKDMVzZ6b+JmlrKxQKCG/2yNolJ0w0LKOgR0MdO+psVg9O
qsY7YIgDC6usmEAgz5Gxzos40BZ8abGISIrGVRjdoeZq3kaKdriurOdFd/Dylm4TNJ3nbuDgXh0/
v6osOY55t8NXUW7szP6N/YmtBRkbXzgiiKb3gLdpwp6sFrHcvl9C1cWrI0i1E/kgbcpAYhnlmuTQ
dXBMZsS4CCBBtUztUvb2+PKTIGnB8zDlmWS/mC0HjxnrMvC64V0u1zJRGNaEHpbiGVDKk57yCUwt
oyDS/DWV8jmtdWc3AqhyoomSavqNWF6EyaRfnPhctMgTA6VBTpHu6k66sZAbjTar1n4/0KPCKw86
pYVtFDMDX56VUwETySgMOfwKg2f64O6XrsSel906o/wSjbP3M3qRQvfHtVxCHzxqKssL29SuLpXc
MYmu0eACq67jnVmoi5U7r9OA0yKdDJcEHkdSW+20OwqXQfUQNjHSoj4exMBdrEY7nFqNA3xpQbEv
E1N9qGydp9qQBOUtjQ0zEBZWB4dlMqv4I5rqaKPK/NPPRweUQhy4NS2YrjeHVIdsiBrTBzvItHv3
vuwjHrDsTNhr2w7NZjELnrjS2rcSCHrLlGatWOrg6WipRWE9ZYRlCcSTP0maketDWrcOBONKGpWE
+5A94GozD0ahv2NBd9YpE9M56DsSkCplpVTpFO+FAKeMPQ3luGzC3OR8tawIdAQn42HQnOZQwB7g
zsnGkCPKOsydVlIc1Yw3Mt8E/jIva53lUc+j35LbwdyqmZ/ZpM6gdVjb2DW3frSSH8eNf9EVyXcG
2HYA04dM/THKkq+5rj/BmZQYUkgR6l2e7xwDBaLEpjaxj4LFWGboQBciKqv9EQnJaxKoV6z4cIOF
WGE15ObCu/KeJRXbyeBE3MDlopIlf3TqgCckc+gSKbSBfH5Uhf++qP4HwZVAqua2Bww0NHBMquaw
w8XEHNkP8sTsDn8/OLRxfn7Mp3doY82x4vywC9yPd3MFw0DJWkE/cVEJ1RS23Lggv6gBDas9zFrP
hybuDn//898fAMZ+KyIb63//L/3+aX8/lyHwrm1NneRBKTDAjuL4999wxMpdYtK0FCy2DPIxTtbM
D7+QfZdDoXdtQTHtzoe46ZYDBKXlUI7qjfcm2/z9r3QBZAM0hVJzAlKQmU/+TELGYsa08Rpq5D4T
0bkf5r3GXrYdUixKSWo/plHOICDNmLmmw3diHsdu4l53/IOVA4Jw+6dctNepYwGaS/wC/XfeDXb/
ji8XEswfKsRo15mR3KQ223ewbZDgVLQ47G/SqhtpU4tGlsKW/F30xhgGw1tT+dsE7ThUGcY4OhLh
Ch/StvnCATIcAPrTr6UswoytjEMhtmycq2e9GNwbsNN1hvfhM9VYj4kHudyXvde/6WRHeNZgOMA0
kKtdaYPebwuYompgJ1vv1g9a5mvPLYLNab67haNCJp8Zj2RU5nF+9ErT2cwZOQ9NELHy1Zx8RhZQ
ahcbnuNAMCDava75y/Y2oiyiqbv33Wmn6ViEmzj/A9MP+qNsXk1XA7TUoq43NhEtGaHwVYb1bjfJ
vDfL4bsS5IBVzDAxb1S+7s1p7fY6yy0lINko1p2H0UZ2hf5vfkY5Lrw4i/tHwV3wIMcWy74G1gM+
RrOd7k2zdLz8CTVyOLNlU7EnhS/TrOTbLS0sVjPLzIQzV2u8Z8Y/f9g59fuQVORjfAf2Vwqf06nN
+iFfergBv9CPMGLmoFOBQm3dhKxDuyRUyHg+B5nrmyS5DyUgSHA8dBs76ZuNabbPLLGUPmMDEvE2
uNjhkplT8uawAm4jpbRXJUs4giHKyGW70UUUXkyWZwyzO14zVbDiOuAcqw6V3Ix5xEwT2w8ILP5x
W+vSc0tgN0F7cU8DTpOjk8KRsUd6Tr3rfyVI5ElbJcAS9XVO1YB16i6jEi6MmHq6WT0c//7bvz+Y
VX8j71FvRC3u65OGky7EIdHVOhutY+OhH9e8pidLaReV5V2o48cgMOhaTDwTtS5nrIe296eIYhV2
i8P5wlhmse/DHDNKcU5ySqQuqFeajZA+lkDwmFJ2WyQ2yF2wYo1bZppCNDOWu3r1Zcyq5zkZvqXJ
QW/0yMFLgvAw2fghPVbhMJOI6WA4nCmtgcUvo3FylmI4MMcHXlUOmMp1Y8fxykF1RxU2Q//CgxMm
KtiUNI7ZUUPp7pnDzLvq6G9C28WbJsHG5mHkPFCKqTD3Wp9BST0eLD+G1wBToQwKLzqzx4PuqUiv
us/SsJRdTazQ4ikVynTqd1bjG89jO9mHWbgda1rVRsf9ttf7vNnH2huDja3wzcdEOorSFXBfTEOO
2XpNwLNf273/1RQoOwujES4ocJk6uJflHuUgu8aa0CEU2adu+d9avXibvjx4fXL2NNM9GCyUxRwj
/qhIXdq03zoxebiBCtnrgdtDXN8sUyr2BDJxh5XDevSTl6x0p7MzLvNtqVBbMis0nfE5TuG/qx5B
OEdOK/O53OH+0rdFOn2m0RIdkVsaFvFgyZpHcSiSuA+7u8VjmDnJW2aXplMfjTQNRgHjuujXspnX
KnJZ8yE+qkT/GHOMcxkev6qNok3ErkWSLXyAeGND6ei9oDV46CysY4myPUImO9YYcxwsWAcrXVvk
ZnCbx6XhYNZ6cly4bsoAkPWwKhfJMLQgtmWl8yYRFT/EUn+5NRcd0hzwiPP/U0j8f2TE//fz8+bl
/wOKvM2+7P8zRf5IGKn6L/81vB7/G+D4v2vL7xj5+xf9g5G3jH9Z7FQwdMPQOSccC8D8Pxh5w/yX
CVfe9CmvDMMENP+/MPLiXxabC2DMG8JyPEeY/FGL7Zv14BpbxW0hMNR6vsVqcf7w/4Yjz0/hmv8J
JO/xreHS26bgH1MQJvnfQPIJKxu6xEQzLTqF3aPGSjC5URqqgq69Br+xMmFp79mvzW6ixjpMKddZ
m1fzxk/ZFjTNRojB78vX4AMbjtIPmYsZqmHeHWZ3qIjB9J5lYS3jsKiadk4fVwfUBoKCBBRD39cu
OZsl+wUgD2sjSGPrUlGE+1gI0SnkGm5qwbLVcWaVXHQTFCiHHotLKHPMwo3U68PfD3ObNwd/ji/1
2CMCpy2ZOH1+4j7XN00e/wJF7awrc/ljzkCyRdw3h/H+JY4rsA31aghnLY92FTaxqrszZCvx0y8r
s2EIkZAJXAROnlqjcjbM//khLVVg9ZG7G4h2MYLqSwp8FkiRCt6JpWUTEmzS/8HUmS23ybRd+4io
oqGZdiWhWZ7jITtUYjtAM9PMR/9f+Pmq3n/HZcdOrEiouYe1rrURU4cABPU3fBU6c50M50EpsMgJ
Hg6jHukiWSKg2WO3J9cnh/hz4CPUHOsXKq3hcq+fsdm8R4Mi9qS1VOemMJkfeLS/XieGk9E/Ixdb
iQco+kmKOHtT8WEWVQSufZRb6dpbO3MfrNh9FSgRt2b8B+8lbYPVwojq8BUGHimpinG7ndV0C45B
ZlAev4049A9QZppt0j5heLDDBYB1llmn1BbNg8nEidCnE+wawoMgwuKIu/e7jmmALatjjJHianvT
Q9n/C0TiUPWB1zm43BaaLI3g2LMLDVZ3TNcG+TklYGUpsdtXTm+dZ929z4X3uMRehh9n05qQt0As
Rezf8UVu2hGIDk04xIXcYulJzm5TgGYkNPtANlUIu807iIFyt7e+o4VSJnY1183zsfUG+Vq7+Izd
nuER9Pc2HBHt1Ks7KmPiv2DaPxB78l7WgG+6mqV4OkFDMSLMOQ1jQ8nIezvvBlfO2zx2uotnVESz
EY07wKE6tJEJv7KJ2Qpkz25SA8cJ4Df1iXnSTYdySdopbBAJ7CSYX7KWhVQRz1905jgQmJRxU9HT
W+49AvTtGPmIP7WDfKLvj3Ff4NIrie7Ll5NQ8YwZqw5Ns35vB+ezLJjplHnz4RD+vUHodBorSneO
ALwxNOPIyqr9jKoKgAvuouYNyjiOF4JTdyxQ7wyjPbWu04PpZ1o6M9TbEqDOshHMI3yOS4rKZVmm
Ha3aK++CYAOLddk7kzrQqCJmsWfoJaxXsfSNC5ooSYxL4lFVtv2dWh9E3FrXLqDuI3imZMfnvCL3
to9jZ0MpQpYwZxFVK4tw1Qbz0dWUutpmBl42rFLx0SGdgNjFy0GagnE0h7LZZxO7hdz5Xbfpo4p/
CSIagAVgI7DIXC59Kpg2t6JL7Zh/k8j46pS3vEstMCcNkoQnVDReQDZegLQEx0j0GzwRk+Q6M1gw
I7rQqmSGMLaw6mRSnfo5ysJYvQZp8ov5McqzubeBWct7LEpMyxv/Tov5xviOUkfyugf+lBGPKyJE
4tW+T3ByJgEH5TIehU3pXgp7xvzXvplzV2y1iTM9R5hYm8nIiJiDtF38raz6E2fjs+XX/Z4oGs49
59OrdLtLE93iQ4AepeTVGskM7L3ylz8rdegMQIRzZOx6O4Hon+gk9JPghiIGLl4rT4FRKCaDqILi
Zq/Rm+2mus6AVEB4ajvn2QkY1xgtm6cctUxhT7vWhyI5D+SkDyh+uIVBUZnOhIyIIxqaq1rzTM3A
cy8zfl+nOpeMGSmm1zRhU/8zJwfp/WCBpmHDZk51vBPstHettn/pvA8H1sLH0eHNPdoxIfOIXjLh
b/c1RB20FUxQtG96l1yb94gDsRArxJgI/QSN6zEoihuSoE8/G4tdUyasMIb4ZbGdmgeMzjqKoZ8n
1OCsN39nnf0ZLwegzS6EIutNVtTzs10+B7ZFtlwp+wNwH15Obj6VliHlc3fzbZvezcfEPyTvwk1v
gSkPS1Z4h1FMr66pH8oBCs8YsUtkZn4B4f1UxMVLmS8ixKa9X1j87KoYS7Dpd/qY1qySKiXfuKc0
uMPaPVEKcdiwLDFsyvlIDHhNIZ7h1gB2b6U8FwTTk2yCcZq5WVwtf3PxDYZ9wd1MSKi5RetEkiiM
ArRgzyli+lDWT6aCbpAFIUwzrKxp9NyiT9iYNajiqSfB2DLpdU2ZnvNSPxnWJhJTvJ2rzNlOfQZb
3xc0pM2bF4wcFsN3FDE6HQMip6oI5/BgMbeIpIsZbSYRa70Dgis5ZCwdccBYOzPuhpPyq51Yiho4
trnaXe/5zXgUVIkAyKAdgeILSQmjUe5uphFGk4DtmJBldnRG73Oyh0/WLq9WJlDW06+sD2WcWGWV
sjkJfXNju0L1jYcu9dRpQGdy8NS8M5jVbc3cZvfDKG3xhw9v8L5w5ZtU+NA/s/bBTFt4345f4gmG
7WSNT3ODWhaJebqFGkcHxg3UynP/Fp3XNcAB8R0hCTbhHB7kbSy68gjFMN2o+iPNbH3l1ec1BuRT
rxHL9awZgtpzRhQIobqW6j+DvPirOg+n3ZJ24WWILdYkttkgegAkGrO3MYPuCbbPGgcACDPtxTsi
CnTc0uRPFgC0drvHELhbmuLvQFuFzrjF8w1pve+Z3xOLa1HbhNplylH8jDWC+k4sdcROpnrrR6Jc
iqQ5Ao6o9nmT3NvD1D3Ekb9ZQHMgQhiDvWXQkpnSAKneLk3YKd77qhJ3FrwbEnbLl7nL/G1s+/le
jhFJF8YLtCViMaLK3AsXggJ8JJwJZICYdY6oXPBy+gTP95oQt7Ec/sElICpuMPaz5TzOOp4BkWkM
nawYt01Kc4zClmvdl/DBucrWM17wdIToMBZL3pMFsDNrArtTM36i0qwAbax08s4nkW55jtBbrhRc
1Bbchll+wCLWNash3/tXpCUmck2ua12ILhSA4ZuYiOvKxFbLm42Isr1nLP3eg31IHQJEe6ZyayxG
zRYeSFQ0Ycqhvklr44c2Ee8wThbbNg2+cw+BaJf2eMWqmzIwNnZmuxYnByta3vucaHtVzNsOmZY9
IiTERwZopccZjMWduIk10hsgzOJVzB519+CmYkTNOTkMqezqlgX+G8xE9vXQ0uvGB2yIPrvOn1ib
sc4YOk7VgoFoU4mLquRv4ThHjqLiWASXiG0jwcpkY3bp2Q9IfuDNHNq2d3KN9KSTc8IrdlS2pYDs
/wVjwUSWizSClReNwfvYBFxfOQNsyJsAiLW5y1uE0tIFONCNGiREUhCLAYNiEESDD0qbIfMitCKO
e8H2TLE2u7D8gBX5kdMfxcSbBKNLaLBU20PeIrj10y6TiINikDsBovSM16T2X3BC0MIHyK2mhpgW
41E5ZsJ1NzMl7LAIoz+nC2dOYdgLLjFCL+f3qSARpjLG73Y+wc5XCFmNrQZav1MO28rI7aOz65oZ
YltmzUATfoYeOyQCehFUG9KwDoUKY+JDsaH/XaZlDUpGVkDZCX4N70xONWir8iRz3t2jkTAmm9j3
ENqkGG+0n1zJ7IN8tFCEffaEazwA1K7plqYe+5+FFNn9E/l5GAPz23caFJs57+cO2ms/9O8uA65t
5sgbY+n+umqyk1WRYzalSZEJnolQrw3rDxRg8UphyCa197uIJZbz2x0hDJG93PwSo9VjO2JDpyx2
ojCvhy5jXYZwez9GbHjszIRuN12LuHSObcOkF5sX5KlMP+mFoFq8ErfJHD8X3y7uq6r/izCuZiNv
il+ReRs6g9ztIXOBJHQw9dgt7I0AgAdhF0DgGF4dG89pAeEYWA2yGriA8je1F4GFHAl/QaiI/azv
TpMbV7w71DWB82T7k0dYffLujIO4H9ycdVE3WjvMV8UppX2giM7NTVMAEZGDXRzmtvf2i4vaMy2z
z8FDC6DqX4ZQ4EsD9U6mRbvHXeceq5r08FLh8BGD8xiTJND6pAjZjM/KgI5hiuAOky34xJ67O/Ae
pwPzt1MTmHcS+DtblEE/BVnyUWREffQtVc0gw6YoLkBD6hDGDG6zLC3uPSNJLoMRvGjoUFxZ/Vds
pe19P+S30vW/jWBs7uzgEC3uQobX8M1y4zPI2uAatB7rHrcfDl4jugNfUpfG9FLDwKlTmt9SwqpF
RWew2cUeX7TlUUoKt4IR/+OcE0HvqOex/NsvAy9Rtdxxpg9nWSPigd2C3CsoMpAy38BPVtdk4IVO
7bKkZhAGjmMqMhrPytn+/OHPBwTZ7nUeg6HZZX6KCvvwv+/997f0PLrXKsmY0S6NBaxuJDzFHrA6
/vzhz7f/93c6EQcX13yxCtX+30/UvtOwZW0k5UHeWP//X/7vF7euSC/Ie7b//eTPPzYhesRrxQph
06TYAP/3G34e8c+X/z2KRjAgiDwCotb/Cr47/t7Pp//38H0ssVCy7PB/j/R/D/y/h2nhzDhNAPP+
ezw/3/7vb7voiDnFxDpR5l//33Px8yXZmd6u0ajxAwAtz53xoWLMCfWi3+zGe2dZNd9Jvr+tO27f
wvLTs+nMYITH4wTnf2Ox7ye7zSaBCKrUoVIIn+rcfPEKWtVYDvO+waR+TOOSgLwguZ9KXAB9SyZ0
tcvN5dcy2dZ9wqb0rqMLqnRePxaoP6DBEocUI4sbzSZ4/PkQIQhR8RTce5UVPNpDBBdcitPP94ze
ABxjjA1nIZKYLJBdSBBE8UyEoHoa8eCT02SPLQIeSwAVrILnWJu/WRv8Hf2kPsJcdoivAfiykGH6
35dziYN94K7XmkZ3wGTevgyZYpkD8YjOETPkULzGdmYctAuNxogE9saIJio2FIl/LZLKpbGXJ9Yj
zIbtx36sKG4bXABxMrFB1dlJ29UcNmPBjDWlnw6C6p4y4iI77T+As8TVI2VwTDNtIllFKdRVPpP/
roRQ63rVQVbyDzwn2OO6N/ZVX4jXjHTSbYYV6myuAtQoegOveShzrJ61F9z7hqnZG/pMyiv7ME8g
9Qm/ESecQADvLdYb0nfJOrH65WYaBfnEKnpoap2ikErJwE2Wf2MJEZFY0y1OAePmGfmjmkbrX4Dw
cUnGOBxsYaAIct9prDZJXYk/bLfjcIJkd+7VaJwZCP0zA+QF2puIcmpbUAyu3AU4aPc81bhu6tla
CxCoa32ffSJ8rKog/SgqHY6ygYHtUemYs2pPRaQMyAlCPLrA2NkWyfFUeiDwnci8w607fLtxd7BN
67dPZ3esYZpszRqgkYzWgLTZfyy1RFasDVyhkg0PSWTDG88K8GV2yaJhG1LBnzrlaTK8kixxSMyg
eYzi9BPFeHpIE+YtWJfwtpbXrKoqEocSdDCd5PSrrerZxmTBlM7ttpVM/46F8VJ3KetUpegWe6rV
sk0e/Sg9VdKDum2VKIvJ5bzUPlPHondYNzWTdc0MScpT2+9LK5Vnc0y/ssXssRAlUUYsOtAfFKVU
gEbuzTsIA4zK+gb+gIEzJlKjf+evH5bAa68pr0Xb5cvOIdpi2+UYQIV2sRYLyEflSlFQiMm2IFYY
t8z5u+JtdyjZyl6sypsvP59B62CUQPRs33DWZ5L/dwLLqXCYZphsoe6EiWDWxD4mqBfFwpNjOs+N
NNUNHZ27QLSPVkuHGaEBNgg52ejORO/GudHAiH/EzDE+Ti40O91Nr9PCVZUQtAIxhUo9Eaq9Yip7
I55IXmaNcFglAOzaBLU3GJZometuu2i915mPNWLGvl/DNBGubk+oylxU+/Nnb6n6MrlN8mSja9g2
XqYOGQCyazs2D+2kGeYNAxCrRb9nzKtCPUHzHKWqjjOE8AdyY0CIzlT7SiJQWdLBD7nm7YdResHW
96EW2UCbqm4s7xZnpt8Gk1vewZPGWsWQti+VhcjPJw9ytRPS9hp7w3LerEVO57T+sRch4K1I5z1P
hhiOnSHeBgPbvzF3yRkhYfCcj8AxsqUyKAvQBtKKsvhNnJA0EAsPL72dobtg31p6vlUJiUdRejGS
Ul3aBkWGF9McYrn9jZIr3Rvg5s7LbDyPKosPQ8kPZMRkbzI7r+H+kKXorwZF3P3FYbKWJyS0UADX
Dz+fJWPO69zYfdjVOBVL82uQBEubuV8dGgZst76o0F7C2N8OpCgD7DLcg6CvNZmDcv3h85ttASwR
EZvNID6YAwuc8YfHbjkUmFFvUWZ/OnJikOmjpYDlrCLGkGWnmic06XIrTEQbhjE6uwx5hclxcNQd
pgNVQjM25wxynyp+5Xr+51d/g0YLPCZgLaYlCZus+6K7G+9G8gbwtJPSpSYjuPYk5V572HDHUiyP
yE6Ws1o/FLbrMnTC+jcwybVa10MpOuRkecn8MgdjfOb127TlYl2spU4PWMc/CnheACkH1O5CroUy
eReNvtr239kR442rERm5V9x5FFahMBKStRbHual3rPT+GRn8sCdz4qPX5DU17qePNs+IFf4Vgv7S
FHaQh4r9ITJXq4bVB5ukHfajSu9btrxh9ks45A54BW/mxNqbRsSRrG94x7sQ3sMvcIf0KU7xYqoK
YhTpjVvTaX4v7P9y+huysD6hazshFA0LuGK/YT7lHNWMbb4ZbrUxEPtTb3oneMTbBViCqPBiZAYd
9ysxMP0q/OxXUTExj4L+Au8mGsTvHOEFTjJiRbaV090HTO1pK5K9XTun0ZdiNQNUG58FiZ4LBErt
cemrZwwtZSD/OR5J8urVx5rPFHh6yDNiIpgjL+ChBlpbLyXztK19LG0Bu3EYVVE2vq+/nTTvnVvh
ClKrzz1PcCwhn0rTu24OHvDs2jsS93xkD4gNuc9rzjby8BBxC88/m8p8COhomDxxe3ajMWwXpOHg
4myRvru25v4xmAUYiPZkdq51EUN0shxSKQROeaDVK/QFyRuh9adume6dQT+7qvlNm/AcD+Ky9Ni4
YvYOWMmck2XB1LBVc4JM2O0GdHMOSbYrj2xtyCNWOcz586GE0lKGJpNlIsT6S7XedXEdMety5Cuz
xXYbNy9uL65Mg/trtLKfUnQrqSe/x5J0yBiwI/Mc2pWYhQVwJWjQwgleGL7psCqeYcMDKRTWv1SP
+HwNDufyBDiIXMlJvToIbrcvrnDxUDZlEIrmELnT/DSDLbJVSx/dozD2mT41rn9dlHc0ZvtGtAsJ
7+GUwWHXlgEzqhiR8E/VG1lxbigjFCteXDxmSTUeR18xsKtNTuVxEyXLhbJ63LZziU8jv6zgrOtQ
NfO1B5JC5fQbD+R27MeYad3UPuVZe4z9hIVD5qiD4Zb3ndOdFv6p1iJKRaQGTZmI+jD1MT7mrPNs
TiPdcP3aNhVcNjHKMD8bbtEWx88VduSVR4sLz+dRjRTmfVvuWUgyYapwj8O3ORjclB2guC/lcOh5
OOcGWCSiqle1YHXC6s89O7AeffhN0/QmQbcfQWowJ4/l36aTzzONnJFg93Ld00h7tnPEANugHktc
xww1eV9BaV/9eLqPPtddVFg81TahaOhGrsTqMK3xB6RALH039OhLWV9F5eU7YL0MyQbzY5Hxs4lS
AfUlZsLGIzAi4t/bZjEL0ZTagcHZuSWT8005Ah392mvCCwoXgAZviQPw2xJiALaJGVnZhjwtdXKc
+LldNhHFmgO82zUSIREHUkwUQfNpZGn/wKVjnXQkv1nrBViVjfxoMdJ6Wkz7n5Fyl0qJ9QNEsI+G
2rrUFug4xuGMHagpL53d4ldh+3R0m1XMMCIMy6wY4cEw3uKGpj8nfAB9Xzvece4uN88FD5dWYPhr
dLkHZ2ywUbY34iq5jgSiGd0gVR6Bfu+pFoieSoW545bhjziR8bJ6GEzLiy7EUzXnv2N4RstHHo1f
MsXQO6TeuY3bD5d8kCt+VgOIWos8hNybLjbgfTlImrFIgpVIVzppDi4FL0KzBxWJdKtOj30+dG/g
zIRoTnjNSfYo7FdYOPG5dBtotoiZVLDsg5gAjgDsCC/JCp6aWZ76Rt3trJkIVwwxpN9IqDFt73MF
2dBk+rxL7+ORSDDbAbPhe0l6rNcRJ6c2q8hNjidz1ynedn4DF2RZDV3COviL3R8y5ak91FUnpHxB
lwPmGW0tSnHeVIqb2KZl8r6LFvXVJdVTTlbtPVISuV1a55/pqj+wZrHxaHEkhL0FdFG/SH++iaT4
o53gnVDta4O5jstCMQRDm2c3/S12B7Vv8/LJA32ylZCq8Zak6I65kUhE0DdLpZ9Vsnp975cWGzEp
FRuWVX7o+26yrcjr26Q2GYZligESuvYtIuE6WuyPgCFEYtrvDLSB1aB12bTeWO27Bvu8ZDN17qhK
FJCjk1WQ7zRzwW8bc8UqGUmGwcEI8FZ1dLR51fBQu+ZsGjHqaac/5GX9XA3dk2K2CPakPBdd/gcX
ZLuRcxya1nCZzP5hHH3CLDA9biuTLiHI8zB3rITwdOEe8VKT3jDANctr3XJjpdDORPBYZWhnBquE
KNaxU5HlF7htaNIIEdoROaHr18WqBH5oTBxSeMIeg1a+Gl3zl6ylHj8oq0mhjVPiuyFrJ8I3R14z
v5OfCS59ZKyE71TZWYEMJ2swMTTjsgpX8KRP08SZba1G714FPuqK/tkuBbFqZVqAmEvxleS7euau
UcDGLGZWC56d0QfMDmnFqJX8IP0T2+Yh6wnYtpJT78UGJ07M8+1XHyIZ212GimJj4oZqRvA8U1Wo
PZNEaqnkX5QWCIyoCxmhshSDx4af35DtL6aL07FoTG622NAAHUPgHFtX3bXrZ5xqxk5qx9xC5kwI
Slr/0A8srvacVJWfH/z58PMNK9casiNojyJHOjXOSKr9AbDTpAIqRxU8I4XpMVqgRzdzdjYs381g
/uPAgA4tZsMwK7I91mgHW8bw1zYAahtaII/VD7yi8oICvoQuA5CCia+wo7dgvgwZ3Iw8GI9uGZk7
J0XQUIx/LTjm2wnLFsFxDPJ7vPw7M0cGb2BNdpP+J66ItjYBZ1sW3GER9csSXT1QEH7p2HzSgSzc
xHB+RaRqcM9vE9J1nNdU9dW9KuP4QItYbOAtmrr4jS7Y2aTp3GKyggdl49shg7Od7xhXDufeta94
/8w7v2kPAHB/oVGzj2hm5xtWsXs7neRBpb089lq3T7XA1ouRecOSHnsF1oh7xVi6KGb/e2xRd5Mc
9NT5GGkXAodMbX+MMRX7WKdoUBdxJkD9GfgvtwEcODs9v5RVjCC4p4TGbdP0lcZqS1i26KLLDAgb
D+xfMBdgIGrJEddWD8L9yoDM7iVkiw0764sDETxEzURBZ8OgK/vkouris2AVRnv6oC39Orb+ACKt
nHdznX6xYdkNaflLd837ZFK0I3tNzp2Nh1wT+NHQyanJf4in4reEB1O7Yi8j/JU9UgrNkF+4gL+v
bVW9Jyypkno6RHWAQ9TwPyz17kX2vaWsf4XNhBVDS+i4vBmrTD4bz6l2o61KIIfbg4XvqNLPY8qi
pCTgs/Pt35kqii23S8otuwuXZv7NCoKJjPNtVOWTFt61ru2vgo0Lm4GJjKhBnUZMFoUrsr1P8DcK
X6CMDfiqCiWIO6R7IG+P5Me8ztI+puPyrXuSIKRXlqH6SuweD4eJaRj/o9GmBw+KMScAY4WAsoD5
SSfMV0I2qrB23JVgMB4zI3rKc/tb8Z7b9Y78dEXs7FoJqBQogO9KQKkY8grtXpVD41rL4i5TePiW
5a/uOGSbGl4JW+B9VXUdAogpCxGGwXonuKxzlyvBafn83a7oO3cSUcgbcBvP+C5t54tOcdrFba1P
pDTiO4pPEFytPfg+zEaMGRn0vKcDUBTLYk/kuDI/5PRXW2E3u87/19AtsGFhHuDyv5nLHk6iWsFw
FuWV2du8+3QWHLMZR6MF2CON2uIJjzbUQszT1H/9QQNpjqTQQOPdtxpfMa5IBoZGjVa4msV9XjCq
H5X3y8XFsC84rixsF6AVir42XtNZfVTB7H3P0BlRr3KfKrL5PtXphOqgCe7FaPon+HZMJXozRURT
GBsUcAbwXlBWBCIMaJ6XB9KVlq+68x6jYSnhy3rY+7kphkm78v0wNF6xv8Kbnb3+RXqo5jQGy1F0
L7OMIxBhrncSXt4/gFuCkaPN+gva2CyLLw8M0jbHqQFVf9mUxDKERt4ZlwE2LXt+509RA/qbpUau
WgM69ZzoS0/tM7Kq6k2JXIe8eztI7IlzDVDZ4F5BYTMN08WNKEJjNrwuru4vD8/1xnRy9RznZ+Vn
66QFCU4n/UcsjEidx9OAFu5LD9GXXFznJdEGo5I2dk+29PsHwJnF1q5F/UXXKc3pjYXEo/Yp8apM
i9c5WhiHmgV9jJBxaDsalM2cyL0j+3TrVI7Y6gm8aOLbCSCBg90Xf3PYwysMvb+b0DQfIYTiSCaN
9t0QK+4n6ft7ti+QhHww6XkzjWdtbgv6t4Z8t7vRrnuyBEDUGIzxf/u9T72eqfdCx96KNAi2Brin
vgUNZaRo4RTo9Nhj19eCdtxOCV3IXPDY0pq8pkbpc9ukR2Fmj0Y3H8moR83YGH8WrU7pckdFd+kC
Atusrt9VkihONEFGKIf2VjaMABgHbRof18PUFjA57PMI5HTtLlMeFL1+GXMPc+J9B8WmGwiM8vLm
wWLedpPeUlxjjwBTK0u5XlPrJcvANnUe6Ti1jxtfy7ORoZccpDj4hX7phDqoQuprXqQhOmQbRWJ1
mNwWZilYP9O2z7kbIxaLXqbZIefMG4KbDyWQ7tP6rASOOdbeLwRmpBSYI/tIOzauk9Jrfbogw6OK
JBAtkqGWwe+q1fmqjDqUSOHuG4hiJHydBtN5GNzlW8QEP0/1nwWTr2h+94M8FxNygh7RTK5hHTFu
2oAtRTwwJHsISvyvA/lMqBYUAOb6IaBDBjpMUkPulsSaUV9ioNUEEUz2O0PUAF1ZN3rqghIVk2gZ
CwCKFCDG4j0mXek//Hzwu8Ld64bteV8BvG4lsEDBikHmoZ8OI5pSdmlI8w/IDOdzNIKxaEhFceIg
zFOAOa79MubSPLaOuqsGlskGFtywLmtm4Muf3BLJpZ2nKARqmCPfcIA9utY1kOh4ghSeLXZuD1LD
LrZa8SjAdiqm2ED1qTIyFAujlgtp97uodcH0soQEdgZ0oeiSr7n7CKKmDQXrye2T2/WA37kM+liI
W5U/4IQ3Tm7mQPOE0GwBix7S8Ze55BQ5GZTEvEmdsE29+T7xx/ZWubj/CRW4oDvcCVpOoqLKKcww
goDEJDpjHNFqVA72QrQD7c62CNe0iM8idb5fXOZvyDXKWBvHde3Sk6qQU5CCaRT67B9qs8iJ1MLb
wNebBhLUFmgbmYzGnWd7X3PUzM9gW4FGs+XdDVEXpk2TAMBtg5dg7q/U06zkhbMw2LH1yixNT+Tq
gbyuQPp24xRicXnGIleFPnf9DKzkTkR2e3J8lyCY4hcSsDcP7BiM7RaxHEu0/jUec7q+lZSE4Y8F
jWxAMDfzUVkErS+lwdGGRqWiDehnlt+gMc2N4KS7T6cSFiJYnCSXL/1Y7AeNeA/2IKu9eFtLuz/b
rr7HXtadi/rQdKt6JLg2PqmbLwOikG2rHZ4BJB+ZfolK+12RJwxtVqc7QtqDrYMfYxxnWih2BVVB
i8HwnT4DtRzb4+5ggbxm74qDUUwR9gN74bNdkFRfRhs5V6xwF0gQPNHZ4JxAjh1T10edZeekWkYE
FiRMjs7SQqBhQXYSuZ1v/fEQc6hsoEDfyt59GDN737ftdFwSFKDMTrciGoma6LLvJEbUWU71GI4U
c2VBZl6K7GPnsNy7/e+DNYFuKiQjFHA80XZyomUfd1F870L+rovSvbhi+VSd0aBNJLlHZmuU3/jc
FfCbsqn2MDqEU+H9q1YZYF4ixWjWrMTWrMDH9ibMSu2d8TrkjBxADIwlCks5fkTMhLYjRBr0DC6n
fhFd0CzW4IKdU8yui/aV5x6QBQcFv7bU1RoYPuzQM7Ocr9InlWZfhi/acBgK3EyRejRVwcrQ9CZA
OO2956yBhopLrE/do6X+4kg81Zidn0ghgg7hE2pddVswKTcQopIdO++DCLFq2wzJocEatJs7skDw
+6rj0GgkCitepbtEswOJK1X4yMvgWTGS2xfBjG0HM43LyB0wpH0xyVnyTXFzF1g/7kCx1zytwwDN
4H5eTGcPCiIH5F69N1Q7RAagN1lQ8iZu/yEjUtUCjDf+PJQhUs0YmTRkHyg4jJLegZbhTGHPBjUR
ODtL/ts0Rrhf8EjOFCK7vgONmSEETFM3OzoSgdUoGoLSYEX5EbIqo0MOsozE8aWefyVZ428Q1F8m
XOdNzDAUYX4L5qFoQqf3oG76r5ZGU1Cgek8T1HNGWd6o3Buuwkc1+LckKCgKs+gV1wNhF3Pz6pkl
oI3kO2PVmZgFVbX21mzBbGXi2c+FTq+yhjlNoYvFPQa3Bf4Nlp9RQxH7xuU7b4exHdAkg+WZ7NWS
iW62rYq3IsgdLM0fEB1yRGFlxSGTPTl1r7f0rRqZDNnpTGMsosvDxaLQhJ8ddgUNaZykAe0LDBZS
2bEjpOscqiCVz/7lAg3NHIYnDfIcw2k3LdznMxCPTescReQ8F173i1XSV57I9Ggz+kE0UoeM3xl8
6orNin6shwwOFGFLuS8e8ri7AIIAohTIgaWWj0UVxoVSsUVkOAuWbGqQ3Bqkck/iHYp3wxaCRmtE
Ul5b9a+mjVD7eNa0rW2stkUx3U9ujv4kZiezoqfXmu84QbuLBNAH7iqkCamOCglp+JSnGVrQSaAT
8I+GUntPQeMKMslOg2dENsSfD3ZEgLKFAaOV7cFRCNdj5OBT8sRdwd4Rm/w7QA3oNf6rU5KGNGA3
xVcF7wraOfXwU9ZMhJBb9am2m2XzWc/1RZtReZxoXJG3A4MiziF23Dun5X6A0JOllxugKAF9yNT9
D3cqlIxus8LFY55wT8HT5KKN0yfKuQPCrmfa3FcvtcPcb+otEyE25eVtil3GCAA+gQD7W6zWxUEL
8kV/SSSSKCS+KYTDxXnEi4D6iUn/lkWLSxtKGZUvZ3JKaX4IXC5SRE+SrTFKTezdlo+oimX2a9Q6
rx5W4yd76LnTMIOa/nGdmnuiBJCRtyWQTOnQWUGfGNzu1QcNFybmegDEwLbbUd/Fovgr/h9H57Ek
qZIF0S/CLJAB29S6dHW+2mAl0RAQ6K+fwyxmFmPz+nVmQgi/7sdHNFBiu5yObDLHJfbWwuJvZNnJ
U904fzAS6jVMJ45b9AsHlgXQnvMUBTyY6uvy7gy0qCqnAnlHggOTmmWu3Annbd7DIuGkCt/O2xWK
1BhOOK8BbR8nyt/N4SxRzuxHw0FSKGuHc37/QycuBU2SwtJpJn0wGOUtou6UVVC+uKWO1h3gB+Za
865JiKMKv6K4ssaxQcS0Q261D74aHg1PsbUl5XvqlIt5JdumCmROIucjqXR+hzS4cnDBwl3iWIme
6bsBVjaUlMYwvl+1OdyrWfv/tGM9VrlFeRGUlDXkyd4PGdVUxSPaVboNl6EMNRKNRWS5xu22zvmF
1rIMvFU8YYNnC1hLTnorjNmkCfFTZ4v0lvAnRrH3TkaWYHYdeeuwtFizXBzQk43BQLbeQzhaN5Fi
cPS9nsaYQLK/SAfc1SEdCJ/6qrl6sHEI8y9geCYYJbrxyvajjzAc8GQ39akJ7a3XA2E2Ox/oiq/y
fZbfdM0aS+dgyV0uOrqG+K/Kgu+cfW5jSHPX6ObQLy9mCPCWfsfin+xZ08AubMuO8jJQDLUpe5qo
hkP3aoVoZqmVnuoJ+s/y6RLX6THLZjjoZX5Xpb7O7LMQspCoWnPjo2mWM5/RFu2OTIm3M1D/INrY
O9OYvksP0qFoThXa0yUYgIPtS+PFbkI+mmY1DJL2JF2IByiF1cFnQrhu0uRac1a7tkNvrcv52gwG
JiUbwmo5MA52MCWiOD1HTfbMaskP3TZI0a0LijW4GjWeM2tpGtTkkqhnksxoILeFDvgLBsMfXDBa
Dk7jk9J2tqtDM1g9RmaOTmWUl3au3ke7OwLwJeAZlAduQzTWCTf6P34WA8CnwH02M+XTk3MdWjxJ
yu3PQf5YWrQqVSE5NrCTXHgs41z1435EEFgJEhsPznLmB9+ENMAsXe0KpB0rTzfz3N/HICjOI/+q
RlsPuJnJABgLT2KwDqPhnAMTNbF2ZkhkYEscgcqkiP/6J3KngUMB0WwRAhcEVuo59HaJaI5cMb/j
TYmyv/OxeG6DgkGPxoWytuF8bRiZbBMPJ5iRvPd2GuyiSCGUEBNaKfNpCotiNdjfCQECDLrOiin+
Jffs49BnFGOwJePGMCTlanlC66JlMHGgVnSrigZs/9GeOip0ovHFsfSwg4oZuZwVnHR+0dXIyR8F
fI7BfkWF/UMlHPwAxv6rMr6kFXqoRUegrUsHBoPzUATtO9m/x7bBHWZWC8bIqJm0xxCk+P39hXsz
YheDRP9gjd1t6KZ7XU63tNbdLg/VqUtAPdA2TkzKfs25lmA/e/Wz8NdVagFSWbumV/vZrseV02L8
yHc15QRXM+B/qDvz7BbIRSODyXUgGgzsWQVFXDaHJhcPw2QeEAwIWQT+N1dRYrHWbVT+ljPa+5xO
773JMjoF2NwN0nVefHYUpMCQ+kT4QemZ9Je569BJV6Rp0BxZ5UPWZaQT65KK/qhdVopYGL+41r09
uWzWte849nd6xDwPfsZsRbGhVmW15JNuwyNjkfaABwyTkelCxeVAOvjvMEK3Xd9iBuKFOjrFfMuq
7FlQbkCKjNFAQYxspw5eEP9EPOhcb2KiEeLFdihe9mqkxEgPG6cMf0OL3cYU0Lc9ahEj3lb8xH6+
bkmGb5XEe+Y70T3x+n3i2nA7ebK2fiAOGpGNGbjmeoLJjjaDqYRoOsXq2ifWLciN6eD/wsCDmr18
AW5hP8QhUC7uOPvAxtoQ9eNRRrw/kIYOZtnxAuBuzql/8/x06V7DvB/ERzRcoi2APEjGZFvXBFHU
JNbjAJIARFvI0BLeKvjji7wXUX8X9QAQplV8tbW6YDi5Uf1YLn1//optcG87MPD7Qs97TP465muZ
AzIg0zwzcC7Kk+R4sFequEzFeDJLjiRMnenl7AJcbh4rA2UurMzUNnqYogicOk9apePWzLOXIiXr
TshgXy7OCOp+WJyGAWMBhvWpLb9JbN81TC8WWpJDgwRcMmAgt9vihvsBcqSZ/ddnw+fgVMFRoa2K
PPis8uGJzZbCyEU2MnlCUBP+ZT4CcOLZ/wnbeUmdplslKPeheR8WIJZuKCgh/72eZQuHvwhODlkN
wmfcKKwW1/4EGmWVTimADrOB/TzrZ8SacJep+V50U3nIErZNn32WySfNm634NkiqrbTu/jiQfHOp
QwcbT2k1FA/RuEe13tLsw5ZKgHfb5kZ26NKI4Gg7tQfIA4wa1GizqPjRg4PTqE4xUoLMz7gxXiLj
rzS6AC8nbktDFg7ceY5uStrHeembmpWfkf8ZmXdQgTt01t6EWXWJa/9ENViNXrGu2sq9eo14m3GM
kNgwBEtwcKjT8TCVLi5YGXzTU05rN3zxKZXfAaVeORAYkL79FTYzKzzK29pIRmoWV5SKw/RAvF3V
Zhke+/GTust0oxMDMLtLUsrVOKbt8SVxEv7fdJPFQJsrdvl2RqqR6fAyzkRlMY0yYsIVA01JqujN
ndRpijhow7eqTNZHtyZZSa3RkQ61x8GEQ9g5+4hTDgPG7qXrxdrKAZJqs7uz83L5pqg1KB7CwH/2
nOhL69Kg4yreOsahNpMLJtFPyeavCz6EYVCkJKd7W2d6nY7fsqORByDcwKtO1ue34EyIQvjgcy9f
E4vZq7g7jzCvGBs+4Uw89FW1cUK+CV/z5SLbOk7P8PYK8z1y+TWDvuTotIcigNGpS/9TjfhHmPO5
5QrNrXjnBNFPx0MYJcvujDhjbhvF53VU+CpdNs84dHdew7vnfWeyu2d1eDWs6uDxjq4QyM7aTQnL
COMpHoNvH4c/ZmaMMl5EMHNOflJIjTSd5EnE5FKML6ZlAz+JGem1mcJssW7C6t3pYK1IsW1yGjjr
Zn6U9Hh01MGHUIK5z42XSdR7TnTPUgxrMycmi1SyiuBKbaBGbe2WNDNYfGvFhRJ2A8zPikwXIOKU
+xpFAfTk9s0uxOfq28WBbPXWMjTSIuDaWXoYtwA3dr1xDUH/YaQ4+HCkEwOFcVmE/exL04UAU+aB
WeMG1ZRxI3F6CCUr8uzUiwe8daHyf2WonidFWbJbAiPFWFO5iA/QcJnSUH5AG6pn0nhVbTMLlTnN
YH477b0JYSG1s7wZsRttJ+F/+lBLG5NVnUFmvAld8tteoL/VTuvomQYCT4orDpe1C3EpUfcubM9U
pjA24G1tOROTLo6YqeiT3fJ6IEhtKtswINh3DAwisXV9mvzMKH4bC04zDWbN0FUn52PyxcfwHi7M
EPTpDc/ayXWjn2iojuB0N17kX90uCNa6Ijjj6A/sMoRbOPKZUoTcnOmJmxuMRIq69lBcaid/TBkt
1ZH7jgP3BVLAIZEgEyNws1iedqXtvc1O8ZDXkmsGERLX4c+xp/RBwu2k2wWJpLXukEeX0mYo/80H
NELiR2jtSyH8Tzs+qEj+9uAAwNdxiOeSvBDH/k0s0evlgEfJydvoOefMKO+xy/MeZ1uVY4dZ+rnK
gM1u6KpjlFQ0OIffskEVNdqz4d5HstIwt46akEgILTfBQZIXi1PG+BZL8aYWjDLziD4sTz20MZv6
VLJrAfG0MkqtemM/tSI48XSZcQscpT8zvCW0HRKmGa3NUKbvpiheSc+sl21B9ukDPdwfbRF6SILu
JsxBGfo8gRGvCfsMi9Zvmfv3ioQggoe9HwEKtSirA2pZ3A8XMzU+LdrDtoBHvwIXZcZ3e87+9Yn6
Mpgu87+CWt2VdmDOs6Qfxix4t+dyX1v2VnUhSYcweCra5C2yyn914nkY3WPUsfIvdvWZaRluU2bz
xLVxyrAgHbTS/7kFnbEOp6FaFUu+BqtiMGguyoxsz7WYHg3sreQsADez6A7Lpk8363vMsmBOCapX
eBk6TW9j171gXDjF2YhAIfJrq9/HpDj6PpSKepQP3IyvdhOVa+iVNC+Y7xiE6Q8Q5Xtd7QjX41ue
qj3FySSdgmsEDiurAH6lCQgyD7Qksjd7OjzmKdkSf7/XygCgE7YoccOjzqqHoSWUld9Km344GYXf
wuwf6zL8oH0XHwG/kFEH775bHZyuvVNG9WIHVBsvu0WTvg4TzgtnglIIXjsdfnwrui2NPrab/Th5
GKyLnEcmMAiXj3qJfr1z82Y/Aa0pc2QUSuo5BVIb/dc5IoMdATwBZFbBevXeDYRjRtMjLtuGV8mD
ZCwF5EY2Pk6hfFJDZWNY2c3QwvmmijffG1ymcmLd1C5FMZKFzjO6nWEHT9jrnl2NKBu1wxlzAdaY
yn6fSZmRXAZEM1z+/zMZCra4JfjBKgoZSpa1VTJ674Smf13B5mBwju6Cnu4M2LNtfrPS/C9uUNFe
tT//ZXlPDc4wvrR/uOjMUxwPL7Z+K7Pp1cxbttKkeQyDT29iQxdFgtjtk1pXBykYmHR94eLDxa6G
gLxeVjVv1SfoAMtL5JTxbRplyyO0zWPWYWudZIziISIcGVyyqO/bRQ2BuZ0fK0QW4TwqQYCw7HZN
o1D7bf+fZVPWlVDmYPLjQ2rPseGx1AIFeUmtyCTyV/7LYmpSiPLh51+7oeLvqSX3KEDZAWNtvvPS
QcHukr2Zdj8OsR88tbrb8hRsEzQ3C6HaqUh875jDFejVBojo8XFMsUZZCb9/PqLg2NmzjmmOrwlp
DAsKt8DfEgT2m9HmOxuoUFZnWDu4cFIqwRE+pdom/CrMEWuexbcbMO+c5QuP1552R0YUqXOrHPsl
j3jrZoUmNuWvXhtj+7BbHMKXKdH7yIfxbPbFhyrSr8ELXwPpv9cAENbOG8wpiFz5eKIZMtzhZWTu
Rs67gK9GEuH/xS3Ga4T9KB4BMXa8fl1d7HhZ12geQBVmsE6TZPVkdJeLt47j1b6RyXPDNRjCLMS3
kpNGixfQUmInLf6KaZp8FAMYzzQf1rkpn13aG2DUviXBW1nhh3S0de8gbOzT3jwlXfFoyeqj9UW1
M5P5GloeYxFvGUdrtkHqYTHx3hD2n+ok+Wqd8Gbwd696fqCWAxDN48M6LvA7toptoaEipeXWGE7t
2eqj5aQ6cgJ6KRmhX1OXX9roi4cJLSBE+21H91sJkNdjitcVtZai8oi2NHKAuJboBlZZ8DJ7TCwn
D3sszfEP5O6YXwDsZUrwKC37qFnIoogLBrEDcN3TJdbjL2TiS1ca36pOHzJt/2pi715NveLIpMmX
HGBrUuQGto4IJkyc0qvpWMEbM5lqU9rLFSPU7ZUPeU076jxCFV3XadU+2QOLsUgpRDAb9tfCazB1
TY92y/Q6JQePvslPCIbw5vjGc8BpyU5lhYmAnilBFNoaoTDrGbGZg8CGu+FbNZvOKhtMuVtYfLi2
3KMjKwCUCWp0EePjCKbinEqsUYjsKDVdshNm/Kk9XR0tL6Mcl7Ifa7B2vYjZ6BNujfwjeHgy4zKo
nOq9D5SWRRQZf/E1JO10jyCfu614YRr+MuChnhS4R103V6t/ZfbB3N0HyJ0W4CAhEP+FKe6XkOai
crwKuyR8ys84OwLvQG3u8ZMKLibhvc/z4eQi4JjUU6LtHyXcgE3XcU3xJ/vXm5GEPWrKJpqtZn7X
PBEXmzv2CnU0o0PbXIshu0no3mTatNwTuDw4OqSCSjd/TpKtIqk+cgMIufr/MHNA9VRU77Q+Fl8K
bma3GnHr7JzMAQ1o/uH1oAhg8QdlGRVDjrAHXD+UmPS+u65bAh3UeuZ59iY9PB5iMDcINMnaJNWz
iXCoA0umGVoqLOTAccsuXIVN9QHpFa8z5i7evSmHQhDm3d2uDD5fNmyigYN5COWAfzW6H+1XOaqa
zrEuJcMycv8lZ3GyFxgyacKLAwNNxOWBZO0b+d4VLlh/5wGNGqV6rTN+dNR7e5WRdlxly4IFVY6b
GLbTVasR6pzXIbTR3+nISkZ4BPtYBQ+JF3R7c1k8GLJhY7e+zbb88HJmqVO7I9D/TqGr2pdl5fMJ
aDIBiQMBl8lbVC37kH+zck4+nb9BBiq3TAPMlde4a1EjFaUdGP56eKQb5LuIzeCWO/azU1voZX2C
eyAsjnb2FLlfwm8D0kFUfTlIuikOT2dMnWt4kY1nPA128uuWalv73LKTJdmTKWMTt4QVGJKZteTs
WVjWIyVfX8lSzTDhPiQehC9V+gxabOZWJUgUdPgVn8pGd0bk02kLCjcNz8BMCAkQhvAsOyZWhMg4
eh+oTeifcV3uE3KSb7KL35QU/saV2S9thS/YJj2UQqqECy6F3D9ixZoaLIaJiIJro0q//MgFaBFF
LOn+3c29exVxCSt18ClodF+B3NkEpv0IfrM9q2nXChflLaUcp+2ImmVpzabYMG1VBV15LlQEvG9E
6C1TA+jkMhOHuKMzR+0xMVxbk+kvkeN3x2Qci3Cc5cU7Mxm0hJaKF2bWHfJ56m1rAwZwh2fzUMrq
PPAUPVr9UqYdPEXknQAQQbp3GrxdVVI8GbH/WDsSe6oPhTS3Q0wX4y7u5PuQu/WBqj7Vzgw8+LIg
FF1wc3IPIYC4NmM/5Bu9oI2Z/2kCjAlq/1tf8rlDViWZaONBoSlFYBxa+nNYWpnOpAYzl6Z+HuhS
Xc58lHLQGtKlE3yAxL4UHHTou2CTKwcGArQmmi4dujD3TezWwTtyNS8A/REnGgWbTYTom6jXOfRN
FhFHbacseLNqCqRSSYJ0KcOxw7DfxPbwQmnFigRvxpQJbSgTfEmSbsa1IBKMuyF9cebkM+/UGZ7D
tes4VYRhC914RGsesdC0bEACJnOiD2pIubc9D2iHnm0vl+gxPxoSXyXikW8v8kJOHIX+tqpGArV8
DPKD7C6GY5zVzKES3DBPF7WqtJQkbvfS0zkhkIrPdu6eMkOP24LDgJyyjHCniI7EGeONQ3aQHSF9
HnpCQ/k0cBFo8M/67D37FJ/rUHfUXcTmzu3fajIej5k5/CsRGhOmmlTy4XubUVsjjkzPmcxQhCvd
7qV+NsOg3E7s1uuZe/UK3gMmahLxKwHNbPDYP6hyJMsKn3WTNclfF8eH2JvGrV2HABdGTRCqgX7l
EU3woKuYTUH7WkxHS5zZJ3cmABD0A4pd6277iXlsmhHgDicy4Vi7Cd2wAdX0q9NpcQCL12xzgylR
RoZm7v+DMr4VMeGnrBUROsiyA3XeOnLl4xjbG80Mh3RMC2ioBOlSyo3rp8d0xEesVVDviCE/zxE4
VcuIKT1bJvBDJdCzvWrPXelacKqt4LmsU6VDlIzkN/G0szPD7D/qZK7Iu5CsAxwVCJ4WBkpo0uYa
kLWDg9Gtz0RKdjQaFsH4Y0bKPfTdeC8NnK+8NRvcH/45ddFjktQLttRI7Zq6zbaj8vB40BWX0ZjK
8TPbYL7q+gCjaVlYBzkroMu+jfOKY06MQWrb/AO/7u6Homt2XgQ4J/npDWDpbpdQ4k0lyaq1iA/X
Mv3Xl9EfrpRXd3Qy7qTMKFpQpiR7SIhip+qqAIqvqbcdU0incYPnVrT2NlMAfpPqUFbHYhE9qyz6
0cF+ySG4ZtWsC8gZ14mDsW3Nt0rzqQ1PvHSt/TmV7b2cR2fttpFLCpb+geUE71ViS/aWu4rJ+y3c
ZqMpoFnqdLIJcaBNhhcTQz/HL5om4k+S4cMRRx91Fub007YE25E+QiqVOWgsZ6ImSDc1Q0qy+vfc
KO64RiYrNI+UshvrfkmSudBgwJD7yWJ+5Q5QjDzPTfbWM6s4UEdkrqvJeU4tTteOiZO04qor6uRE
gWh/sD3O4SVZQKOwr52scv6aZXvwWCJ3hM1uro7zTTrBQoIVxnE83HtSOjCvGP5T2sQpi54amq5q
qKXqEEGh2WjUeJRnLkZQhhuH6NrYRfiQIrfbDCYv9MgIbgvZkgLriLYN2NVsDA6X/2H8a7r8nUrJ
cdVQArNRim4M3Fz/yflJKSwOQwo8t1caUk977iZJ7cR099lbVuZfQF/VCjzB1zTx7fV62nsW1IQ6
YmkOvUhuktD/pVPpNcaJSOnVsPNj1PgYnDU1rKtKyN+omat9xV2C3Zg3y8SYi9UPjEZ2llNskjvQ
/qpC+wOA6BDZMPp+2Jk+Zhzf7y4W/Qd8EnQ7868aOfHERQg+IqZHIH4SkjOhKvC4zb1stw0293Uv
5V/tRt+ebN69Av9SsoymjOHJIE22htR8aIaGyWVfHulCQQES4SYLR9SGkvLXYOaNeVLzVG7VoDa6
y+WVI+surae3dCaTapBQHqqFPtzwfZ/8HokzIx1AeNJHbZznDBH30+fso1S0s1zr0EZocF0TTmsZ
TFDwh3xH+8u2nhktByjLDDghFJrnOEHszDxcoLqBqcMIJQZrxD9GrPhmaUpGoQzRWdfNZ6E+Mt8A
2lXbvE2Fb1zyLGCOOhAE6fWXG9o1Z0Ty771bwPxvRipPphqem4HjKWj+kzhIDWD5Oxzs8zqJiD0p
vXG8qngzcDPiaIkIoWfTqE6CeOpWd7wGVkrUv2mpNsvh9wf+f+MAx8bruFoxH1v3mNJWU9JXJ2ru
6FLnSGCm+l7aFgsFElNccn1IG5u/9eAiw7EmLJpN5g1vQGgomPD1r/KTkHYC7057gnGNW4kPMAlW
VnOPdbTNbAhpVm8dFGNGhT2FU/Vsb3qEuj37wgQqwsCGVxG80dU+dsmXRC6Xfl3Oh0l0e0uARhSq
/sDkdAttOgFCgPRJ67BuiiUQOwimZ/hdh07kO8/0PxhR25u0LCkZqYO3xBvvNiaOvTNZlyE6CG/8
ojiXTpmy/JcO6VeDI0WIebi0S32wBdTTG2GBBvqUtvyx4eDsosFKD3Po/oZcvdcNHI3YcPaBI5ha
EoM3XRJ3RB/B7Mh2vBExzg6TKTAuRCY1z/YDR/n2ENEzlbdgKHSe55ss411X7viA2gX6WuRfQuRE
VN4CfTND8Wnw+sIF1/s+9QsWEX+xvYhTq8UXTExGEWk2g/+gn2rGMgghId2XDjJ5xskG1Vh4RoSu
ldbM80Fowmp4TBvzBZjZMm8sj70GnMltzs5Q9+fCWkX5W9QD8oLFalIAHH8IDYapi3xjY/m8XsvM
iHtRA4+exEI2ee9YhU+MnIK9w/xibXNDKI0fovjf2vnXpZrsdjY/q0qTZXEq2mM4aJVmDSjJ6Whl
trjWL90ukGsAqfS4Viq/27vCeyCjvABhKiBfhfOeNUzZFy28ORtz/WwzndsL96njUO3xmAgP4Ygg
iFrTv32MxzI+VWF0FZxr4ITxS2nDfqI+4acpiZjTmMqUip70VYAJkLWDm6Kywi8geOlWBx2XKvx6
jMZ58DvrnYk36l/yiAWdzD/13i1EorUfsQfmksZqy57ouc2cwyQ5l/QEafDvRF+25Pt0jNzcDjgN
petjTsbpy/WLv2st1F5zvgBEEf+Clog29PKe89pAimy5n/hMNsZkGbj1s3tBGm5PYdcWlyFp75AE
YHla8R+CyCmAErntBYcq6k5WhUNYvOmEzWEYem0Gwd5M6E6nBickXcEwZcLbTqDpMErxaaX1S52k
b3GEyWz0UKvY95wN1+tKPI3SLx9EMsKxPzuJwFjiD+9TjhiTuI/CNlNSEyxNiD+bPsBLB0v2QMlE
t1ERruFAOke3J9TME4iReSw46TU3MyCkUEo+jjXijuEQE6NrkQPyEE5t4SPnQ/ZqszTfSB6BcZDG
LghQKJtg6A9U3c97H5/btvO6v7giQp+z7a4dSQlJZHU8fXiEN9lCs5vt8kNGeYSDPRH7xBJ7wkVc
slMC85nTH5I6StY84mZfM6NJk+e+VuO54CJEmcbALe4Uok7aX/5A045WzdGJAm+HeBeRXcCZ72cp
9RS8cirtvx1j/OJ0btIO7K3r0Tx56eSy00wDTMzqmY0sWfj20z5VZb21J+OepzV1i7hC8j55TlKY
vdgtN+byewnMWSFTkM4cq0Ov+9fe1tBO7aHcR7VJA045nWTkERwo4yP6tOQ20nTYfAAfO+sGTWE1
kzbhnsydsox+ksGYD27VbOqJ8UA0sycVVbeNwyDYe0ZsbWP3oV265Erbobavj7BjgKZjMEB3B/WM
FJdpuuCyMP2z1aYtJ31y40lhMy7HXRQyUOY7oeXmdXSK7LmnRgNlvLkB/8cXYOZI9X7+0gX2uKdQ
LOyzg2R4gss5i/fjQJEgOhUX3SDe9KbtHxywi4emSaiWyZI7Qi+9QgM0xjaA9Gd1zrhRvHiraqZT
JB/4/Waf8viSSIlDWrbQYAVqbyS1U07gUpLbQjKg/IR7lOsNG73g87BNU6I2UFYUZPNXHQG6NPfc
tpOt7cA+8HX8U1mkHUT+mTvmk04F/E7RJGAgfpIOy6KyfW+9xNLN9nlGx90VTVJeDBfrUAXorxuL
a0geHMhW/4Ire4Wxo35lJduKShJiSaxTA/lx08QKL5QoebZ8TrmivnIeljhnZHx0HryG1hyseUR5
cJLRAAtBg72ZorFKMBEmRT05l8i85emyBKbWzYZdsc/crN/07UUa7a7H/LLXES2mpJ1W1sAH5H8l
R0xvbgLqVmcpVZy6vXW4vKZcl9wCjXQLqhMv8VsciKNjlXwNiuOs2Y6YuDMzR4zFnN9/YtxrD0S7
qWRgur9t5EhlQTa9dBizGX/Q1xm3rrkVjtuvxxY5y7Eq/ALDe9DnzhkHnSWLdl/Oizu1aO4YXUha
NnhpxYBvavHmJNxeAUDS7YfxMmVqvJZGZp5Ul618FCyWC05myNisC/e0U5/coO1V6uaShncEtpSa
XXKk7yWCWFgOKamu3NqqW4uAccSu1pRNdjX96Gk5d/IzCP/BMq4pFQ8HCs0e8obvTBAAPMFqv0tC
RWiJ2C8jLLaEhDlOl5lTrKkJO1AdBjmGCPwc/mB0si+p+dH5aX/sPSSOWP0OE5Z9LXT54GTWzzij
JpWI3xMT/y6JwGzW+ETs6bVXw031MkbmTwZaE+wnhwTZvosxMmgxgvM6OS2086ZzfkIKA1U3ApH2
DU0gkCDGjDk7FMyDKg6QMsUsHU8zx1b1CCGLqR/OqHXjd0fRT96260LqJYJSrQHFRprnt0rAAttI
xfmknywpRxSu4LNd8HfMNsyW+tK5MZoNjRDdGu2LWqXK4tFPmVEP897qZL1fsjHckmtN4Lx9UGBX
KZN86juy8jUIRcZRYw4SJ2pJXv1GpLnSxmdW8+ZbDjyBYXw3XCvddFXtrlEF2Etnc9r67luctax0
5Pix2FMoKZLJP87xXddld6DJyUdjH5+gvwf7xK//E3XznsSlv0/yllTOYO+SVBwKk5TczEmPOWJ6
0cDTV7XN75hbY72lXQs4cxc/NKFRH6JE0T5jz8BXJUSLBtdxVVjT2ZzUbsyaP9mz1apGwo6GTsRk
Z+s0YBagbUDDFxpIAVM18hcLoXP+Qa0Ijw3txit6nmkINB2CRUnh7PACdDlauvTm/uIWtFNMZoCU
ozp23N5inJZmGzr8Xqcye7ClqI/AhBYfDjttoVpx6EAt0e/OlT8/w95xr8DFV32ZOkdGtKGGiECM
LVpXRXSbMgNIqKk2eJxA3LUv0PWx0Yjh1Z77G249lsCqPvsS4gVeOWfTFW+QjCnbNDD6oF6olSxM
vOxxrGlsC/yVtELrSverI/H1GR0nmLH97vvYOKZd/vf//4DVOklG/Vibu2vmED8aKl4cv7Dp+wU7
rbwQJkwdlOswLz/jAVUA5o1nEivxI69+cxd5rkqhssgWDo6OuTjXgsxkwRlb2zmQIH0toIyj34Fl
Jqd154QB/YvjfBHLb5laZ8dGv8fC+ojLGd0mb54C7XI3VJOxw02wreP5sVaw/z0yYpxWMJuK5gMW
fXusEveP902uRZvSpdOXV0j1X7VREkOznuesgPmQsGvH2BZIctsbb3JpfRgnf8tRwUd/5FhM6AMP
to8JWWX9xfBIhZG45jxgFhfLZsnDvUMhWrltDfFbjRb1Z331HS76dCW9BAnADW4W0E2OKggpFW61
teflzCULkJY2t9uudPCazhiNs9qeUKBtf88oEqs4EAVUOi4YFV5Nuif1Ns3HR6uIRw5hNPbpYnLX
QZ4RaRzAhqqs2hLGf6OviK57huGRDD8It+yiilTWiI+oliAMxFgQJxl9kuJUszQMvBZfR7Px6dth
m+ifkiJ+yDjSMCo+ZDL5l2B2x/Cw9JgH2bQrjn3L4bFQNytG+g0HPjPGbDDnITGFwEPp3rYemoE1
AAdLqU3fm52+pmbw1aKQ8foSN1YeHrgu7R+Dni2k7PnDRdxVBy0ZX3fm3vIhvSKbANzHfR30jKey
oBq5YadPgw893Jt5IQbXLU7//6/Cic6SQfrebmoCM323iyNv11UFdOiOCQw2RYoLWC5dN/jWbd5z
EmJMZBnhQzpR0x4AZESTZzA7iFfoD6uk4Q7MaurHXr/jHS2xeQGUHkb9V1bNn2nnV4xa4Un59s3K
xJ4AuN4It1Lr1CRhD9iu4BY7kcpAxtiQ1SH7Znjtxm7MvS7zY5u23bnoDDxFLSJlTU63AV5JqYUP
aqs8a21W2NLEd0kq/FCw/Sz3FHwzrqBvK6F4CBiWkDLdTHFU7EjZ0VXS5U+ygDFBexKavBp/ak1u
U5TMMjzORWs3GuJdb+aPBYMbMo9AWSouaIWdI0ACWpceDgt/xAoCDYnl1/gPv+vGk0aywQv6UNmS
0qb/cXVeO5Ez4RZ9opLsKsfbzommoYFhuLGAGco556c/y/NL50jnpgWjSXTb5S/svTaEp5ubhfuB
om/ROrDALnFTgp+7oGhWq3Swn2zqetoGQtpnfkUy9drp3+0400fV+letClY8drtPPHt4zCqxLSoN
+2xhVjtesR1dBy2NfjE9xbCsKNOd1wzGLWDqti7EWLFSBcVA8PEh8AhaDuDf1rLCj5HwzHElGUVu
wRXK9AlR8L7qxS9xSrmGXmwpTvBt1mpsLzqs0ktegcHyGh1ty9iZgPfE/YWtwVMIWwgXEIke0vV/
t9Z0mOitDQ5jKYxyU4tgVyCI3MhgsrAnjATqsRzv3WZa6cg0UJuRZRRLsp7ToA+Qa+Or7x0Q1h0+
Ig72BZEV9E8YZqO1P7u/WL2h0FCQTpMFPs0h2NDngBmFtcaBtlx3mLgEnCrMjaz3XIiRmUlEQcDG
a4XGKsczkn23TOZE2t/BomZQ2wuUw6RFyq401jFbAewx6NblHF8rubEdVFpMiPEuG1tdQpwznNo4
NU6180VcHgfa6zCW7s2eevrOAjBQaT+FLkJJ5E06tt7MqBJfRmNdXACV/BULwaTFFlM2kwlQ1T12
VvZTBx4+z+QRE0N0aB0iRBZAoGIzf1ZzYMJWr+hQqu7sFuUfMDUCoy0O1ETLb6Zf9iaqXXPD6ic7
t4aD0qkskQYtdZkBtpl/Ducb1LWH2Sw/7dJhfeGP4rPuxEc5AFmYXBZMlWe8EYq1RRpHmnkwfBs2
PgIxDteIKgoterZN3ah/1t43oYzpJgvq8KBlizccMRC0iKJ4mj8R1my5r3CILIuzwbAkajKJ+gS3
Mf0ys19ndi4+9FMSnL27083Vi9caA8t69G5hZdvccD6h1AXPEXOmYjY8lLbap6whrqG4jA3kv76d
zv487KQVNMfENMOLWT2Xo1Hh8igOKkPsVlpQx5jqNw+MszrGvobYFL6dHl3SfFfCWZMXNKHq1Jz5
HiRlu3P3OlqAjB7EMEuUFhPcmePeCB8yQtRnAd5IOs7MOKw5eHHdnQhSKx+M2PJP2SS3OunSR2xd
+TZi7Rnb2aLnYd8VFNFb7qruOo8VUyXuFnoeH9cBMB7m0E8Qoox9wSNjXyiaDqaccL2zHtN6W76M
SfenKaPklPdDsweET13U5D9QANh8sVgK9GA+uMx5YUmwSa19quhGmUgDoO+zM6HpYG7X/VjBozbM
+C92QujwTxaO8ViVz6lTuI9GjyBu5lQp0TnrcuKWaPyDmrG7Lkt9mUzwIOBi+Q4ghyi13Rf0JBmj
lxECUdjPiDWMa0mUZ1nbzsdkhYupLe9fl5EEVc6yts9pj3IHxrfw8RyD/Ygy5qsUmI9DqZMPtL13
pCn6GLdQMTzPXHAMDpF2qmOJUTP6t1AkxGlansEcMrQGWzs+VrX8rEPuCZiZw9qwF3klzu9V0Btv
I0jIY9dkEf5jIz7y9CVuyWfiCdBgoElmZpXkOJQwOLwWnZPvAxMRSFY4xsmUcwJTjzUSsyKqZdI8
AwWNxw2sG06NdG8x51wUkdm+Lv56kQOScpjJjZpxBabGkWS97p7lxsoL2pBo87J9SZzRWQWWPW0g
LHMdK/JoY0DlD75EXFwyY96JwgUzWaqSgPTC3+RGTTB9G7nQHAPvVVsRRBCvW2R27FI91ep3qEa7
qjYfQgu3kyMAlpDSdzTDiMnjgNCkHaLmtU1bFlHwR5nT8K0yBxKF8zTa67JvXomQwFSOSbYHhb6L
AZq/Yrcat4XHR/vvWwKFPTrV1Nn/+xbnHN6T4DWck+jIqWvDY93Jmf9NF6DOEigXy9xdj5Jiy2Ho
+hSZ8bWZaborp03O81zLnXbldJyX/LvUKzvk5xo2jTFkn9j493PdJT8I7DCu2VsfXzm5w5j03Kqd
d96wVG5UHRs1qerOrZZC5stQEo8YwoidQi0au82n0XiHSKqTDXrnzZtMBmYj9gCPN2UjUO4/AzC+
ZscQqs996EgdNwSbX51Hv+J2Kq8dtQHdiRH9Us2uz5IeIjIgioXoFAxNvVta61M70EnZGSomZJrh
RVSN3NQp4sg8Vf2pXF6waXlEICOVnmY8V4Jw3BWE4X7vdTVhx1nGRiB15uu/lyKuEJxkEu6Jz1YC
Df7fhEEhEQH3prG627+XTsf9BvBVyhI4BUEpfLGeSl0e0f5sEVcFayuSIfUUfDR/bp9mv/opA0my
BMkNMjXsM2Muw4N4onWLjqqEVGXD14CA5xxJot+FzPdJnomOMQREZvwquRiFvmZdZp1qpzpUKp1O
/16YWN2DgR9G4ixCMV+k2P6iactpCNmwoJJC/PLQKTxJqXDeOFLZOaWpQNHDKdn6mT74OWWI2TcS
hGP5oAHH7XPc6nuwli95aY6PGFupfWxsPKjxWdzRVmPds6p9V+tF0FC0pzjmvSpndVCFDe00S469
p6/sdYYnjKyvjclGYkxY+XfRI9PEx4pj9tTTWkStfpjt+j7DVH8sx/QhzuJh5/rMd1pf+KfRkSyp
dfMsjXB6BdaJmZTaBlxaccUTgrwpsOajT+RxTolYkE+0NRKKL4UagaJ9Je0Bk76qmzOjz/KxUc7d
FIRwkmShVwotLJUcqJLRmC8p1xMlmK+P+FZ+RbTh63iwCRS2O+95rmHLNt8YuB3UwctLNezTCZ1i
5zhXFoTxi9WMB3rfhP0iMj/LCsLT6PLo5wiGXmdF5zbSb+jwhjs3WYHU6Fl0ZnnAbGg++ql/xzLc
8TBdyKAUsLBfyUO38hfDgTkkwvSnTbFhaowpKx7zxka0/heXAaOuvCCdpAUQVQ13yyDNI5apPCkm
Y7bS3bXRFL5qkPZO+DK7JE2FrsPu2O7M/T6sS2KA3chaE3coQOn5BxwXH6TGBYdRts9d39gHaZiX
IkuG5ySo1IMOp6smO29tos3ZWNkwYDufJ7IkYuZ/DvgM4mP9WkxHK7fNuyrqvQOeLocZfMry4MXI
W+MMquFYTThJOsTle+goFwMW2wZixR/h+4+T5IMknDRb51WA2mpSW1BR2Vn0gCsrHCJ7JAKZAejP
0u2Dm5s8N/BwC3OCoCyMJ2myZR0bouT4R77iNEjPZliHHJlBv/Xhnm11pcA3i9p+GFN0FW1p8MOD
Q4nN8Oqx7rdRn5yjlkUUU6a/yqNXxKxerYuhfe9y+dnLSRwk2DEGLBA0E/zGBGmFpXqZwRUf3bBc
5urJcDBBAa+aABcSdPc90wc8AhjSnGpwUdAgXR3miJV6yo9ZlM4va8Lu2oHybXgankpHvrZothn/
MA9wcrYfRUlLXsQOaOkC0CBZYPRsY3oO87Fejzgin0FSHaY6U4s5EfkrcfNkEo8G1C824F6LqKGe
H9uA3hjDgrn1STwBCEGpwZQqWFdSESfO+Uo68AsGkoxSROjfw2YgVmjtK3WsMZruXSfhsLaI2g0T
ce21oXaD9j9yyHnbGmhZjBPuhVikBzc9FYMWD5EzwLUZ6/Tgd3Tr8LfY27cHdt3noGV4nhGUoThR
NkUrj+6/T50okEUoh2O+B63VNC92VNWnpMBu1yxC9TCC1RwVDMW8Nl9065mCysYUI6BsxEWG0y1f
DM+h+Rvt9j0RoXusfY8h5DiwUiyov/OQqT53S1JpcXO8YyY9se4kglp6j3QbhfZIVCAzzyh/FIqY
YejvFw22cwuXoxZ5wiY9cVZg1jeRNZNFX8pkeZMe6qy4czdlrGSJsi9D5xS5yDHSmjbe6oWL9ZvO
qOvm8twBqVFLYLBIPdKIsBL7unusS+SClCQfRtDjUCq0swXF+S5t39slGcJkMrt8o7o0IZAuu9JA
j8zjFMEazpGP1f3YH6qhfJos6ZwUfHyrilxWhv57a5hwZFRFSbZMfPI8vasof+7d+TT32ECnDo9B
Y27ANdZHyDzhOTvgoGm2CpAqgl7/tiCNbo30XDZBLlBUFWApVQQeBSGXydS9Q/vQwsWh6HxjWsKd
NX0ZfSIP1tCu+kH5RBQAtDFK1JdS92iweWxhLX8jhwGOQ6HJebIr+iigZqVmwerU4lCPknTGzN5P
5ozCp1S4mT3vM5ng2XkmIqngSdHoom40t+TAnWfcUHGP0WExOe7D3v/4z6cy+QdheVuCPYZNFbHG
FdUtL8L5YETN0TSIQIozkNiWDyLNFBTNxu/Meu+9vyzHKDxMfOQZ3S5m4NwMcd6bw3P/NQVt+sC5
jRa70e9Nk45XV/s/sY0qnloDoaYAPq2aqfiSVQCvge0/4q+rnbOcrGbvV6D9G89ttudCzBvVcXvX
hvtFyBW+sWTcDmV5Ym3OEWGTUsr+1CuQCukB0jlumRWKAcWD86GrjBO9FaYzOt5NmwQHbOWLIwq0
Zq7tnpa6r7YxiBOlTIPE9kUwE4Y3hs87t/WY9naEmkIRuS+1WDByACcDVbCU0WkoqXjHoDmR6IC9
MTGCm5fJO9xcSmKRPBUZdD0v76wLC0FBCVT/iaNebJ1afQS2fBIxUTUcscg0kld/CnazeRr8lvOq
LsaTyJLPsWZ9JUPrb0VC1WYYT8miH5Zkpe09SDm7Ghy00UWvDtQXjrT80wYDsy4RgW2pxNfoxX6r
ZMKNFgfefhaYKMIme6eqMX+65BJRE/0nXLfs5kfaUEdiTqt9yepzq1PoRoCazM2MFWmtWcGmvnlj
mtNsssIiVMyKPhyXxJ7Sq57jMF6MdURTlbChV0Ztj/sWLdbQReU5rgBcWAgdwriAEONX7AvqHrQx
RH6kU2WxS5pjUdHrhWZ1aGdMYGLkFpqH5DWpFkN8+0G1u2/mHEV/DVWXvg9/n71TVnW3ZdEjUNX4
IXR3iG3GFZ2svtoJVT47pk3cGXglQYSDEBkeUsMcXy0fz1j5q/ZignoQ6pzUCXLkJ6crRd40/6nS
HBQM/Tyj+P4WKC5nFHz9zJXkxeuWWDD4ivUpciaeHG3yUpkw+1KiGkISTvr6p0wrxo0ak5gjUmg0
9vCOukg9+IjgRfUNYjrnoEAFGzEBGvAtXgjTeprL/sikFsZOyzC2NsVfGW4b4yez5kNFQTziNl1b
yvtcYj0hbbGqCOuKnZMYuVsWbJM53hyDVRvWyRDjYPmLO2op3plZASnOjkFrQ463G3fr5/u5iFLC
Vi0aRrNmpN0W6yCqX+1IlkTq4tdlTH3EnMDo0SVTNW0lzsyekigW0bwtl6DMMiKyl/6OOQ7vlS0k
KwXfueoMRe9YD7SO01uDL47pzLiHOkGzPDvHDBLMULQxFFTJLWVy08akiA3OW22LbdKM3FB8t4Im
8Fe1Ef6Tfrr4fXnKAlQKmX2FHdA++w6WgkQBMcjbbu83zd2MfrsVQJK6dZ4yJ/9jVvartpO3qLj2
rctEPHs00rbc5G69j+bi6LoImJmn9QHBXkB0jqOwmNmDA7Eh2PrmhWnrb2xpkJNA4D4xs2S3jbBs
Y8VooI3UeUtOQQEPg+Lgyavjz9kJvtlm3czOeRiZGHOj8qSb1XhrwvDLCPCcYo9pnDcdY5et41dh
R8/w296iJoXE/Xvusx8jad913jyRg4M4FaRMyLCZUOXkCT4d4DF7uJdteMRwe5IIlTxsHExSzUtt
Yh8Rxk0qh1GKv8mGAtyoorlnE0/CwJXygCKBKB0Chg61xoIzfFtzeLcbRCSiz9u1Uhh1rOjPmIDM
MQ2O4XQgDsKEj4Qrl/EM2cUrnZyNFk1KZOKscwSxjiZLUEkg4MotjOamB1RDOmJZ6an0ImMErFFt
6jVz5BNrQyQRbnJc5K08/cpVJfkni5YJ4kAbzbbgY1LFR9kqZxvkT8AC755O/wiQu7E3v6M8YbFa
7MVEHGiKr3oDTE+1QbE3B3/NT33GyWsxKyHGe85nn+SU9ClU7ZeJBsjRwAIHYhAi56MwMwxmegFl
6ejD4DAEqIho2776g0bJN60avBE+/HqrNhCU8KjINiVJoTsyKngYsB/3murBWSRpsN0oZlW+pU5d
12bG/DYW5zkNLnZAHm01+du5ONUd0mOsUmifcj57ujZvUU02qfHWuNOlH52HXHDeq+DPgOyHNO/H
UWEJQ4KNqdnlicVe40YW7s0Z5iMFNHjFDK0zKkjoSO8K20RViTsExU8xJW/EXwLYDTk0Zg8P8oBR
AQ9g9NNPxs5YTIQJLITAqU6pnbx6yrySaddup3ACbMHMH3HNMfO56bnxn/LMyza5k+wCn4aCZonP
vaZkRmHJkxz3TdoEn22OhDeoFVhBZ2Z+kmhgHpzjtYGwIiM8QBmU5cRS9eyg1FeUk1mb9Ay2RAmk
i5H+1bYRFiDf90Ad6ees81941srVaxiy+ncVGn99EW6zkT1b3To23rlm2bqVSGDge/eOC5I9whBN
sXIqoVzsbJESG4kJrieOz64QURYR5xKPJtKSMB/rColZrLDdKmaJ/YDWa4iMt6SDBeTYm2IiohzQ
AtPeW64ie2OnLEszO3wbRvOrS2aWz3WTrbGa3hxzeaeR2ruIMdglThQ9gHKX4OARFrQu+JtiBMQP
PlaMdbi1ZwWH0Ktr/jfMWgwy2SncqdfJVOExjhSPzdrGQZYA6b4nTdUSeEkBld002JgpgVwIyDuF
htrILanWnEFjQMoooluqeC8iRh7JObLC5ct/L81Qg6lZXv7v1/77KrDVKu90yFpxyXZ36AFOTvsi
FAJrEQKJs3Fxn5wSPJ+3vAyDGLZZkf8l5Sg8e0GcLGUYjuQZkhRpUiwmzDiKd+No0WJKg34lBc9W
odJYtR6CCCdrpnVRqulcsIu1h8negmz7qBpSc1WC1zTqyMEIh2Wk69D8EzbR7DJlyG1Kzb+eLFc9
cHwz7hfqtUfV+xvWlLPprSjf511/zT24tIPnQj1ZvkKXau0nHW8LfAPXNgFsSwhe9j2WrPud9NUj
Gfu3aqmM8Ig/4hwDI50nx1AV/gd7WPtcYzwo4/nTrEf6hjCLdoHyeNuTPL9hhSJy3mmN3b9vE8/6
bKeihl0HQwytxUvVBJdq1uM7QpsaV5dlyhWLOkFYm3fiCma8w2SB/ic3DmBUGIIpzBwUCe+9NINf
cx/9ClTKoDNj4+Hyh1XoccXKmbmq25yES1ZMrrtzCtviYUS+CaTB3AZ1Yy35XqhsMru+LjSyVSpi
MLmat0a1zc0kTWcXKuTXeTSeeztBY86jMNexfCgEwW5qPknEZxucfJDMp46vIogSkzQOseuxd6/y
w+RFB2JFfqwFV4yfDUNBSNIqgt61jVeZNAt/2iMv3JLu86zy1t6LdtwFVsNaIp6Jc7Hj4IWgvgSO
L8FcU7pdau1o9hykpNSTeqr7DbuiNTGF3wjThoOSvxjtzU8Vdsp7VSengYcLeJXK3TltrXcaxB/c
+J3jJe7KoEjfZKZbo9G8uZTBjMZ4hzrMPKuIse2Jx7A+OrGDN0GThVRQNBFThXN/yUjTXY0dvEEb
V0JvebDN8SBqz9wMMyCwXH+Ws4OWbJbfPeTLTR5SEti2VwIa44WRJi853IChYjmVaFqTf7/mphIV
PslpTD+SztpVReVtm9Rirupfq6yPV1U+k5otmT/5Gtj/CENtA4L2bQil3hddaBIXgvCFefemasrd
RNAQypsAsgbuDjqWby8sJUYUz/1AEr+fapn/7jlupLLsa1SQvhZkV1ACK9sNF9txcPIq3z8VPhNT
5C+McwJgEd8JK6QNKry3zG3/qIm2OKZX25USL5FmoWtQv9xNrytOI+EkaTh8iWm6Sd1e2l7n2xDW
8CUfLdBM9QCCQXvsLIWmNhsEbIhUHiF9XAjDgHRVe4TJ9V1x/vdt2x0xtVHsF87zpOxFZ8YVby5Y
wGl462h09kU7BtcU98J/L06rP9HAiC22wFU0ueWzA8kSdrC0NjYjEYBtcEx2dTZmN80EmRJ63haq
7HdNlj7nMckVK/oXFrWGP211y/1ukASyYpszwYetsnNHqomncqq9Pj+ZTSMS6hG+//eSjka2TRaO
vskdEtlM41WMmw4vVnHql5d/X/3fy79fAyuImbkPEHYaBRlo4xBDjRIoOyo4iCdodd4JLzmI7JgM
+0yF8Cab0K1OoYzROrmLntRCtypQOR9jAh8mX+FtLZcP9N+Lk/bBCV77cXIssY+xRB07LnXdMOJb
+SwNLomsDOTPbCkof5g9dxWLieQEutTGJYbtIx5Hjg3EFniQ7frUmgNGA13UJxyFmG5QF/sE1J1n
eMZkWvd2jnhDXqF4w1GaZL/OcD6uQ0wBKIrZszVtbsBJFqgTKpTqEyulM3TG6r8X2NQS9TrdcB9a
P9jz221iu4vUdmYwPibzyYTnsycK/GJbY4KcUPyeRnx/s408ZxDrinRSbGcfAw8BhqSoTlmTsU9A
pO8YLb9U5+dpNn9Sn3hWlGkpmHeyKGMqG7UAidOJ/wk6XnjODEyQ1T1MYQi02XkyKjHsqvanBCL2
2Njme49+V8QdQKBwN8tfZuyCuJp5X2uEQmvlVfdozlDWkKOYqPaYJuZOoWBiVLBuC3mKO4TzigLB
VqemQoCWj5gZ6h3Bkcz4/b/TQMkz6+J1UJArauagLCXBzgaw2/NzVfHRZIXPCOAw9B2iqTpg70l1
75MslLAQjmLw39Tg97G0bghn9hOqL3fMGZ9LcsCt8WgM9qOvsy8ZhB+qIXFnClBHFAc35n1rfbLY
hKMAoY57qZgtUgG/gtBBP8dAJGVrEeBb0VPIKPic+RBLSx38JWLr4nntKcHc3LkddLwFvTjrV7Zw
mI2HeWsZBkLT/mSr6Tb+g2GUjwlxsquwi1+jePwxC/BrNb5Tp7QFHrPgUBvet5HYiFOD79zEbmM0
A2wa7R90jzzVuqGC3mtkQa6DndAqH8konOt0N8ryx3XrHRzi4BC2vIVxeVUIHMKeQrArXRYXRHCM
k/FUBbvBCfsDvICPwYCYJKNXrhNC6MkgSVz7Bc4KT6VK3nKXVFSeY3s/yL9wtLJfgKFuK/O1RGEK
OqBElEYFB1NBryyUWqEbn9IyfPaymhNuDHbGH8vgrbOXt3l5r6K4JeCafYvD/1m71a9huArffvbp
SVc8/A91FqWwC/YkC3FBm3wMgA1pG+RHA+wtctp4J1z/bzkmz1EdPGnlHjgMeI5VXJLDQFeuZfEB
kuC9mtSHTD6oc88ofRit29jCY0ximyEskRYDX7VTxZAkNW4YUHBfkAsUZv2nGXFxVL3CJRH/sL94
c2hTp4GrHez4i90IjVWRXkBF6JsBV1SdwyJX05K3T9Q1V7T/pyoV91iYeufEgolpWZ3RSexVbnK1
2XyqfEC4JOHlcR/hDynbxxjl0JCKi82lvzJN+yEpY5O9PEXmZFozbSm+ayZPdBDk7dEzFC1BKdmj
UwR34Rs8woyOwWVg7ANVInjOCKGjdnE1M40oNAAI8QZlpAd3LRegrQAWBFg6mWfyaWAEXqZPwXUw
QFv6Js4dk3mrCpEmV8RHY5kDaBasRMe/z+5iodViuTUAed2nlySP2vUrOgeYrP6lF9D6RoA3HPAf
Snbvoqn25HMzvGn9lQnupp+8Z1QDm8KxMXSL8Mstxb4R5CxKcwfq4jA12GIqWUjMq/xnCRzdybrc
KokpMSMfwLXCm59UBw9DAP4RmMAeGYv4islAd5/9WwVMck3GDsOa+cnJ5h9diSNkOVSHyOts6YFL
A42f9M+tY4UkwBgXAy6VaiTBzcGlnr3PCLzDJL9FhvfKqL441TrE/MGvKkbbNA448cul00encbIL
FtABiztCB1fCRnpM5i4HQM8KOp6/3QIQkzp66F9XOjB/k4LlyUsOdpxHGAjRhbSXsJbPXO+vk5Xv
ffA+aX4v6/JwQ8TpkrlBqmRj8rPKVyB5QAUF+suYB7CvUIgbtST9ZjrMPa6JsGYCI+KN12F91v2t
oTCnhuYmFRYjYqdcVIVjuFWomXvJnx5dBkeBewcjSzv0SIrxt9SIB0dVxYcscfghRutcQCNTgzGc
Amv88AqulpFqn0A7b+dMHRggC9l02z9mC5CHAwu158/M/BwFRUgaJE9Ai5OYeWO7s7PyMhbOT4ZB
jzdErCab8bWV5x8eXqN9weHnT953Ups+GBnWju2zR0ge5jKQcgnWOCaW+JPdkH+UhJKBdQmO5yBb
z1FD2GwVOtsmcb6XK49Ih33IrA3UUP/RYWNG12Xy6OHAdhLzNiTVY+SxMc0RVMsJUzL7jNZaoiux
UK/yPcOPL9HpW54uMghvQvvMh9QUAlEkaQpAOr+cjDfUQjs72VCI67n/6O07wMt3oSg5Yw6+NQw9
Ku7lb1RWf0N7zTS+1gevw60Tt2a79kyHFiugyxl38UEJDybYIi+mJXhMgTf41bDwT5xNIIjfVCOg
7M7z923XtpTaHI+hrT4zyC48oA0vTRa/fcU2YL4LbK0APXNOGXhiCuZLbCUAHxwUy+lj/mCPPjsW
yVCs8i8RzWFMAP2kqOjkXJ1UV+2boCDgxjqxHNt0LQ48J7PxfgJu3jbmrWRds65niQ3aLM5MNBa0
09BsmLWU/VPlfQgu9apFi++9THiNhA0zlsjFBSpXnAL2wat+whvh9LjBkme30s8K00QUd9C7me2m
/ps7V+i8PJQ0dvso/ZZnPGBAKqWnHohI7veQVpy3yCfHNBjutWNsWz39QtCvtkGI9wV5btkR0FdB
kWOuSppYwegvz4hE1eor9sI/tmkxFyP5PgaxLRbNHRXkxScVFS87SySx14l1B6LrBJxwvgt+JXYh
/M33jhGtwGSRhl9lDDZAJWz2bLmv2FxlToEjpTjmwrrUeQZECnDxqsvGS+1kB19zRU1kvi4siAn2
yL4zrv+OlRmyrq3cUxz99T0GNvlgvtVhT26k/PTSZpdWcH0S7b+Ns/EEFStOPpC3M3MT/iEe4z8x
eoB0RGpkD4JkwOBvSrju8KcMKPQqx2mY6GB/n+VfPUF/yrHD14QyuOkRYkwOYZymDDCZGE4IDGoW
eaPENDpx6/gmkICkyE9VIm/NfUIuNdg0/dX4B3A/5W2Vv86ND7LGBuAlfegcx6UeLjU73HZQh8Yv
X6PB/pKiqo6V0thAZlibQ+Y95Q5jMBtetozN33kNTmCwepxR/QLjt51jqZ2/YZhOmM9ROruWbTBo
M0Z24tV+MPB0eSaPZ0hgMcwU5jsILjdO7MFeJ2j1NJnm39ky/b1v9k/OODq70grZmsmArLuJz8lR
oMHK9jR30E9QCnyJJDkTv+GessgjghH4CPnQiM0V7HGrQdbge+ZDr8RRW7E4kn12iwK6KMfQ5ZY/
v5KLgdd/TG0oIk3YNAxBKQV8E25x5/RHl4406eN9m4/RvvTmeEeBvyA7HxEm+KchDPJd349fmH6h
hNsV6Drffu3cOly3diihcQ4bk0K4FcwfY5elPOjXcFvSkUBFz5CUjWGJjwQE3U7qMdvqMNiwpOhf
58D4XUO/2nQ1XvosFutoYh2NJhK/En0NglEwknY0uJc2zZkR2AbjhiSSZ4TP+YZiPlo3dXYhbC8i
2JR+vQLPI0rsK73TF2sKxo1nW78qIyiZ6QkEsjyuvOROQGgCekBTJ4bpg1sCTBg1dUwBAEjn/Z+h
RxVhOmB6Y1BXlGRsbXrg0SO3KQ+y0ENskoYIYeFqmnO7zlAqg2h/tvrknhnoUJvZ20Ul4NMqa99U
+c/pH3/y5iN9LREJ5Fl9S30iwmeoUiS/rvOpIIL1EHlmEl0cj6HDmO/b1L7EYe3uyxnRwtI3e1X/
gy83oTkj9041d6i3i33A/8uYL9zIPGfw0VvlyXTZ2Px7mf/3q3/f/r/fUqUaRmjNYzkqPPwZ/MTF
sWPvHzc80buShXQiZwCOaOja9LkWQMJdCgZk+aB2rW0f8ibakv1DZ4zjMURPFXs0mzXEr2Qf5TWF
KdOXNpHmHsu0uAHTjo8LBmpyf7M68xlhtWc7sXZNyFA8KotbIIxtyLKRKCcOKuk7D1465izz234z
diSDuN1+UCHx11GO6LAbngpPSWywFhBEEgVdnutcKlhZyA0B49RFuLNKbPQFZUdkv2GWeNWjfIgr
68GS/Z26Hga5SXYRKrs8N6kZNMSMFgCFQHi+sY3isRPVveGKqqGTW7VPR40r0GmCB8lodB0IlMOY
+411mLM+wh1VKXUw8CHjLk3+RO6t49G6K1oXqLOy7yB6vzHavqQlMIBZDn9Lo9cg1/zvoAAd0x5l
JCGPj8+6j82jrxuW6MtL3QXMgIrg9zzusP/RmALjWiNtf/SkPmItPEFKvooIMEjZEpOAEKQqOIR7
jArY92J4J+GDaeYgOv34hKb62oftTzoM1l4sK2z/UU/IL0cOsm0xI1TxxXDW3nTqYPUgUHpGQMVq
0Ws56IFV4/fBHimBDbGWjFpSGnX0YnT2M3UGYpQxfk8J/4T5c5sWBG7DTolgjIRk++6CKuJxMJru
FswYmoNi/O0nbAb8edyjUT8HicHuqQDcoKqD9OSxaGCmzQzVa7s6mktoyIL9tYz8T1c7lzGa2KQ1
j0kbv43dfJCVfSuCq4dzDxhBcQd08OZos+f++Um6mBWZQkDeZAbr65odxwc0DTQRc19udEwJ0y87
O3i4JsVsEJdfwKl3WBoYe2TQmqVdQ5MqqlXoRxvPZ+OWj/LO/h4nmmZARwRv/iBtF6Ubbi17eZ4O
HL7/w9h5LTeuZdn2V06c54tquA1g3+iqiKYBjURRXkq9IGQy4b3bwNffAebpY6qiq+9DKujEpEBg
m7XmHHOlB4l2pPhdbir54UXYXArZA6EJBh7pwLAFJVabJtbvg8R+r6agIOBVWQdgFyAyY2xtQbJz
Urkgk1EoBbpsjpowKOtcboo4Ax7b9FDBAunuMkMc+qWU2ml1cbwUVS+3Lo/J/Rh6ElYLPo3SdNWV
qMTJ9Kp454CP5Xpdik2RrW6E5nyNNEqJYaYG1f9eiFJaDdpyaigw//fjIWklu2Acd6QSZuOVaKf6
aCT2sW/SYucacIug/ba184qbC96MuTE944mFNdJdRE1ItUEINgK4DdiWTZIU96KaXq3MeDQJjmC8
pSVXMLdgglhd3ttMNfZ/BfEtEO2YMeOo2SoBdLssc0F6cVx98whbJxGhEnxDHeF0oYcKvAY9yqYS
6PbokEUj6aws+cysQZVfRgoDPm6mJcO8hfbRqy0Ce+ZQmxTWuaFCXPB+a4PBsUVOP5XagYjnaK+i
1NnQU7omB2nUk/nWkt2T0TjtYcmiXzljQqaSVgOr5wrbK1B7KrUXWDXuTbyh7L5CcuNR/S2SNoz5
bE3cQNtFsUvnaWCjnqBeoC4CiC0Kr2ekdbHmwcUFAVorq/JFrRidVKn21E1OQRB6NPlJBV9w6EhY
jC0x3dWx6LqOTBAZx7vOo1/L4vV4+cEbVj9v2cvrJEa3NbR7IHrL3cuPP153uau3yuHLL3cVyqgj
K/twVWsBBt6ZIJPafYhyG7f172XamnThY7v8uDx2uXu5hfoTVOikDpd7FhPAz5dZlzpvD1Yrzk0k
UsnizVl+1BjJjuXy43K3wLRNtB8wo9IZXXhuCthYh7epbCP8YA10r2GmYDEZ4883sZfpUS7vpHtW
6Ye9fBjDik7X2ObGkb61/vOHGxpPMTzopUyxrBNWRuFApiC+HH4JPnvMRzr0pulFG9vPbNZKP/DY
3M5T7E+KPb5JxlYDs3AOCZ4a54fZgM9E44UaD3Z3B7C5DXWGwEQghhQ+HyNl7YgFQnO4iR2zP9as
mQwGXeLH5pcqKe/wL+tW7UfKc7fRnNN6+gHMmgcj71US1Bc67qlu41uOzbMeslVu1DbO6tOcEj+k
TfyCK/LrONVn37G/2xNeOzHMn2lpeBtjDm8zaqB2L+Ndr8iY9Cpz143ZgqY7Xv4Ot6sOQ9nt6Vt/
dpW6tQIofbYpjkkw+ZqGuTIUX4nFKW5ZM2lhOK83Fm566o8Tk7cxrLvoVXXEOFDleEfwSFXPZZlV
4xlimUS7N0MU5gpObbI//YpAlLvA43qrb+SkSXAHZC/01p0FCo7Zweo6MAep997kLXMR4I2xbO4m
kzopxoWZs7chiKJ+L5r2jkJ+u0n4MlfRPOygChyDBlm94UWv1jNuxwPFgzEFk6zHbrMN3R89KKAb
4MLeVptNczVH4kHBcfXpLT+Tn5IetQZnTSyzT2ZvdN93oCLfPaW/1D0Ixt5Ub2WUe9jD+ptGVS12
bzO6i/Jkh3/nE7Y+ANemxrbeEIPnWV+RAyGDiKJ+V3t32vxqug00snke1laZXTXigSUdkGnBhtfW
c3dney5F39Q6FDp7cYKloz1SND+HJ7YDLpNtSbxZ048g1SS12UDOcXNdhT8wEG0Mx+TEsMa3Yolj
zJunUuJqwHxLKGZi7XNv/pY02lUX4osvShaaY4vQKXZ6jAIsEC+N7DCA3BjR1kQ7uWSzpKRlxgve
3kZZZsqlfd5dITYh7nuODnKar+lO97QogXLKxMQeRaKyREbb4pqCccMyyY4H9koV8Vcua9AM4f4g
iYGgk030j/3aRdSbOhN9UuPilTO0wPK7U9V5uAwVhImpfak1jU1bjt+horQ4kVmJKmpZbcMVGrEi
rmANUOg1kN+npZ1vpF3uirb/supmOjA503GAZiYFPV4LGpsaElRWoyz8FH5wNfr44mg7yezediXr
FM386CiOG1V044j9vISxl2H+LRp0fSed6VHVWkaoHCHmWb4fiLveAVO3VhV4FNZk07SVFOxCvfbp
2XORQczb5G4BXLUMyMWGFY+RE3dTVNXbMQSu17l7xmNKMXES762BixkDb7WvE4/ef0HYlu1RJvZS
dijiTrO5AE2jPhVDIjZDhO/AY3O2QlEaAy4hA8KOfVMJrC4hb+S0Txb1DDoP1EoNlrF+Z8V+ljjh
1ZwQ19qXTIJAlPDCZJhHs/57LfdZunTw+HsxQOhHvZzDs5WnEJzd26pm16ZiRNlhZ37GVvM5kMEH
JIAuUpz6uklIJHTpDhsn1Kc73R45YyEkr5EuHzwSJqBwRVu9OjjmTCGRQDkiautMsuvpqDlEWkR2
6Rj0+yAuLabg+FAuoGCiRUy8O/QKiVSgRZRbBqopsQzKjkmN7QzfHT+s+DGyHTjOIUgTSGrnyCbC
afLUyfbwUilPye1wQ0YeVRjRbt22f0k8482sWk6KiWJEQ9W3GMUPDyVOLOXLQEN4PabUoUZp3bvZ
l6cIpWJHNLCRxWWnmjsRS4RJFIcsF7xOXyxc0ZH9RjSHd0F2QoPRrChZkdEX4LuKrroWkLPqUXcz
ChNC1uowonULLN/owst8adF/kPjj+Kyd7yjb+qNhPhSywKdthc+lEdLQNqaUntw6sg2Mk6RqrQyr
YkQyxbRVyGpF+5I4RHi42msstWyrjdOXyIj+nuZl171z4inxzWV5UQBIMODSaqMMcYGobwaaaBQN
AM6stea6t0GVvVsJ2FYSoB/gju56o/wYLPelbhxig0qqXTqmyf7Rtl0kVa39LPPqx2jBEVKy3Si7
BSpHlXdFnCicm+yIDJ+1ltncD3p6BvZ3L9A9IK+UOo3e3KVfVb4XRJvYSlCdBWdDh0Ij12Zci5xE
G8BniCZbN/GTod7kIv0RTeLJGAo8LgP6Eq2aycAwBGiCcdegqEVl4RHG1F9buvsAiDO7shPzbuiq
s9Pazn40unLrmuVtUQ+vyFzIIaKDgh+cxnBlbGiQMoGD39mxoj/LwtD8wsOd34wwQ3NStD1EDMKk
TY9pJvVZ6+5cOo6eZT2JnnhTLrdJi+ihRO5R7+FetUnH3ueNhIYj5fNgKwyaQ2glUJ8KYg2rmUGr
6rjulFq8bzAkB4PEPqEZ3SZ7G+NJR08J5TIZx2rVL1zG2QTQqRXjbTQtGOF+OALmJMZH0JkplctJ
cuSEqyI2rq20TlPIkD87Br3NsKaFn6MvSo6K5OGAojDeWXe4zrLhrbD83M+rottWgu2zAyWxtef+
kHcGRediYwLJWd6HvPmqA3AFQ3KN0Db1xmoHHjdezyPsq5y25i4uqa+wu9WpHYFeDG3tk6tc26fG
TV8Gz6ZuxBsLfwYXNbpInQSoTA0o5rZ2R4pYnslyW6MCAri2Sx3QvlP+VkzM6poXP4yWuW9Ie2Wa
cPdjrmCeKuxhoQvM0XbRWhP2BGu30m+1ONh7LaaCLs3U1uz7id0jnTAaBK9JBHnSThOEdYjAr0ri
LJC2Ua2s2q+BpfxVQ6KXHrNd9TLwUEGhP4b2yH6KHgf9hrLbzEN21ZkLLsJNblTchpu8otsltPJJ
kuB5KMYWgmspnmemRurqGqE38Afhbp+DFgoudX2UJXOJE9nOcSqbxcZO9XtgserBTiEiRXP3XKAG
8gXN7I53DDSWwUlVbyx075CmCOXEarcLkvqrsTrfE8a0Mjx4NnBu6QKqu7rEGN+Sbk2tRh6tlj6G
laYJbV9Wxe5kWnQOACxgGSCvAphLH9Tfm7H4Foj0c0qHkLJe+TgEMrwes2+6B/ajRHlFwUxGa/YU
w64PFmUgVMa+THc6zT6fgiL+b+Vlm04nzlajoLWyJ49sJOEdKiNf9xqNPWwxERaJprwVEfWmWn4p
2cwIAJgkifXZkLLNqhzu80xzEjCWu5nK6HHWY3mVtt31CM/PB3Nq7nN01vNoc0GFSOeCzL12qXrm
o3h1EGX5SNDX7F6HA4DxHIUc/C5sNDRpanXs3ag5k1g+skaoJ2Vdw0iiKOia9LA8OLauF7Ihw3eE
WeAL8+q8bZZs7iKgYmxQYOsMgVBcJxwvQRbulT9Ya5+zsLjzRia0Ah0BZliO7sx1s20sExRDzwxs
mmyN3A+3Laud2zcYedrgIeDnqn/JciZztMIhKTqGOkK4CwmcuVYy/wZLI9xNrbqmgvDg2dO5y4mJ
Bz+ruFy8m0mvBMVl/b7rbOm3rIuOVH0YxzKACQ2gfa+kap+YxdVoO/eBHQpCCMjNLieLI+2GV1PL
h5aVwEEILANIHSQiyLQzSVp4MTSGPNsBd78MoDn9llEHeSlNhO/pxP41LMmlf4SbEe4tkszpcxXI
JLKKoRMsUK0KbMpxyCFlxgaFNe0zx/uCD5FcaRZ1TsdEq5GhPqFlJNYmskEkV/qyhGT13Tqw6YcZ
KptoLb9y7aeK0pdVTdradOmJmL34kIQfkoXdHLRWXxcqo+NG4W81rrkuoMxI85ShYfBZADRln5yq
porx48DIsGne+o5QdL/xpidEBj8SarYu7C9TWvmrXRJY46R8jCr1Dhq+zCH/5mg2cAjUYL3eAHDX
btvc+5bknXwwDRM7edLcDm4zHHOvKc+jR1uHgjkRXNmHS3Tnal5ioHL6A5S8IJtqMs138cQYUSZ5
ve8RIBKNrWUPjqbW4wReE0gOtwqwj24WfxunsL8Fp01GwB6hCMSbCHNYhEkmH0z32KmlQNDpgDQ0
6Mn61MJ2iRfY6L2H4WpBD2Yc4fQl05gVJFnYO1NcuQibYcBZ+r66HlOJraEd6QAgTl3FNsmQRL4W
/jQ4NtKu8Q6Gpk48QoSd1fWmfQnHsM5MKEcK71soli4NhIDNYldyqhQjul3mkKZ68qHREJJhzWpf
gxouE9pTNsZS1xkn9iMs0YUn0WSRrmJrw3Xbs8vUW3jopFSnqxwTN5LTe17DqsB2XsjbIZoRp1/Z
KFpBAVPnssEOwFCtqmxhEdhwmuFSrkuMrJu2+842vgJlnazzuRXkWucYq4HGC06TXZZjZHRBXXeR
1MCrI03oxs4vg5a0hLJfSw4sRCNiKYPoVDnJkfhczM6xTTbEiKdySI9NLQF6wjjl4yG0aDMSB5xh
kIwq2bCnx4wWIs32qqGVKdgDFxOpZwYOgFWUatreBZUpvfwmHIw9Cy59p+Wghmo9Pw64wLyZnHo7
XrP7mA/Ciq40DYoaewA4zEGwB0F4TSr2Hdzjj8qpE/KRoN11dXVFJ2kyHXFoaU3mVXCHSj32DR2l
SS/51oIWYbTKmn1BadgPYo3hUGZPbav3ayN2KDymI1NmuZBzLBxO2AFxeu71waNaKODHGSGZAKAI
Wf81qIDlncJIs4n74cOQBXRcx7Yw6KRzupNN9VzWnfQbdxArk8aUREnpmufcjimXxo2EDx9+ymZ8
bWnjDnBnWb0Ez/2EeSB09MdBB+3QK7WAMNW0M2B2aAlFPHMZusnmfJ6Se8KhaKRSfKAggPZOdmdq
+vgMOgON2lzcKYooV73xGM5RSeLISEHeeAKd0mziheatGQYlTILU4cB5z6GNn7Sb1ZmFe7quBvh1
IzTiQp8OrWbv46p+jgL15WBQyCIN4Dfm9smmvDkqwEVp+j6MBplyOtnFll6TyhZAW86wVcToGAgk
w8ye1O7BbQXS3Izmiob2L7Tv5pxedklfSsIeoaHDMACo401Z3wMPdEYcPiZx9So7jkSR6mdzXrI7
+RZZw1QPwsvpbKLkXykt/E7Q13ncGpM5HQgAkj5a5aemMNI95eEI6obnlwgftpA/tkGOKk4H8uuX
MPsxExxgOsw+1ti32kjvaCFv3NgVa09xhRm5wExRerfNQPwVERvX1URPVLkTjEwGAp5WmyrW8Ami
1tqS9IJylf0QxECGBHdB8qApMi366dmPqSHB0XKXffuAoHEI/TJH7D9KQtDqgpU3fwTTRbGlhmGt
iRx71kZqeFqSg8SigaQGpz/atLbInYISLpaZKc5jnGrJLaZVUgdVcJ/XyUHVOeteZMQN10vajSD8
jVwuqOQAQaq9Y61bRbR153ADWbDZIef9KMAfbkvt2i1t7GThZBDogaAylzdWQpa2PYl409DuYESw
iEgV2ioy83CLyp9Qp5BBYkpHf6JANgo9wSlGzztvmnE/R6z52H/MPReqA6EcefEV6r1TL6J0Iwt6
0BZC6cYksZNw1ZMqT3Ws9ZuwYN5wHFAAbbs0+6ebXsu+YNQBCkCubmt3lTm8kYSu+QPzKXFJ9UWJ
08ZkAgxEp7VhXm+i6noRGYaMoaMHgc1JnZfUCT9kh3AqqN13dIlwwm1acGlkyFXL/pVdO9099mNx
OhOqzOAws57Wxu4ardqitsZqniwnq8v+qZIEHBj0jweAKOXSV51EG/rFIE+k2XZ7TaU4dudvaO+g
/4D0oy4QYoDsQ78NVH4VRukJWSQhZ1bdb4dKvrJQcfYqiMmwNF8DOs4JS0K/tgljUoq5k4CnCeWy
0qFA94IzcCqIcdMozcWsdVTBlGuzA8L9/YmNG1urhmBMMgCxVw1QhzP/2epzLrLQx1wG+iCAH8iO
BPJgDltoqeanhXlrywatC+X0HQiZDfYWGlG0Xlbt2IWrJgvvRa6Sc8KuMBITHH41v+ZLfcweyE8o
0KgvdBeuc5Lg913l3NTTeIIzYKw1hAyx59I7txZ8QYDOHI4Z/W9ti6mVLaCgyWThsyTmCL5XBtlA
Jza9we2OxyrF5phPuwiz6pRv557QmHYJcirNKSKsvCIshtIm0CMPUttJobhf5X0PpQrA+aaFMls5
C0OlfsxnYCtml/1oRPOCs/2QOFRLmiTS1rClt5lSOkLI6WW0GL882zpADvqIgHbKGPEb9tZMjNA+
CWRMKMvdcNY99b3z1WKN2lCI3I4CQHpm5JR1PNNYVyMzHxv9UEebnQj4gVao2FFnXoy0Ac4T+90n
9H/wK8XS4nHlxtby7JBbb8CHb0sWO35YBe+v0hHAZIqovlY40soFAF4l8TFDgoSC4s6svac4Va/R
gNgR151YNdWIhkFQV0yEuDeskdKTtrTOqQXUJdvalILIWstdBE+jCHejQOJoJrXYkRHzyIXH0pag
hSpAYJLE+dmyrpwlLkFovblT4cwQmm6sjNhgRRsOFq6H0qFvd+Wc3VE0xf6DtOGiUEfPx+JDgKjI
DI3VuGmGV2pSYh2ORBGY7Xit56I/UJEKVD34U8RC0zXXA4TrLaXFU5Sy3RhpGLoxhaKGQu4+yjuk
opr1jZXvfJVVb222LDfnYtja6V1YUolK1B0JbR6nm0Crob9jRP7ChPySx1Rb2K+jWJrilx644D50
hz1xC+E68GbnSMFx1VnNXldGdkOum294iu2XXd2GIdvwETPsBhqss83NvNrEw+RuDOFe8a/dB2av
9nON01JGZGQNxf20APPtSNNAcaIxQXC0CzG6rCKLIb4Nh4+sYH3YEeGVh9gcLdsRi2rg6Nko9+C3
0kDWN3GjVf4g1JcJfauOKMGRijcB82BtP7eoaYmQSw4DsUA4LjaNjQM880bJ9UoVUKKYtrAvD/SM
1uOPXGPX3YMXtrg+2HHJTTvmnJYarbP22EIR4TwmEMDTq+eMriUT0uBsFwYGQ84ibMxiGIUfAvH1
o5eCsBD2U1u0+d7SxY9Uxx0v8PgrAyMiOXgH4sitMKTkEwXPpI7SQ8JxjsbskPSNuU408FKGZ0wH
6o9kKamDY7PPDSCXbN0JwnsLeFnzpLPPdEmzmkJloqMnclq0b1qGRq+kT4RpKfAxBTxFrv5N5u6n
0r1TU1u3xjy+O1kKUh9bHJtC47thsqiDYUCH18byU98oF2hp1UFQ0yocHxVX6JCAKazxBQJBPrZM
Vb4DZmKlMxMUaUZ9LY2DHZCi10i378MWJpyuQn+gNSR68BxGAPyIgrG3NVoslsGZOFlaIDaC+FZv
TmHsvlkgumGwiDMZUF/42q4Jtb7T6QX71UR3zxvNq56zhHbKXK6mjBrpxN7UrrH42w1dK6zWJAof
IMPFq1KyykFs5do0gUuTFVzRjtSPWExKrQn25C4BMw7eG48kIndS35ER1Vs0a2t9aA+mmZakkfXV
KlKCD4hZd9eHVXIOI+NjyrlIRTm/RwbdyiDrDsZEe9eglI6/fRowuHDr8iNnXXNECoSKvmAUQ6Ou
ZwoiDEJIV+00PcM4TTNqM7jSn6jVnPL4TE3B23kVZTKjojtObNi0zupa7QJtOg8VoyYJJe4+bvQP
g2lpp5cQIdq2OSPyTkjVNi3fHRtahSHFQKfPvSUwzN6HlYPgd2AEiUp4+8wF+LKm6Iw2+lYQp4z2
ATZe7Xl+MePvEkqVO1Sp76mjW7sShauJZzLqOapT5+5oeL8bEplQ4o0kETjAmEQ9fRl9DrSmsL4S
lZ3Zgl5p6ENXbpOoK2Is6sNo5S9aMxtH3WZ6QX30hHhSrqkJw+6MmvgmxfpSdyBDhJqme+1baVvh
RtMnc69ijt6VDfdx0+XEFsdddYr5vvy6nvNtLXOIOZitory4SbJdZAG5lBVbQ8O0ta2Q4qB38b3U
emI3FlMUCAh2G3P5I0r4tEWp1oUzpNumOOMlv1eJF2wq80WUE4TAsLoJJTILYcEwHUrzK88aYx15
JJZbXHVaL8Wm7hg7GjMzVqkx7Qg39CzMqQBu8LVQsa3r8M107S86iLB1cpbSlZbs6ojjJhdCgGGh
vDNN49YUZHDmpkPKRvcJrXfeTvinxhERganX92SMKLbwSDYnpX2A8Ihp7iSwQmszua4EciF4Nlsa
nYSgZbq25niz+CBEj/aVQQvbiaNrcG3IugG9zwlm7KEH+DE41KHxSYIs0MN92sU3Te8+tFWwYIfA
knj0fuKm9IvO+OapGnouQCtMK96KJlu+k2VEYEHISddPNSXCPNm3dWSecQDHg3DOS9ABZDpnb1ms
hNL8MHnBtV4UgrOOy0/XE/Annn0WyJlZ5yGnOFB/An3pznDqEZiu0dLdtz39u+Urg8U/k7jNVgmp
APjHRN1gppxLitMsIltKYLYkGo62YpdssGLQpr5ktQYveWPs06l+TWh6zIhmULlmW9HABRlt+vvI
H1ZU9ikqa+w2VOEdXNjRTokwSozjduj0+Uy5fvFX9NUTwuS3JrYOMXj8e9u2TnVTvKKVitYBxWDE
swRx1uyJtwKhm6le+7nz9njdgA4mCJRLxXIzJOzZ1O6JstJvJxYrUojKx0D3YZkp5ECAG0cIi/Ya
bRE+h8g4w075MdzoVhtv6Vxy6WBfAEOpo3gD8ALsCI4aBw2rBmJ+LrRaEEDdODuRm0jZ6MwzZT14
lo3r3dg4EstpYGQINuc02YmmcX0AgSiYipK2/Vi7J3PR/VuDDfVtCArOofj7CIqADYBNWFwRT0Q/
kQ6KEx39uqVRt6Nh3DVyXxLMwM5NO3ROREbn2VlU6BwWs1MXuTSYHAnaQxTZsQ1tJrBcXTWlsaj2
0rURwXzQ224Pb1dt4NCRspGA2DUtMKhe7dwPANRa5Ml7gt7QFhGBgomeHRnJCuS7McKWccOAYPW+
cqyIDZ+1Rhv1ZTlYGWijNDvHIrxsdN7MuM39GRjJxqyNGypWchv7Y4fRiQBzcF5OBUQZBTHkmuu+
o5UaEum3wczwDWE6/9nUE6W7sDMZr706J75FKYvi0Q4sHrgs5re9VgQsiLtpH/Lt7hpaTKWad11U
BDsCa/dRH6BEcuZ6g/Rhj43jgXrqxAYMRDkOBJwAI7sHmhursaM9yzV7R+pmTsAABYvRSc6Nl5rr
lihkig7Uw8hBFX5oWzgGauZBm+I8TqU3bKgw6fPyLUKgycrJH+muU4/44TgxJL/RedD1/rsSbJFL
hdpKu6fWCdutip7hsLBmLdzXCV7hZl7anG5as1RmLeJbFY78mbboTieJgqDpK3ZfxUGOzvUSQcDK
xoGP5m31SZrHALP2yqrKG9ZABKrgAFvrff5u1njbG5coztEcj0Yxvpgn8BjDDnw0Tb4U6bbtAo+X
6pThTtsCmdBwM5BpWmUE2iHGsUABr2fUmSz/4S3Nc3GvCzvYTWs9d+JNr1g8gzlxj+OMW41kaT8R
Xwr8BnAN/DF6gMCFPvM6b8ej21L2FsJxqU/qSItxW+BK0KwweSwy83HCDk98fHrQ0oBLyNQ/08lC
6LxX3XRKiEpYF8kiL5QUqnIAZZZDjaTCJtFXcNAyXX0nrYV0E1oHIUsXyg3zCAtCH7dZz2UZGuYq
Y8eqFezSZyPTNq42IiZgMDFSPKiWP9jJac642pGfM9FU87NBTmgxpsC7rfHYpAwVrmk/M76F66jV
t24RAMssHmp6q7CsG0TRjQ0Mk3F8ktnrCP9yk4YnaTifUgcPaJfTRojhzIa/JhWH03Me3E0uy2dT
kJ/naTodAZNie9TB0GuIFbTNdhNKFHUMfPdNIxHLw4UrKRSkMZFS2C3YnHni3A/8dVVH0aruGjqw
xc0Y4L9hSwOcB2BUn5Cy7JRbncIOCj6dwIoteA+iaKHQdKg2mjBBMOwhoGxiJvdh0do6rPQt7UvU
Wgwivf9iwbiZOrzhE8X6Dbz/vXlc/s4sMyHhZM8WzNCVXPDveYReOW1eUFKyty7jTxPFktGWn/ga
fNgCIWku0XXfBmIzg2ZpjPm6HRpxoOE8j+SZEShsTgS/41A4lJhnLdQiflRzRCh5PgCvNLbxCH/E
C9uz0qxPCyQxbJfs08gALsRO8bpIVaVtczW2grI/skrTHtELND1BZwFuCglu0g8FBYKYrGN45ww6
Uao7m25A9aMZ2UeR0H0ZA1djQKUtN0p2SPCn2Gu5Ep9+if7t11/+4x//+R+f6v+G30sw2VNYFu0/
/pP7n2U1NXEYdf909x+n+BPpS/mju/za7y/76y/94+Z96L7X//Ylpwf/8Z9fsHyS39+S//m3T7Z5
797/cmdbdAxmd/33Zrr/DkS+u/z3/A3LK/9/n/zl++VdHqfq+99//WS5GRc88utvDx++/v6ra5uX
A/Tz+Czv/duTN+85v/NfP5o4ff+XX/j+3nZ//1XYfxO0JCxX6h7+cWG7v/4yfl+e0UzxN1s3DGgt
NgY93TKsX38BnN9Ff//VcnlKN21pewA+DMPlA7RlvzylWfbfPGZvEhk928C6L+Sv//1n/+Wr++Or
/KUg6bwkQqjl83i//lL9/IaXP42FPRwDy5TL+9m2o3s2z3++38OP4dXG/wnc1FJujPRzbgvrlg4a
Ro15euualL1JmIqjwn5+DpFVPUyxqcHxd5hTDSUeLq+d4vFtWO5dHlpev/Q+gRGp6hYKDJYkc34g
oct6ctjBJ0n9270YEcjlHjvB7lCE1je4RdED16C1bkJw0hHY0QdaosU50tI9iRDhw+UVZQCREfsO
hbg6odBbyk57KMCYFnCy0MAY3e3l1qTTMwsRuP/psT+e/eNWwaX28zf+eOznrVwd/nRa/Hbs/3ys
bb7Qvx5rD0+T5VGrkJIambd8F3861m5oo7jiPHQs8J2MEufLD5YkNLBQKO/+eAxTTnu+PJGRGfbz
ictjf/zGH0/EQFFOLsuw+mNo+29mO2CKZNDaWpFuPl3ujlnOXdFZTxGrWb9f7vI9WU92xVLZkEK/
U6kZ+vAUar/mdH3inEEnIufkZWLhpnt6/yoSa6QU20Gdd8PpbWLZg7jMevr3R8n6l6MkDVKEuWAc
Wzel8c9HKVXVYJfZ+DGisoLbJSMD1ZuOYxcrKtNgXt5YY0p6b8Tw6ydNciIoeuEVlMEVjs36oapa
dBvW9JbDfd5cHqe1USEiCTdDFlFK/0jncXoj6mD2+zQhcgM046udfl4eNh1aYnnD1lZOjQrf26yl
11KIU2Ci4Mg7p9Ue/pe/2Pnn80Kahitd3fWWP5lr+q/nhdNQaW5G9yOZnORFgNhcu6xXTqbeIYdV
JNAiup7eQh16Z6bn81Wkl07K56newBNNh0gkA0auZRV8ud/nbnouPJCbaTsecDXSX11u6YMpj1rC
LbU8plEMWRk61jdSeK6VwGme1Yq66Qzn06xYyvaWgw4OMs718Puzyq1oa7ru/b8/Brb8l2Ng8a0L
9sBsdXUGvr8eA8A/6FzxTBTT4J28kvDcMUMKJA2UX6yOREt+EAu7KKIFWYqQmg7dpS1ehW1VWs5X
lLU/xizQHiH4KmIDLQSNjebcQPaPNo2S7tvvL7WD/udLtQCYTp0K8E1RbDjPrtF5x7KFY/qhhS1T
p5aIIy1I/VA4rQBWyC0k/uJYpESLsTvaJWU7b+M+nl5ZhtKal9qD67DaNyaUapfHJ70bsB8U4/73
l3nGqD0o2u9X//4QXobqP4Zy19ItoWOR5zRyHWov9j8N5WEHEc4DjkOWM8ysyHuser28saMUyKCZ
1uWNiIP0sDxxuRfbAVy/Pvogtiq4zsf5BBUTq0jU32Ner18y1Pd8dLe8doc5OrUFjl2Fa+J1eWnY
9+4fL9UzkW1dieSoNBbihPmUI2cA+DUa+5CB/NBRc9qXxL/2edne6svI0+T6Cb53e3sZh0D5/3yu
KuzkLs7al6zuMEUFk7iKchmTueWot1pwnhMi9ylQzlIU+8sr9CCLru0MKsgYGo+pzOXHUFiPnUvs
zu+P/OVGSN3yqEirIn0Bgg0NRYKvEUyYcdY/kDDT7dyhnw6m62W3taLj2Vq28fE/vVZG4+tUlvs4
mKUVrgGz/G/fsND/cpEs87RreZL+r7t8vYa+PP+nCYQT2kPrJAkyl6Ay8yDjP4vrQzV7zVl6fbrR
xBzhd0UcZJTBdzyMuzFQCW29Ga5c7QS342z+9kt9XbRn3aNb4REscPml0svzc5WTh6Z3xn1CD+Eh
1hzzKl60XRrfxdvE45NnzA8u8RN7xiyKVjU7YIXt56i7qroaSix+0/8j7kya20aCbf2LEIF52Eok
xZmiJFuyNwi7bWOeZ/z691VRLcpqd98Xd3M3MKsqswDRIFCVefKcAKlCVVUfdNctnGNhQnilGtRj
AuJaO8bwWXXq4hhOYXGcxCfZ/H1Q9vew1/73j0T78BJ2TEO1bQCLfIW8YAiJiofxu+8wNeO4RhgU
JTnkJ9l5WQEgai3i+gNn+j4OlY1Yh8rv/a2JxlywJbz+FGhh+gI/EMH2ZP7qk85CpUHX132oJi8a
6O2i0qev7lv/KPrnv/s/2CczOnfCvjU6dNczX193upY82q7yGIy9u7YNiPg7BAwPTRncm6Ilu6qM
ONcHizaP7lVEMEDGoXR160y5C2DSfucvXWvB+iUtrv7QUeuHtvZP0v7DGVS7DwhrDU+DWJ3BX45w
pcO3IZdiNnn1vTmoX2IKzyl6/sPo28KuDUl+K6UqaqP5Q8zW6chkQJcom1DP+Q8KgAXIiZHx0Lrl
MBKcu4wZtv/gLuTnUHHDZa4046YkLnGTFqH6KUZeYKlncAT3IEN3DKJIVhl8ibUk9ba9H7m6KcfB
//nBqR4Sc69X3rCrB6R02qBWHkMT4Huj4OTXG9uClUc6GQkCBY3B9Wri2ZUlHitbY3zUxQqrZhN6
bbW0KD9gTCy3hKVsST9haYmx+Z+z6MR0I0E58LufVbT5/X//Bj68a+Gr1B3IeTTbdU1dM9Ba+P0n
ECLqZtj5V7lu6qZ23EBGM8Jhn81fh8RfDgnBAwXVl403pvB5ibUUZAuX/qu97Edwc5kDogCF09pL
duC82zIFRaRkZs9bKhTvVUmJsnTDm2ZJ1hnezqlD7q42CbSovUpQwxm/dnn0zem64qHw+I8MCmj4
o6jTnh2yzZGe5Pel0ef3lEnBvgfLoex61z8ZvA06R6PSw3JQjyVNftCMgGwUrqMDcPu/v0H99xWb
y65NN1XPcdE40liiOh8eIvDEQoI+QsoSztVRrslB9jYnuURPgvyxSIZ8K/tZq7Qnz6jBdWQgEb6b
KWLlDgTZBzevw4P8dDmY9ecAAgtIaH7rhwY/uNgWWWNsLxueqS8GmCn++69yf195s9XUDc1iO6qp
jse/H18vcRx2tu+Bhb/8P9pO/Au8O7S4sUf2sw6MTeeOEyFuFK0HgtWZ7aJqFwLhCVVlenHgPARn
g1mZZt5TS0DScYetohv6Ebxv+OiSY15XM0vrnhKn4rbqpstoJtadvRol6xpp41s//KUMdn4MBrJv
LFG96NYd2mE1+1S8UCGEBCc0IgASsh7sEvWQZ/mpAI92BrntL9Dzee27jl4/Sbuigs/2stjT0Ki9
bQP9CQxl8RhxS+8gzWbZmPY8nen34HR9FPGpDUJEiKWhzDN4I2EBtrVgnwVzg/qrFC1HtMRY4/fG
p15JKOFO509tb2VHdUZGbEyH6WWkenMZzAbqx6JphzHL0Ml5uprJxSK8dqx7wsK7++//Z1v7bRnh
agbquvz/OiwoVIrMP+6wPJ7gCHQp4PDtNlqTLUcC1AitxwICpUctj1duTSZGdukgRRYxog53crAe
YDCRDhb5mUd5cEEAXhxMqrsud3lbVuW+R5hJsXhvkq9jHwoLcwNT0rInSRhSvKVT6KX29TnVvpJE
jO/9yKnP3CL12c8uPZeG6MGmcdP4/tLjBD8u+zAIZOI9qpo1XFN5cnk2y6YmmvLhLJs65aSXUbKg
FUmM34z/1ZekW/s/PDnkPua6SBffveXqfO2W5ViQQKgfnr16lJhN5dn2TUbU+KYqDcTnJn13ubVD
b25Oqa1d+sy0bE5F27ABeuuTFvwcG0hiGBX+dQvTXJNl3X0xEyhucid+lp8CR0uePaMh0jIWyaXv
Onr9VGgGK22Rl7ZQol/K2x60zabrebmxAci2LrfIpZ83AtmdkHtb9sdqtEx6b/r6u70j5kED6PDf
N65mqiJe9i6G4hIKY+FrGRaID0/cvB+evNnkUOHZ2vqNDvnrTViSHrIHJ/xOqZwRTNlftdlQOO6l
1dHqQ2vv8kalhrWKvpvBITcD7UtTuavQs8k+q0X+IyA3i8K59asO4zNktcUX0yEExUvRvXc9ID0l
RbPbqCi7Q1qgh4fclw9YitwukZ6Lu20W5i81TM+TkZdfmhH+cxDd3v3s6Gsq/cER5OF4kAeoH8dD
PE5wszRqukuj0dnIvkgMSBN0tcu/l6bBCAfQv71wB/Hili/oJNGMTUq1LdwL1nifZybgnDanPsZK
pnsffv77InPik0l5vrSQXXIQFgYBSoPq5zpw9fctUlfQOg74AgmYYj04oi27hF54YO+LRpeM+vlN
pdxPk76gtu81EBg3gAXGMET1QvS1VjnAM+G/OuSxwk4EB+luNyE4OtVDzOaWNFh9JwL+cFC60Dkg
NKxalKnJT7D3lM+WQ8JYm4htsFctnEFjQWo3D9MURqwvXWft1kZ6hl8rup30IfxhUNnM3vFHSUnT
O9M4LeIVzDas8jv9oSPvcCNvn3mAarqOqBE2An9FIVOx+YPFBOD41kQeGYJxdUq/1abDfifkR9Kp
iutS/1VqJzVcBWqY36dak9/LT9JsrPhtXMycwldPEJylsEBQalFux9Hl1qgoEjzIg91m/Xbwbeps
ir8HXETFtq9f16x1FEU1gj4k7fRJkNbcA5blgdG2kbtN4+CvDNbg2ynuhuU49T0VOH3x2pbLE3jM
f9jJMG4iZEp2MQmZyzVPJX+GBRMXGEBAjxRjsK4q22redXp5lH8SclLZ/TiliAvKmEkXCk3QqLxD
EQtkRB575P8775RTlrwlGfcsu679zuwr1DiUUFW/2cpPfQVN2B/mKFv9OXNSUHMwOXxzgqS6CyuN
+MDbgQDlqas1+w7SZopYptl/HYXW3RWZGaxB/VrQmHKoPb4200X/LrMywI5Jb6xmw2aLA3RQcJ7Z
d0pZh49JaaYnAwRbVxnsqMRBg97lYiGbTdU1B9VZtR3p0yIYXg/Z2yfZB+os2UuToVJeYGEH7CQs
rv1X12vfPDQPfQ6OFwZCrxeU9pWbB3u4+Qoq072nuKiTTVY5xREq9soQwa4nIDH0De4j1Dv9WlJb
y0MsSK7lJ6jeow3r20srmfLw8kkOyuYIkSKFy5TZWWbhoLnUA92mct45NJ2/DNhs7mTrMiBt7Bz+
wXKgBiWMPKADrg1HXSVd5AHYYYBEw8WPQjwK1rzIWJZ1ZuzLRN90mTLey8NYV9N9PWWfUIvztrNo
yX5Y6LtlQPhvcbWtwsHYDzAiXrvkp8ouLu7wXPVrLdQpzh3tYq+MAZBtt7M+w0CZr0mfeWQUaUIy
jcBWrivUEtMsvUBQYMfKTjanGKSj1dgUy5bECk91QeI1mtvsHHiEMYRHFiYArN+mJyuar6Mhp+gj
dqGfLaJ4aWckFa/Te47l7ya7rk7k9X7Cr7zM2HS+NPCT30U9rx/AEO4zNTlL14zVb7qj14s8MFEl
hErgTEURWb5Um79BApjdpFRUnCdr8HdOOoCLEQNiSoVQ1Eue+vOdBZT5MiVh1aU0sAioLpq5C/fI
tzeXKQWZGaSl+Vdy6WeUlqLPEAxld7YJn+wMG/1j3lP+L5+Xv1uYwiKAAOudxcSivI3S6LM+Uj/1
v7N4O8t1Dio/2g1LclSe52HvcSO9OL0TbIgBuECCaFZWDCTA7LI9QNboZYg3DfqLz9XcsGnpffAx
wmoqesqlS94eblDHL20RP1F/W5wdsl0PYmrpDKg6fDd16+XJrckuZ++IOUYHLrrfpm5qNIlzNfnO
6n85IJMFGFJ59n0et1AxGqcuR8xS5/HN0szJP1PAEyxgpdHOpRMm1EF484GKc2ttdlUC1pL/Hd1O
87vOmexTlDsog9kDZWtwAN9OYxJ/yavmm+UWE+uZd+cj9Ui5VWKQd387X0WI8rM9IIomz4fwEpwY
yTwfTCUhq08psU0d0x15uPikUUWxcHgJvMQxWW4RQgFYvpqqqf9mpBQyZxPfVAcbwF3TubDzCadI
gQvpzckrAuVn6s4ry4xfnXJUCC5OYJzGTSWcAuGkJqHxQqXy5UxErS9OCaQ7lzM5MXw6H84U+Y+J
y1o7BIR2MqZh/FIZ6iLR2vhHBJQXKH8DjpDSofUYuMHaGZ36UXPQqHIaP/oRNnCl6Pr8JZpcdxFV
lb7vwBEfdIVlo039zFdP0y6zgSUiHdUE08OgVeNaHQDKuVrePM5ittKO3P3QmHV7Z/qUAtzUCmBA
rntWsy+5PRt3mpLAoydiKdW81IfW+1KkzodupVHcP3Rfrc3A5w8VgRrURkwxyT/nntnd/6FbToLI
9YdTXuf+7QLtOdApIA27rXS5nreAhfo/ztv0jQE6poaGsCvZPcPE/x9/k5x7Fl9MJL6Y36yvp+RP
lX+TnLsN7RFiBX2jKXoC+Qro7AQ18k6StVXh3pm8BpHAYUlOx/9sZqjlFr2Kvrc4gUF/Vvbv++Vl
6pEAX6seQJqou9iPvT8/9ZFxn1U/krx1yQzAS+VV3fCpQwKXYrTEPUxm621MlzthKp323ol77xbu
au1loHSZEJL562/vCukP8Mnh8Kkq0en94G0R+UdBUQPsGeQIfTZ2unaLWrm3Up0/MbXib5Mx3clf
YFh6R8J34Ze4HZNFpMOZZqR9RY5qStfQLCj35EXeOam9GSw9asDXVNK1D/BsQ7iQuPdZN7YPCiD2
TaGSaI26Vk3hbvFEzUJt3EnjP3jwWrA3aUho1Smp7ipaVKnnrqMIEKj6hvrs8FMzeKiP8vLRWsR7
W4rcjgTBFHRFkDGSA3kZUR7SRk8JHLjbkBzb5f1WIqICs963DxNqk3OS7z85ISG59FjNhnKMHUqx
7N4etxUUXQtl7KFq0HxiTENpfOpc9bXZ/N6Uo4MYrRMjXveN/mrciqZmUw9QEbRiJwGtyBxn6WIA
XPlYz11wphQMNmTVepRdVTugC1L70OQ6ufX4bw6ToynbqgBBnABPPUPE7Kwrsm43pa+SuZVtS29G
avfG5uyJgIcxeM5a9tXSxn7zkcPSMObruMyjDxPlLfWIiAHS0/sMiWNKDcXHOXXVfc/KcIkmrHPp
uwynsz6/GoFHa+A/TXXQ8ntHZlzlngLarPlIl0y/Ahki+Ca7puhwacmBv61GxUCDNGyqXTlRsqtn
7Zks0fwCqQ7Sl4ALV5lpEj3Ula/QGqv30orSlLPsvlrBzzkhEBB9aywbOS5eiA8jVrJbLVSkx8Ku
WxViLmE1tAm0D72rrKEN5Km1rqpqn6Wzv1O7LqC8xEMwZnD9nTzIAXiWlUtT9pl2QsXE1aalJm3Z
ZsQYPhg6YpoCtoBVSqHkTtP6XRiMM8vzIntwlOKAdpnxPHgNtE5eUkJpQDNxy3gBGXG41WGofv4v
Jz2ybkliTIdknOPDWHk+HF5a+N1DZ85J4J8Gi+uvOjtBQqZz2k+27p6kAXA+AOG+152kp9mZsCIH
SfS9iZJ3npMKTBsV64lavemIusCwt21CeqgUDsdsHMe9EenpyqIsegFsIAUxgCqU/H20oqmLpvz1
ZJr2Oip/W3I0JNp/Gb365m2mCIk4SPk7/xcqRWQOLUqds9qEKasq5k9gMZ86kdJ9M5iASq0h2ICi
L0DeMIrh64WU3jnZVT/dDmNefgdxhcZM6/yo1L6AEbS2H5WRFerVVm9NILRBVQAjERzcY71gQVdu
/GKuHrL8Z9hqGVhoRLpvvDxuUC8UGKbCaNawhMzU6dD8gy01LBkEiLBLyS2G3JiAskvBFQ76knCf
kH/O6gmavuLlaiI/1Zpz17VVQp77722OdA0GXOWG52IGnGDr9saxAU4/FpX20IsDCmkxysgEJZIG
zgfZN9brnrTRWfZYPfJABpzQKOFgL/uMZvheqYMBgwY+lVW7+zQvH2VLHnLo2RZlZXmrq1Mxr12U
6c+yx3bU11mptaA4Mub5lFjm40IiwuTXBFhZZByVeiNjPYQ86k1jouQiRy/W8qN0kdZ+w7tC9lFn
UW06YS1RZAjYWI+XsJBsOz38wP9qbbM+PXhx9KnSvrTmoN8PheufYWOBe7yoTrJloEJwdtzYuxvR
D7iN0cmF3h/K3IVvDvWqpkTsLA3NSP1pJhBlSw/Z38dfr9M2ueLuZ+gdri55qLnw2Oa/TdtH1t0M
6+Rd5uk5bKwU72pU6T1bTf09SwkV5ps4sqZfeVn/IM3sfobVeFrUcJudHIcNTD80zlr6anbSL6LM
zJ4Tq/hOstzCF6Jy/VsYd19XZQWTPVyA7QN1B7CtIecDORl98tCFiAiodmauZVMd3OZhJa1lW8l6
Y81b89UlDRDQ1tM2oTpu7MJhF7r23i5h7xw6/kbKgvxlOznji081DMG60TpFxQh7BmamMCNc5N6l
oe4va6VCkgecxULjpl62Y+guLu852UZfyl1c3mluO0JSS7nl4vIU0iIEVvqS6mi9piBEvoLkG8YS
8B+9KaOVHLj2SRM5UBr5q4c0liaz2cOBFihQnqhki2EyVLfgxaLHMZlSWHx7Mu4imFPyUzhYzXQM
zYyo6XWUpDci5pdvxaWq8VDYJWFal0pqs+n9W8uCBg2W4vEgPwHapBJnzMaKIExFbaZSpOs+Y3uH
+OneTZ1pXar+ThEt2XU9XPuCSKP+V47kyIRCDuLuZOtqIpuxSG2CpIIMK5mh7ZeJT/Dh0akvXowg
hDhctS0YnDJI/aWxPGTwq/GOCY8Baa70bJTg4semfvZzy9rJwzhG9s4ZQ69ZKU1AiUJmHMvaT7rN
dTgwURKFS0N/cuBvzpXaOJlACDaE0eK7EWqVRydLhZYSyKwcYReIG6LvCVW7t24cvtrynovvsh5d
E2k7wuC1SBHxAtxPlpdSivAgPxltdbbqflpfu2T/B7OmI3hhhZBQCOkVmRwZyF1d0iSZPkH0mvvw
wsh0ihwuK9hfyTeqy6vhdWAQ1l2Xzeui6lSiblHsZU+J4gombC89dazZH4M42A4iJVpTmrk2iHQu
ZcI0E2bwlqYnxBcNaRZn6LEpraruJZKhLZ1DWCjhUeI6hlCd10TPsgs6QiIx3iyg7qT6QmbWK9+G
q1+u7oy4WYcUQqJOxTLvspgrc491n1zyyV5hA/pK3cguUwgSvqbnzBFq/BHGfKt30r+yzuZ3kjgv
vkZNq1/X+jY1WrY+PoRZzVBl1MdbqyQIzdOcZAXIvMpagWS1dtaMME/TaNBi2g40SPAy3raZ270E
uvs8G5S43iBR6btFE1Bo0T3V9RR/MbQMOqakt1DXjl8nioz+daI2JzxAXPt1ojlSnvUKnAeS16ih
mMuxY9+uFyYLAWpKe2CtNYsyAMeb2hqCpyk0n2Mi+N91l7QCvBzU7s9usHcqNgepGDDAerG0RLep
pQzDgwtsEyXexRMi1fC71aSvnuhAB/vRUW4t1trLmbD3tmrD4F7LqoqqSmIM9V6bc++vfIa7xAqh
NYmputqqoV6swlIbPytx+igNeRw/9VnIw2BGODByKCruhlo56UP3OlV0/NNUkanc9SPsNHIvJjdt
Km89JxPwObGhC+Nm2mdK8CTHZFelg7WQpBX/5uTk8bAGCQXJl/+tKx1YzWc9uClzgl4Q4+RPVOHN
N6XqoaddhfmTOcEJkrtEhOWomofBYTaD73JQHroM4c2EXIpsjWJhpduqtjUMs4Oep+vWAwTKW9NI
oNA1WbtHY8MKL6nSvRsO07OTADNkt0BtifXRKoPdbY/c2/TcdHvpLOcyHLTZ5T5AzkUQ6zqX3C3E
TWNvA3Qfbd4btxKXOPQEBKoUZWu5joXf6H3zOiqXtdemNKYY9NVYLomvTaP3+60+1OMtta32cpxh
/hnjqfpCkTQVNnH6DO1msoNlKVwk1F1/6ca4B+yTOEcK/Ajvp9Oj7JfuUd326164w2p3cQ9CI9kl
xUzhodMqQlJPu+1IYqLq5WU7ndf/p+b3JkwtkLAGeb7jJ61fRq/N/19fVcx8naqHgfGc9Mp2DuH2
76YmOFnw2j3CMbapQgMULDUB8KeRbJLNijrdd2bU5Xw0K4SXnK1OjdfZhJnsF0T+lM9TGGWJJcbV
LKpnsi1ze4iqCZHnvqPyDxz/WdVYnvq+ly8R5fMRAiDhBTc7bdb41CXHfXOWhrJPFzZ6nLH/+TCP
NIQR8J/zXM/1YZ5JnLrgG1nmBdoqTjZXO68zdhL+IzNt8uCW7qVfwoVkl8QMvdlfYURy8K1/MHlp
L6W7w7TXWoDrtE1scbpUIGQEFkm6ir7rWa5Tiv5/m+NilTtM5Ik/420Of47gIZQoJsNorOSgQi0n
ng4+wYqTFbuby5PETpudHprjqRODravBZVqys5K2ChyT68GC7k0+Sd5clT7iIdRa7cXVLUPnzjBq
hNaNnzOUQt/bHJVxFfWG+yyoug0EteNd2Fb5YzBDlSvTwZgSZXlvmltht0mDBuW9QhkWhaNCT5vY
80kpknBhwtn2hdTmIStG/2dgTOssDGBZ88zxVldm477rIugXhZOCnMEJ3EFwcbIKKi4UQtuJ0q8n
07W+TiyKb1Xh5MRVvVbM5v2ZQgR0vggneaawHtdW0/35TLOumgeHn7pV6Oyd7SZ+GWoA0PPkG+uY
NeHL0A9HUwUsRxJAO0doIcpu5NoqOJc9oPHqGL10RUHNfliFh0QjDAEGTlolpjdQ1Em8SE49onG7
nDq2CW9Te41dPIxF+m5qK3aqtSM0mgy1O+q1kj1mkf4L7svh3qyJvzST+lM+weDZ9hZhgtyDbAKF
GIf8S43Y1EZDUm8RREH9Rfj68GfcayNxIMcaf8puxSYTJ307NzwmgMW2V6Bc4afmDnJAQhdg5+TB
e/t07YMC7mLm97BziiJ0+w6ejQKGb30dwP/4PYiAcqKEGh7R3OmPnUl2Ae236HsEr7WfjOrnzrKh
9FL7+a5zjexZeEoD6Rk02asntf3VLXdgsOVPARHnDfVGm0PIbeU2ojLNR9VqkoPMIctRRN4d2D/Y
clgoA6BxK/dbA/XrmzQ3hkOkdFTy12q2CiQguW9r1FuLMF/ZjjHv8jIjhcla8cVM1X0i4Or2ZD62
wBieHSRdl/z4YY50kvzgt+yq3kxHgesfW/0xaVX+w/x0LwF3Iak5wl6VuZHovMppVNjB22c5KA/w
BWNROOZm9C1k0wSM8bJxKJP0GHbsuQIBDJCvVrvso921qcPKtaPiFXEEEX6Voywqz2nD9sImSwUL
7jFGSgd2c8TeRq/ojjw/eRqLUZM6o3fNOqzzZWOleefcadDk7rK8ax9MRH4o6WnUVRTkInpd1Cs/
mNNTT93gA3g8IDaa81O2pMM8s19Su1Rdyb5RmGU4uQV5YA0Byl7tP6Fx0dyaWv76qX7rk6N1xB99
tZOjlBSiWvYnu4kXmN/pi6mylnYC8nohty1WGEGwJ/JoWzHitx21VHJ/07W2v6pzlbRdISS9WHRr
e60LoMcIkEumVBMBO9SiikUmx2WHmiAkI8fjaNAplEIX6ooRk3saMBGQfVhH2T1KHCXFAdcuiSv7
27ITlqWveKjewonk3ZDq7i/nvpw18Qtv54/wb3A5l660NtT9u/bfJrFKMmyaomU5WurGShXjWS/9
g2b70QOhYOMhjf1tJgKlTYIcdUa9F3UjWI2jVy3+4DSj/f5AnS60KtGwa5zBTA5F7PWbDjqawyAO
ztQMcIr0NvUQyXiQh9gxXz/JpjQZCh8itBiayHo+KnE87p1aq8/yILrUwRpQsQuaM999cxZdvdcP
+8tt2g4j1QtDvizDvr9VWtN4VnNlBw/y8KDbRonUjr2X3W3Z8vjLYNvVvRQcTBeni7CK/c2bU90G
w4Nf99UDf8/FqQMvyTOP6jxDaR7kYbB1NOOgjJCtfJxcnsXAGYVBNdbtQ2DpoImoPl/8m5PW1ips
mP4JlqCf1lBWXyw2q4Il1tg4ovlQmyMguCIC7Gp4zmJADvpL69W/9DQZ75skn++T1nznOgG/2Eir
d64ahSE+uu9Hcg2NUBQLV/Lmkgd5D34YkH3yJhzH9L3HZcMeD0dKz+HYFDN9wEB+mOnicJ3l+kP4
MP00b4eEqEc8GfX+eqjisNkX4iD79L4EKZEh5CkHKu4y5Ad/t0FXz1jCXgXpZ4Pkx0QmdVXpPQiq
SjPsQ9HlC81MoXO4xGGsBMIpYZOKGI7sm9k7SjsTEofBtagSR/XA+ysoR7hyympeNSEPOBizIVvy
FV5KImVF4GEYi2k71jmsFgDR1Lvet/rt38ECqlsSZFEWlh3ru1CjSmORQzy9SOtR4z41au95LFOK
EQx4hG4hEtgXdvjXPBb1tzFVvssPogcqoPqb+BCEdnX5AFDtdDnNGEBK6PPwOjZNGyyVovI+ZVOO
0gL8Ej8dcjMiDzpEgjYrLF4ob48WqhlH96KUc93Ek7a5eke1534q3ryj4Cy9Dds8QBSyT/pwvMtl
sRHZzl9ebg938hcvf9MGUIotpKT3Y6IkD3NaneVX5NhGfZeNXruSsZlEK755gN3u9Xa+WMluaaWm
WbCiPgn5F7ifkRWu2ItC/wzZDu3JhokGxqo7x0T2MG2c/MW21LWBHtRfSTKpN5Wh52cgqyUKN3W8
erPoZpuSNb3djoB0vbHvHxNDgT4rm5Id/yHI18HzvgzrMINqY/rRwbvzc1JfUF0sf6is46HCj/tH
RTHhmadkbdf1HZIDDbJd0mfoTlGItHyqQj0zDwML91AfmpNiIdcnO2PRHE2osO0IZSZCyqiA1ho8
zUSw0E327UHfRJWX7FWw7snCoRDpBn79ZOXwXEcD2vvpppYFHw1KPRaMxsHdtUrhOiJLFQwHAoob
FyVABdjhTmGW6abX3cOg193lIS3/t7yZsy5GBiZbqVfGbD01XVk+B1ZVLD3iM+tLcy4LtFYC5ZDG
bvGcsJsvyGl+QpuO5GDgPULXVj7bZC230EJ4t9LJAcZ5mUOO9i1BKzmHHE2tX/Y4OGgqmO5SZmSB
hnTbJE9+XgLRb005KBOukZFAue9nPy+h7KyaO9n84JAnKL/XznDW4iF/ck1rmVahcm/qcf5UQdEC
X1/Vbi7NUFPvkGwteBUY2ZNDXe4RPOl5LMDq3L65yonCDK5n6aq6PToUlj/d8qhpzkpAZWlBJPsG
yvb63IoDAkIIc9WckXeTfLOCV6gPsdOT9xNvVgr/YLdQFQWeKd67lY6kVpFAyhKaevL8L05ND/B3
gHt67NBGl4tYeYDerfRj60E2Ro9MvjS4rIH9X4HbWw9yBSzHoqZ578xzTjpfovJvzrk2NhvEaajE
EtBWw/CKLbVej7J16ZIFwaK/SpSHSzK6CJL2FPHzln1Xs8Qs5ztkO6vbOg+/tJ3qnFLomD4HBVgi
7p1WzfWjmyK3IO+wENmwtRHrzkKOGqSTFrwh+o0cfZuiMePpc9ojRcRdKaeoS7aZ0kenjIZ0g4WE
iq3D3iGgJxkZCJFMe0lY2iMwAI+exPGIftaU7/ulPW+Ej/Zv/aWwz97mkf0RXD8muPunywZ9qO36
NtSgn2lJAKzkAl02oehtV3JFztLhdVSGs1TR7IWxHL36ylCYHP3gO4TeY92TqYT17M4zG2o8RRRE
RkbQPeAx+Y8ukvFQEIpYTRy1yDbDNgMAX0LsWnca9rNBpFPi8npXBybdphDXCfRe2HZHpR7KBxYV
6tkuPEivQd418I2t1cxoYGMFvQcFr3XTgwWnBkfVn5nakUjAsvzH1JCBgvAQTmJqdU7eTR1ANcLr
MIJjPXHc1ayYwKKDCB5lvXv9BFFtunPcWbkt7Q4ygktFdRDvkkHvt5eaa/Ig44rCefDgbCkWlTLU
axmNMx0NXpqyrNeX0J0YvTYNFdRZMZjrzKFmQR5iBKIOdjfDXwu3tKiZQ3VFdo4RkVxUpLGcUbFZ
qI1r7ewZdlRx06Utu0KjyaYNUmrG57d+3UwfEhc6BSNpwy3LPOOJuDXxDTf/RuZKv/V72Is0N7Lv
0zCACbVTsm+2qsCu1LPlt8OpOrhOON/KgSEfz6COG543arE1KqVcZn7LTFRrl5Wqg7GMtTsy8t2d
1hnRlxTqOWlgVgpiaW+XQOQXmDVnMhVKMOQl6Eln3w+WW94UYsa5dGF3E5dgKE6F/CeVaHJAXAIg
LpBfYO17tTBXFJp7C/kljJaxbYuo+tRmhGn7OXrtHyj5HQat/NSL/qv97/0oqYAnFYi7/u95JuKg
F/s/9P8+vzzv1V5ez+/zy/NKENpbf5xTeU5M+S5pyLOEfZOeY99VbhvfDJ/naYpvEt12/prjaTk0
IwRCSuPems6s/0BB4mfgZ9YzIThIyHpSLFPF772LfX1PoCbcwus2rodSGY+54hTL3KJQlhUZj6sp
qb+2SX9GTXsmYg7fWxwyt2+FxzItkm9pVRgonJX6E9Apf9HXRnKaZ0QjmjkbtvHssjwT10uQNT2H
/3m9LihTau6MH6rX/Yw79c/Xa5EN3+oBsbISrNaxs8Py3fUOilIve6PUNuKi7ZgQ002LpIq86DwI
qGPQ/3HRidH846JD2DwvX3IXIuf4f/YlR2/XWxmu9u9fsrzeLKbe6H/+kknbkHebeusz5CUbLSii
ryAWoarnWXIKLLPZDHbp32Vupp/7FGlOnwfo9xZdnNbL1J95mn1PkYL6jCRqt6SU3th7eeXsdDSO
Vmw0ok8ErJBuREnnp54+kojPfgT1bNwMnW4+tLlR3JnseLceIdpj3zgNQQvTfEH18yh9AuP9RZlB
Mp9aJQDWXY7+XVs52uWiYlKFSFezAhInqsFRXC9qQBvlclGmuCirnLLHPAD2O1J8mFuK8hPxg8LN
fw0DHIJ62dufFM+Hjy3r64NjJ+Y2ai3UhT1qiKBKCG7nysm/R6iGJBH0V4ppnOqoS9gll8qt6ije
Ca5SOPsUx1tPmjWfjCZHMi0FuZwn8+upIigQTE3/Hg+9ezP1fBcQmLurZDIDtmFZdCjdoV86Qdh9
en+dmTijvE4NAYuP10k8M75Lk/71OpMYbNMIOzA1T8UvEIYfrzM3On0di+uc3Wo6VGq1tKoWNQ8I
jz77CApuOhW63Moxu89ZC9g6Q6B2JUcpy9QWbNaatRyN0z6+5X8/3slRu6t+wS9QHOUgxCkbeA6c
cyMm0jMWvJrzyUtG72Ey4OcRZ4vUOjtVrf8iPSo2ebsoHv/jUtKqi1ZyQnkpURNAl+yn/Wc9JJEn
L0WOikuxPAph5KC4lDCHad8LIZWz4c7jyUX8ERqICJJ47svSmOYjkkXJuUmGX5AERqzLAuguyv9H
2nk1yclr4foXUUUUcNs5Tg4e31CO5Jz59edBPd+07e39nX3qXJhC0pIadw8gab2BS8o9vXqa8OtG
dyv8zOoHH0m96vearjivgTvOooLhZ7yU4m3XJej2zWGi/uo3RffJUp1kH1ZwCWRUH+qHOkmcJytA
XsDNJmx15t7cDl8r3RvvwSsmN0DxsPWbh8G4w8CqO2cbKvMieXXyqpXWdpYWPMjr1clx5NVF3vR+
dV4+XsaJMArdKk0e4BC1dz0rfMRfuka/PKg+IUP7fSAx/Z3pHvwd1BcWnoq/T1/xe3rFkzFZyWco
yGIxeThbD1hyryI2h25xXSyB1sXmUc/r8WBPdbFDTrS7MRAAXstPMXx2QOWntO30vaySQn5KbIoB
9UlWX3Zplz8LM7t8SgoDdlF3HRwhLf/uaYgKdrqlvxnpdB+3BQ+tOjnoOHz+xAnoiwHH7FUB2LvM
Js280+Om2VpJrRww+U1Onhb2G/Y+igc5zjCPMybDfTbgPPBv43QKP6IZsZN4HYfMTPGQVFAb5Djz
9YT/cj2m8K27Unj15XrUME0v1/OXcSZ/cg6DCta9w9Az7yUnJPjPs+Gj9d/j+g63xf/vUf7XT/tf
4+arsoJZr/VvV/9/H4XZJ6mrkRVpcDfUTvy9w8BzmQuzuhPwXvYJfwabarLspx6vWqb6gOiCbl/i
7vQmZoUiXhvGaegRLBpBr6ADWXVveJjvZCirFXyAVbV7qq0m2VaKMe2hUup3oQcqUIaED//+sVmh
f/fdoP6vHxu0kwVjXkHs2utQnk4QihHRlymt7TUi++3er/E2qJhMynpNY30Jns45jnFcPzhO862M
DGYuaerj5+aqN00R5rekijCxU5mHZfhjIBfr8cYusvaEop6ylA1pZJxNvQ+f2Q704APjxSg/wUQU
OoWt/KmP4Zug5l1uLW0Y3rgy2U9emSJGpJ7zSDz3mc6fKR8kIMv9cmXZ2H+b5vo6Lf1liA3HTazU
71cmP0heWVeXxj1ZymhdYlyySBO8lrgvlDd/BAyQRZD468ExbpF6x2UsVZU3E59ZZPVNE9Cm1Ty2
aL7L+mIkNZm2/OgsrwdAPcgKolX52Xd4AiulXeGVRHcDw/Xc9/1PtoLdjReExVrWe4N9w+1mo1rT
t+DtMBQOMuKv14Fx4Pt1yHEVFdrEUIXW5TqaSLmTA5UF2Vd5HbBJ+lcHBx1Z7zjLprSQNkFmAV74
nKftmTZPZjWex1DxXy3lLDOxWpYGcCQQppI5VlAyCGM04Knx/GIJ645HwxXOgwGN/T62mmfZyetK
Jmb49K4vidnfh9a1s/xEH8e6P4cOh3BXJ3YOphT5L6kBJlen8gxfs2fFcqP9tf4apmTZc6U3743X
etl9bgxNLdoD/qp3nTaVl8Qe6nNnpMS6u0uar09+KWELeynJPYSP0mWD4Z9+cvfho03uVHyUPvpF
pEPuKsDVcy7x4yP/0lXLs18u4CPy3y5OfuT/W78M57pl4YpyhwtDf9R6BzsVBb7fFLITl3dfYXKz
KWB77rENvRRpb6RwZQPeFece+eiXoNH1bRvEwQ5Ha/N56qI7GaDrtYrrwKjfyaFNG9FNZOaT/21o
M8OSIZD6gOgVw96eAnPr66H/iuqrQZJwak5DoykvHcrczALLB4wltSd0QJahjII5feP42CiBrfNf
nTbJ99o4Yegxt3otiy45pGztbUe/DClb5yHHwCke7IT5wzyk/CRb//kOodRzfyGxeZhUastI982z
ryckJdOYZ/wMvZuq/KQVev6Sdk28C32l3pZaOb0OSruVAYnT/doTYUfuqhnV5+uQMZGgX7Sxke8v
hB1F1ZhlRPlBsnPcWu3xMwGlJVv7YewfjPaTbPtbvFDrfqeXzaqbmFOqRmQBfTecy1k+QjOVdWgN
skEQm+a9PPv3ONl67SvH6/0Sc8Ta9tghQkZPAT+77IYqVbf8S9Dd94alvFtrg81Tq8GO7sIB0nmi
BEUybq/b1MNcB+x43F4g1tey7GJEFT9YYdnbBJTnpoYrt9Styr2tIKDdyjMTxUQwzE2wvzYgAauQ
f0mXxUeY7CAHSVKr/rPBCnFxkYPIHo6XPIwVwPBmpc1bNiQuFRBbU3VQEc17roV/kDsgYxZimznX
h0jm7i6yApcsk6O7/F3PuieDjbq4iBuUlBBAkVXy7KN+xkC/fxrq4AKpKXK6MoFL+ga2VaYACZnz
uTZGZevABQj0rpkwucrSrrEy6Rsi12394lamtsG65yfeG1W7Khu8ZRaqY+TnwtQfR8vtdlnmUZcU
Gjp4UT+QjmUVl8jKiZn4WUbLM3mAEPqI/nW/0/QWTpix8wDtwl9OJnxtnFTD5IWygk3caQjdZj3Y
uNfLBlknW+XBkXGFg80mWOLOxC9eSbxmK8HDwiv0W1/rNhdRONXtWeRUsyn0rL6G3Kt+m6QCp979
qLhHo9KKfYMGT892/OSfL6d9XLKpqCpHL22KPbgh/yxb5YG0Lh6/BtzxLgrjByVqkSXv9Ge7t+IH
E3B4OatAyraPUozxxDXyox8YEbCzHc8Njd3eVi/TT6DUsVnup/wwCje/txQXNOms7vIRURTYFXUx
FngOSr+LPtV6NhsafH3Mwc/Wl7JXY3FZVwbWoR5IZHa+9eeozqezLGozuFEWMd77qXfivXEuXduu
PVFU+XZR2bXLr/JLwDsmPLU5ELePry6bv7/r18Smdniq86frt2eYOfasiW4eG2GSwFMSY3dhUOTa
FiGOEvPdQb1RBqZHknGBa2ix7tnA20k+RkGYkc1r1jYrV5ZHArvU+l8P17o5WVSh3R6Hhwyq7N/i
8ArAU1i22PNYrWt3h8CwMY1CuiSY9Ut4mhdQCquDLKXzDqs3S3+UHerzWSXS7bXB1Lz8VLTNQUY4
at2SLvTNzfUb8VXvDuT9tFNzl+3sa8P1K7qG2B0261bibvBUwElgZhQPfvwD6JB+Hyltdh7hPvyt
/vf4ycje48txQlnf1VJ430J1lVv5cGjyGNi7NjUr+VzwSsO46Uf3yZxxlFLITh7KCv/Ztuzy9bWu
Kav61m2bXxtknQy5NmiYe+xTJZkNhSLnDDLaW+JfnH5DBENxcg1YmlesbLLa5z8CmByXFo56tZ2r
h2TmR/lxfnKamk20maVWjja2NZgybJyZmFWZMMyEFn1KHAcF7wr5g8aHKyt7WmWA3YmTP5tFPKIh
UFZPbMtEmK/j1ca+GAbT5vilDQtrGbLGQXzKSA+aWeCk9BHrz8I77Bgv2Qvo7towDTBWwPNjREl6
Ke8iWdSVAILMfMfJ4hSz7XgtytZr8L/3bf3+Ni/ETvGrp6gxyY3jHdZX3IVsi4fLyK28e7/ClD0U
LWC8wu5ukqoewTpY7BvQSYqhXjvFeAn3uf/eidzw6v22jj17fxFT7sWww9VMOyvIFgS4bLwXMY+r
7q058zpXkbPRzgLLPeSmwq2DUs4DEAj0Pp3K5G+zsl6yTLCKk/TGUawgLqtvU1Z1a+FG6dFwmPNd
I4JJrDA8UN/Asq4vV8S0T2yKGSNtsMPTevNeWhorJ1wSvIV8HLRmX2NQ04YH+bBwnPew0Zu95/t4
3YjUXk6KqL8ENbCg+YfuhRouXAS/noKIDXsDH3BY/pDVuJffY9lY+yVWYZZ1wGsyK320n7od2XVy
+k6SDqs2SMzlBSgh5nJR4cqllaG2LjXLWZlNFzyqo/eszYrhkMRgtPp5fKpAYj42hfNczxp76E9g
sdsO7/Uj8df63+OTWWzsj/jrOJqHBU6U7RCWNAGX6u4G4kp4QserPaBFk6G8UoibqMnSdVPAUioV
HmGsf5U3bbQe7ai3fjr9faLYGX4zebsvOmP8qiq4uEZhl780qoIh8zx22Lruhq216DI2ydaMKZxi
kcFv8Bmdx8ZlTIHzIpS30LQBKYtmZzq2vXZQg0YzehA7iTsxxwQ966x/8pW+v/HUvl7I+qzUs7WY
AsJmbcU5bOAv+ymcw7IS6xYJbpFhbs/dIXsNPI2vYXI0GWZoZbaeKgunMQcJwxGPn/taiUoQRerw
BX+VjQSdtKF5B2dW/eTjMLfyBuzBIhJOe3hQHs7laXmfFfl7J2YAl0564NyBWU42VWiLdTErGqUj
SkftLIYUTkIcSSzIGtkmq1EvGvAQMqXX5UcPGVxnyPszRtMIsFABLqVWkcBQxoUglYD+ErfDpkAy
51K0aZVFvMKr+3rOLc8dhiZJkGvIN2GIjhO3kLmSq0VZNCGRrOSyTxY13f21KFvlglG2wqE0V8Fk
entMl4Gyz8JLUa99rdi23AXCBXU1F0VJejcYU5t9/hjhoDkVrpoh0ye2FC9UhCGuwQc2CZOgf5gI
sqrrsgeZFFdKxOv0VLAVY6TPialGD30bRLdxXtW46YXlm9KiuoYtgkuOOepenQYBsrm+YRUHEsnT
1rL40b0J6/fuStfDKEHkYRWGqL+TGVBWyjg7sFpGeQ6z9HCdKPtOU54nPT5ckI4yokwjxNCZNktA
pKyaI2QneTCNoJKdZKnlJQsuODPOhaLfijQQDw3u8rfZgM6gqXYKHlydyQ88GPuod5VPRnfnFq31
ygw7P7aKgbnXHNWjNIUHHpeY1Qqioo2ykfUkcTCeh0G3kb2HKXiN0ppt3ygt7lw1/Smrx8Kt1pCj
HHhwDIYX4BLV+/rFCHmHqj3YRNNSmyNzMoGlUZgtB9sQJ4uNqCez7HZsBJdvXu3H29Dy/K0P1PDN
0ZO9livjE16uygmcTbKU9bK7Nwb2pTtkdZ42qoXhdSKSG0XtCuzVpA9D3ikvcsnCNMQ+dJ75LnQq
1zK1qj3kev3dj4v6LlfRl5dngz6+n03zWRB4FQZm/9TJOLRSm2UBjb7ZKxqbZZ4S5zdp2nwN+GJ2
uCqg9j4fLvWTxZmHFYKrbpn55UcgVuKuAD250JJu+hK7Maqghec/eGBVjtnUQOidG9oOkYJK5xkB
eGaL51PAojrLX20r3coAXifxik2w7pTOQ6It8OuQfhRPN5mr8z7BX94QtfFgZ34K/TvLP+cG2G1o
2VjqVq8ZJOgfU9V9d2Dvv7qIFq5CUll3ce1o2xIq5cGpquEkx8HQzHgIQwcz7HmcALXD1hr6VTVY
Co5kqCJ62D+gu6uzazgLIsq6zOi6HXsYrLzmOkXKHerZKQ8149aVpaKf/CVrbmwW40E7AfJm79Nt
vkh4vDyEJtQKwMPpQRYVkcBVK6svElMvq4QN4OGPiN/HsIu6W3iQwfdMJMmYmq851lB4cLnOubH1
8VXbSajwVCOhryNuCJN0hhsbxrQR8EI2f/QxNGw2Xb/Ql7EIynWCTsp86eFN4OHSCqN7+jKSCvRx
I/w+moj8dXpk4JKeR/sqN7utFgf5U+ZgbSxDeiVhgmBNnzLPLv4cTSu69pWdIORCd8JOw0e/UMxH
QwswihKdvTMR83wso8Te60aIbdNQWY/yQHxkI1EuC3Hllst9DSRPfI4dzAqbrERuSQoAS3quMUzv
lW6XdsukiKOd1JX1igl7WMe4uMzoAYyJuWRC+rhNQUerQw3t2DPsje7UGPXiSAyABtmtjZzM9TNk
ToP2sVTz0t7IuR3uknyBJD3Jss97cYN/0zvlNzlfVQ3bR+2t/IY2hv6sz6Xf2+ZlIo5l6D+22rMD
dQnzxmFYyQnNZBc3Zau2T1hshkevAd0dNMHzME3hUb6/XW+VWBWM1yp0jqLWmuXltR40Yimjstor
XxzTE+Iz5LxFX8fuLepqETI4M5EXyLzjF84bIqn1WihldYzKzgWp66NwPBN5/7cIfSqiu3LKq5UV
d7zOJz9a2aXe8YykKOvkwUxCyOp/nl7DG12zj9hN25MzLZTSN48XleS5mI0ZFuHjTOoKF2oxZZ+N
zh0QBWmyrVzpWT8136xu3drDNXXWS3esZYks9HOc1d9ynAWQFapt2LEzi0NtdH89QrVYy6I8jHp8
1kZDPUvuR+eD7wfm+CTbZJXsVIlcX6tx/jKqA4n9GSkLQ6a+7fymWakJXvay2FQDDpo+OOkE9iXW
dtAdbOEuK8vWDpL3IKka8izzENRbyDhZHhWHOXL907eG7DbPwe1OI14M8mz4OPMRprrUXc9ylGp+
rfOTz51XaAcbHHQ9wm+Rj3UsCSvswv6pQ48Ez5zrAz+0ukuwfPz3hZWgedbm+InOegV51ekQ3UtQ
amNTW4eIDNelnPQ2+GdZtsrWWeRZYB4nA7jDLNcNJ8+9GZzuQh6SVUlpj9w5rrdlBkZEqno3ftui
Tkm8PDg29rVC0YiYBcE/xpCNsuo6hqyTEfMY3cWL5uMTJtX+kQ1Otou9EeEdTA0vh64q4MYkITaj
c0NlB3W7ujbH9rIYJuf0Ry8ZIOuUWMlwdNTTRRNWD2Edd4/R0HePaPbuJr8cbmUpcjUb8FVRr2UE
684Ga43+UpIRQBTxuwrQZ74Uy6I+mDDUEc9Q3GLZ/zOc7B/b0SpSDCRzrax+ntyMTY1RrZ/9IXo/
G+a6aW7N8Qxc/te4f2/9H0bxe38C+zL1hxbjlx5GSBLhdZgNWbmWLA/VFsw2g+Z+MH3zdjTDFCke
OCJIrHar3Mvqg631xadgPMnqa297xISnMlKEkS0NY2KDFG1UGK81O0aWb770mTXc2J2VLFAzMF4z
s063qRenGxnFNPC9k9Gb4tC0rtKQ5CzNJdMr7TUomFDgw2Ohk3qoNMVdjrO0ujqxxjEmVMLLylRf
9eHQTCb7N/pQHLSoHde8nYJjEyTFnRmgoRQOVvotxAh6YjL1JiOA+tQb3VBv5dbpiC4vOd04uZhT
yDoj2xmhVT5IKQeQmnhd4l2eT6ENxGOA4qFGWn1T59ZazozlJFr/p+rCgJNFwK5rco03lcnktBv8
Fu/gmBcCGp43l6JwEXByoiHYW9j43FlZZd/lhmauWiAX67TXKc4Hvbe6nY/ADugOijIOEDaqwiAL
E1cxZtilexlZRmBSMhxbo34e6/pumFq8gmZ99xJJSfzTerHuZ314tNTts1vGj1fxd7spL/FSHl5X
lHERx5AixkRJZ5kEtg+rXl0p5qCsZFE21Hgq3KIaJGvkIUemZ49g+vNV5aMQgg1CWfZrNk2bOOs3
v1DlKqG+itwfVOh1ILzWXltZSH1X1lb6zemt/2vx2ipnDQCG3lsH28wPikNmY9xmfP23RYP5uFOL
+zIZ4DgHzDb0EHvRT47Hrgesq2jhT1Xyufg4c4aOOgEqciBNew7vJeFD1fpgFWWTjrGmV51DIVJo
QLb39T/aVUOtzpXD5sLf2xFpekUBnsRcEKA7ruaIjfHr6Kzm8N9Oq538PWxNbWA0ZdPi+vN8dHD7
vt+NeSBWge8s06KO2I2JizUehN1R4W//1sxZycgL/4gQBRu8HkuvpK0u3KVytuGQjCXQYcEqIU+z
vlCbWiPSbj7iVKHE8OISbXl5F8rXIIaj7gFj9aUsycOFyihfpjWZ0QW30E/LLpo7dGIKwDtsDukh
xihYEdU3sgGCc76Qu0AZsj2XhpzU/V1sCDy37Np9QaMR9Uf1vbEn//DLcH/0Ag2JGshfPud6AbJH
oLnvFyA/R15AZE6HmVscbyaS8a+D2o0kixyvWg1D25470pBKrr25jmqjCBWj3DXbzinmX6v1fh94
Qn0rwEquEXtxjWARZsyTSm76nZezhFUK6CE1Dsz8TKX/3XU2vZeK776RaQtzqJsHt9DfQ7NwQBxe
HfBtyZ21gyXyKRxQxzRc099ofqk9sX7IF93gmD/QGJoJRz30lIWVmN5TP/fpjCg/NXEQnFo9idaG
8lT7OU72fl97mwnJIKD1vXIO+aVhY3N2PSTtojBz44wTGnmbhO0/ZntRTOJMdcfNX7vVuPLmeVEt
5Hjj2ChrM0mQp5EKS/NBSi+hpzEbBlc+MsnFcKmTIUo/OdtJcd/kn5LfiOmkLeRfmKzISKcxIfug
qMoWGVUv+rC2VgWrD3+e+oXzgWX+c11Gyh4TM7TUHcfXF6iaoSWS6OOpTFXSI6VrvHZe76ynWmPW
anfGqx2xF46VeXirTWb0Uhg/dFGar9dOie9ld3EaoV7hYeqHeO6DXB1VYa4ugyqpdnItVHhjcxgb
eF/m1LOH/xHcjl2016xaXXnui9NY1XfFaHgkobXwiNs0boZulh7DKY3PvtrwEtPH6IW94R9yA1yP
Ln06W6VPzZaoX2i4KyNYNYYrNpEuFl95AhoHKt2r5Zn2DtGF8PJ3W3nv9R7YwV3xUT/Hsw9jvxpz
/O/113FkvV7BMAzN8F6zXJOdl6hE/TdCYQQn+EtRPpvHHh1E2SqL19ZL8P/a1+sY+Y/gj2Izt3ZM
FS3HKlGJdsOtnKdpyEGfB9t+gBX1PvNDr/9H7vbh6RLg2hmedvq4lMXLBNE+IyMyXGaLU5dUEA+w
U5dtcsAg8h9lSfQ1YCzPAN/ftupCi/ToezN9C2LL+4HB3TcIx+VLn7ND3CZJcYabHxw91Go2YVBW
j7/1kTft3Gey3fKlnftYYVec2TEJjiwSjA3PtvJR+/gcNbwwC3//HKPA/SXoLbDZM6UecYzyVEXm
83UZVUJdXTl1KX5ZWvmlcuyEZl+WVr93kuOMo3BW2sTM4TpQpCBbP3eSVf/ayY6CL0DN6xtVM4zt
JKBHshdvvWj8ma804QPMyEvrRTjMN4ypm06yGHnlKWvEeF8oTfzSFhvZJ+uC9i5KuwcZY3RCPU41
+56yUY6PYTnUgt/HD+FNIDorF9puoy/9Kqg2PumMp8CP2gUua8r31N/LXyHhuUtCRR3BwzOnDI3a
OHlhNh5lpyDEAkd2Aj6bbfTUSN4Z/0xp7a1Sea/XSY87i59d5AHavmsPGEneAbLVXSv9ISp20vLA
SZ9YFuabKhj0Yx4k00kkrrrG57p5bhJ+TZkj+6eTpk+zKzfe5doRSLGylC8hZ2Ih4fTxIwq24Qx4
fq9PnPYZVPx7vYyXvn9zfAYE8eBzM8i5IGJNNzpkuhs58UPqrEK4jd1Y2Tj4UXfuLe1ZNsoqocU3
im2S2S5xfleSQFkaCBJh5BY//c0N8KMx0HGxDhpM2oIM9YxO1I8iS7CD9bz2xOveP2bZkGxF1o73
hmFg2+qV5lucDLd96Xs/VaEtNBZq37shLhbTyJfUQg9eR1Ed3KSFq+7ZQCt3bRpat+S1kIU08vE1
suzP7dz9aah75+cUVV/S1OxewygsVoqN3t3kxWyqGtO0n9oiutEnJ1ojKtI9O4AnF3Wkt98bnrPy
Gmpmu7hlaG9s+/TLMCt6lM+wVALHqhwsp+1PVZ5EG8TzukfbxzXZ0iIMa4JmG1S9+7Py9a0XC+UL
W/A2f+5p82gLL7p8A5CPgyOZmV+/gTKwLt+A7N7BDpXfgFMyp9Lmb0AhE7QOSz24Aduk7SdXL3d9
Ur8VWq+fBGxT9sxhv13WJs7fykbjipUjgpz02VQ8+cMT4kcJs+BfTgA6YlGemySs5xOa/Dhu7zO5
MKrBPG76INw4UuG21cUy5/44FyQmb6FysDiYBWxnu1/kYsxnu5ianVto8RZBOjRw6CkDyO3Rs26j
49RCxsu66XnKPgGcVF58a4xurVB8laVGae19x2+6lMXEi8TaccJsBlkChytwgG9QfT7KYhGY59y1
23s5YK59soxeAbJHAmMe0ISgchuJxjHW9QQlBGeEne+iYKeqob7Pai2BEOWKQ5/E4V5r8WvwzCjY
5bzNz7WKOLpZD/oNruHJph6SGMuetlpHXaPea2U3obmQpo844a3z2PvWFJNPqpRDXRTHsq2GG2Us
m6WoRm65WBNH0Xri2MPyC1ZAoJldjtbOmetkA6+qZuG4mnb0TJb2rWM6e+Gk9pOYClyCIX7V9p5b
SBzjgVwdJhDgnEQZHjW+SpUF1m0/ddozw79qTW1AEg41zLz0N7vLW8gUtAWe8qUhSdCzbbKr7Iiv
coxy/tbyMt3HVabcRU2LL0obb5HxSXd5rR0iWElHDdrAwhZwk9xKYC3jKT8mI/xpVPGAfWXn3rAo
UI0FqGOe5SaZx8DMrLugGEhT1loK9qY7k1nyNuFoAUciYX/IreDXwzSW/1Ec5jpfCdWU58HH6aVj
nJK2uo4Re0z/ENUF7DLilZLZd07LVkEjMM71xJtZmZ/0rlXuQyPMb+qQ6RSS1OKN6Trgx8kaz31B
YqL1/ae26sUbXodosTsNf4g4IL/6iBfLeORV1W3smtAW57Cs7tZ9F+QvAyIohyDoEC/O2QgUyfgt
9YdszX6Lv7pC36TEBdvR7w2o3EBtaqINCBvgqKwQ7+RhjDOgO639BeNrZ3+tL8c6219jcefGYwAg
9VKGgOP40g3s77ttjtTPH8HXUeaBZdyQ9pvWTkfkr313K6ppfBujo1xjBazwUb2guk39T0hdV7e1
KQqEE4zpBK7dKz4h4GUsLIQhDyieVesQbMxaQtpaZgIPEEHllos8yIBJabU1bneLTDPJxkdasuyB
fK6RHGW1LmWVrod57xNKapGvO9s9+2OlHRwpdJZOdbf1TOxNe+mS9GeZ75E7NgeXiV69zANgXUDy
MED9SZtxZPz5AqWci7IVQa36EiwxL5ooTqN0qk865xCWQfNq2yMkqCn95jQ9Os8Iqt6DsLb2OgjX
zUeEUvT6Ejpsv5eOq474qsKlxWkMNnwba9lGFaBGAlMNHmVdUON5HC70Ol1Cz62OcusaoVdWMUXc
H2Vdq/TDirVKt80Wpmj7z41WN1ulxXmr9/EZfxVzpSmmZquX9XslWpuD/x5aTuK99u2P/p6pWiek
9jpgUmdPTbJPoLSaQxiJFo8ZtXjrEQxdTJmArZYW7b2bssk2p6+r2CnXroii/TQX6Z2REbj01oRK
b6bD+PZ18Mt0gdZPOosZCKt+kIfSLhDRbGr8PT7qVPMhS5Xivp1FMv/oZLLARKbLhyYVxuZN2mdL
SD/2ieSkeSOreDUbN1OgcyMGar8E/wB6WlbKmCTPlzrQBvANibGyVBN7QSBOC4sfci//OH3DKM7C
6RHFIcclq64RSZb1iyhmJgoPMV4Ftdef2zpHRzhJ4pUUFJEHPyWVmuc8N+22mzZVqUyIBYRIcZKY
1fA5xTtZmw+sX5AfwTht0wNMqTxNnBB4QIBm6oF85BNiszOUT4L3MD+MN4OCDWksXb46d0IBK3Rw
GfRQze/TZuNWdr2vNX7nS53e5D27QL81i8L1jiF+eMvW9kALSUyQmaUD/H6nP5tmdzdZergXc5Ws
rxtlXKsysfa+wdG3qbrqGiCf/A1P1UkeMhHXx1J/ZXJWncAkolojT9nBLeFhoGlcVp22gGeunVVm
LM9C1CuZJgusrtuTU2Q/dNbGuYZ1IcsGwytt3tdD8VkYJvmZK9B2BHc7G0dkS7ODesQ6GByuhNu6
jWXC7Z8EuzGDaaQb4NbZUvhKvhk6BZXVaxlFH+zVPLd5b5eZpDI2P6m+MA/B0DunSmlOMunYzklH
1o/OiZXKqdUEGDPfSi9FmZGUYbLTHHEBpX2MIbvLMC5BxX27ntXMDXNZdGpwuXq9Kzux+QUyPDdb
lUfzDC3OTUhEKS7TGztVmoOueOsr/lICfyUw81rn9MjXNJF/QXKKmkzESrbKYHceRGWQP3rZXvZm
DlqzK1EWuCHRhBts7KChSwkbBSik8xl2gvlNaK4TzzDu5H88ZNq1zpTGWMmia7CiLsrB/orWlH+Y
aiRrYifc5TmLH26PyN4ORl6fxvMl9eXm6lNdjMn+UrygHkRk7EYwL6YS4JjexcHi8ud/wbj21lcv
jsT+UsdTpNi3aH1ApeC2iWczRdeLzI28gcA4f81MgW343CgPclDZQekm3pKyEp2ar/3sj1f16HLe
KHUjQHLnA7vhVsjiWI3V7V/LIJajlaZM3OJqPJ5MU+lYEyKoLVd2PqrGhfPDq5h8x1VgPnVBiu+q
QpKjVvwU29XJXbP2sCGf0kfu/QB+ruNhaULnRJoSrIObBRP+k+ldMHtEXiERKlRh0UX+SQIkEEYg
FDsJJKM6vDQkkGI+jC1OgHP3jjuNRLY/RiRn49A/dohgw09gQ7kHG7W38X3ahkntPaZtO5su6eJ7
I8JlCqf4ayoi9RKrDsiX2IOGuLaNQFUY49whFVwsKfQyH0peHZcGX9MwSSa5UTmsn9BLH5/Q8TrL
ha3os2mFsYVyaIbue18ZHUbgiPvIZ5d8ZI1j6R1lscVpo/OqFGA1j7Jr/d9ir3W6bZibSPO+Wui7
6H2ZHa+w/V9g/JfTOaYYp+wo0fp6h7OlMyrd2hiG+MazmPrIXFcANGozhgbibXPqCxOyYWFVTXsW
vJ5eLXL3ZMRf/+hUui9JYiEFOhU7f+qVX1/2H3W/yEF91EXzHuc10R0p5S/9ZX0MqXbx/quq6Dyo
vqd+tt3HANjmV6Zv5goA+HQE4Zrew3oCydfQYAzxl3Jw2kejcpgu4rmwBoerfVaHR9nemmW+ypvu
uYlMwCduqx2N2NSO8ux6+K91PZn6chHimoXLtGoiXvJb59ry+kNqiIXEQfusptaJG/BYmTHTA7no
czhkD7IkD7oV3qe4y1xg1H/Em37pYcOSPUiM9b/Gy4+T48/xU2OGiKboR7ObjWOB32wN1SmgWaEJ
hCUV8gqQEorZSy0c1ReTjYJXPYUs5tZBcmPbcXGY3BwWydxJDTxvYUr5A11bSjv6uZPRA/0bDP0/
OqUOCjmyk/yk/p9Olls8edhB+JZNhtRvl1UT1Q88llJU3Uv3NMCc3Zu92u3aKTFvRALzkk3A8ako
Wh0UpdZ+EWNwyitX4F+n3weirH+qhUDX+p8R9bSrH+IQRXXNnNxTE1XNyghd3NEwRrJb9Gx77Aoh
S1Ks+zg9Zr1Ohicv2OAuO2cZKFN+L4MFkMfVOAenGp6tY1pZ/Oy8O6qtyMWx0Yv80R6U8bZ2mOr6
Mzq2NxzBBt7/4ezLlhvXlWW/iBEEZ75SAzVZkm15aL8w7B7AeSY4fP1JFL2kbq/e+95zXhhEoQCp
2xQIVFVminADnm28+Ed3j0Uwn91iHGa9Vm4I/uJGsyWGOuI4DzcazstNMgYBXvlhXN5VpL80csWr
RNeeNHCQgrEUzTg325Opihq6A119roxf7bOL1+6vqgBEuHbN5w4s6Eun7Nxj1jrRNlZTE3VcenlS
FatdxgbkbG2oOkI7E0Jhl0S1ul+BZv82NmzaA69S+65G9RaKX8CfF5TNuwg19pNzHFTpDzIWODYo
efyha8XgtaGTPPFatbDhQU23SJ1kYyF4iYiEJg6hkou1Y4Cv4c8pQQzAfk6Sqz+D4pgOFj3figR2
SV1rqAe6NPKuNYNFioPuTjHsETQbUcTmXkD6l9pU4REWAnKNyyFX3nLBt2MQr4xgRE22YFJi04be
cqkUBxzCzGdHyY/Y6Gf3UBgdnqMnV/rwNLfOVVKcaUScMehZgsDWoxEVlK78HhX8K+plMcgrgVYs
NtTLtEDzSpOhckHOpKeIUfIBNYWuBq2fip1cHK+gaDBEH5WrnKFBnz31WWgCzlpYa0cxtVej65fk
IHIWLofGcA+pHBmBe8hTIzX8AKH7fdgJsDE2brwLK9P4MlyYUfShxEq4DKbur8Ppg28ju1xhzzKY
hNr/P1/HLhBMHtLQ0WYuR6yGyfDzEbIMDtDfAYhZ7eqcf9CLOUm0IvBohDD7daM17uq2QzHTDGW1
5jTvV272XotGD7FUviHITqxi7z5BPCQvw3YH7sFvtDegr0WfotmRb9YhjnfXzUA+FtESBULQ+ruW
VqqTAa0EhDzJjezaBKZVkHsG4OrSFpZa4uAV2so5rzN+D6bT18Lm9q6ULbJ3th4uBssZfWrSJW6w
DXGiSVnebIkhVB/oB76gmagjjxQHlUsIBF4/ARRO1hGQwgWZ6GPIn0HujSXqX7/M7UNK1/78MjjC
vn2eCIRVajjNQ1QYRXvQG6bb22WSIsMBMDd+ogbPTLaok+w3t5vNZeJnZ/UmSlQD664zzlaF/yRH
XlI70OcLFitlESIfvSRbpwcKAIJyQCbuydRUebosAVH2ha5HW7yfw1XsupBccIHwC5MsPRrgw4QY
hzPbb26ZC8RWpPbWDjrfYm11YbbVeTtcMnO4UKRWCQpor49Gdra7qDsgQYyzn4zU8igFir9pv9FI
Q44MeowKk1OR9vd4eWGRM1EiEIufTqTGHtT6lCfkRZSla7Q4x8pYuobSoY0hHAVEfg04TZsyfe0s
9gxOThqNcEf305KjHda+I6Za1PkyEXZxKi3V3DU2Hma3z/NLAeODU72VsWY1C9Slfi/GyT4kiZ1d
6qxNVqNT92tqAjlp7hjim16rd+hlwG0kTEP0gzv1ytQHDRqree8uLZ4DlhBEaxNQSgW7WuQ8WVVv
J0RPsfhJbx4jVYTsswkOJGMwDhk23bkkZysGIDDz1IkgJhqFd2SDZkDL/VsPio+AG5gc0CSrqXNf
9/YDFTEJE5VQauSMaypxipT6Wzgp9pmHFpZxeMXMuYAewX4rHNeKoOczCPYYx0hcYL0Fk+xwEaWN
yKxm4e8/EmPcfF9G4qIhBr5pQsHvkhJomNa22CqC2NQcWFDKZtjpDGw2zoiiQgo2UO/cYZo7atFl
dqEOF1tELQI1pERy/Ib4+GtbLccKXBzjM/XeLqoMLoTNEK7wlVHEag/RDtn115Q0wMmGVQ2UXW0+
riYpNZ7wHrl5aEGC16XWD2Qjv6kq57FMuk1jHC5UkNf7nJnVBlSOJriigB6ZL1VY/2YjRImtDBWS
87mJ/wGoRoQZx9GUtBZ0hReyyrpYE+zPqPrehPRv+mlkjUCUYMK71OvAtbZKSGp8Xi5yWjS+Lh20
OqQBXw6ta29n/wpMt3uwKbbLceTW0g6G6cyxx54qFj1pjV5dXMNPh7roF0hQATM8ufd4QsKnsEmf
mZZ1R2phE4JKjDas99SsbWCGUXfNNtTMHaC2WtFB2IkV0ZOUOPQDM+uXXDZ7Y6p2o6GAIUtO7OR9
cafz/id9BXuyx7NhK1vqA1NULb9QTF+oiiHylUvCRi3ULnMUtCqx19KhwOtXrhk/zBcFRaGuEEdq
gQwFGZik2FPLntLkAfxMrR+B9W5xG5T0OJn/p4mURTp2QMaGhfuiOisKEYH6NtzHMbcXBKuyVa2B
vpzlzl6ohI3t2p+LC4uoVbZFlSDd3xvt4ctdASmKf9k01m5LAyxfasPsNa/z8mjnzuede72j3qkP
X+sYzJVUSM77rvEy1awPFDDWLcCj8AuGvJCMLlNvKJsUXabeznCq5ZyDKkZrQ2UwutvwfWoMKzAU
IvpNNiqcoTuUMPE96HiXWmgbJ4rcd9GAekzkCpZ2VyFzPQQyxF+aeOFAJ7a9pg5EpKjLHFC8lUng
R2B0NqaVQ4VRRrIoSINS/WITqPXvtiJpE9+NL0hqVhD3AnQPuvDQdVfcRyUT3d6UdiRFxoNbpDpq
xaAEzfURBe6IYo7DWGD7OLAHBslo5KlAs3z1sAYwtymoq/+vXiARddc2s4qtknbjJrZidxHVI98o
SvN2+4+h/51bRdHVAz+XZA3BuHduTapX9rb7oqS96hlhGbyEGe5yafvSe/NDPHaJMoD0wCRWoLWz
+xbYjpOZq/qTaUUge+mNE1GAcjv50hcy/I3+Mu7qWbdJfRSm83a10LzXT7mO/cunXD/zz09hLfBj
OvKrPnfBwOmC//M97seFkPoRWHRTJKbd9DLUkjoY7Dy7fOqGE/lqw2C9d9qAUiDPxRn/hxaP/3Lv
G/PT/W9TIykFEKtZgrChBht1O3WzaLMbTOtE6fpnS5u0bSZARUi8m07CZjv5h13brZyUDU8jyM4j
FMmZDggDgsKxPezppwebGaANakS/C0EBeldpIPCwrCJ5cRz1dRaAwaDMASabBrHKmVAysudOBTGC
f3CViIz3RxXvOI903yCk/A9KUx48+6jwWeuAP57gCW3X2AuKYCVO+Gr3NttSUIsuKCUZjoGmrRtU
UO1p8027clCj2b4jBgBPruFF6rXC9kS+ZAfVRLvK3EwsHQRSwU1uucvbjzG42m6xYvr5kp8ZK8lG
V7QBDCYI2uZ2EB/0KUkPAqjoFWLe1qWsgC6h0OGDhej7T9NBdTp0LsyLJoc0LYsPSdSlB1CCcy9r
Ue2jJpUzLpqqGz7V6nJrpQsQifS1e8banYJS9CrHQHddz4AbRy9I9Ye71oTEB+isXlAIeFZL3f0u
bxxnyr5BkWdRAW+J7IY+LiaZx7xdABpcFknC7m6mwe6K9Sh9kTJFiDaBOtuYxPWSOKLdOk7u6i5e
0t+BTLzP+rsawfMc/9BlHla2T/DQHuVqc7OSxEPU26iR7VOTem/NSYGaJku/x2oyvaGIuvECoHvO
U46QCrbJlldUEJQHU8jfO4oAa76LGtC7NguruZBGtXi4ZSlqZqmmlw9W+QgynluBbxoz14O2EdtS
STD5i5KNntoOHHX1Ug6qRH3SodLaFe1QEDVLV33qmpvCdS88LJ0PtTP/cmPoTrItwW+9QHyjPdei
XCbDIDc2uVRP1SNlTYlHFKu05xa9oAjsFl3fFlIoGOsddg5lmD3RC81CgsXO06d/eupRvTWoh150
ApA92RMX1puWd8WOEpgW1G9WGviSFtScL6rarOdkEvTYAQNJowVXURkyNpGxAawoncsWsatZQKLA
WVutO838Drmwq7WqI4VOpfhVLX+EOGph+ajXENCdnuspUbestMRKlNH45lbgM7EnCLNbDHRArfVi
8TG4aGKyfFtziw2rRX5J0u7DiqP8+9UBqlIgIXBt7P+WkHtNDn0n3+t0W+kqgFUIPx6oebPpAEfu
MWAk3zqN023RWxeIF4N9eWD1owpxb4gg8AEnM1Gcmwx4EA66QhDiAGAqK4JvvkzY4HzJom/IzOMk
wPvvldsUmy+5F8rCCDZ+F2D6xTa3DBfYxwLnIFM0N1/p0cjhN7tZO/u01asd5XCu89OENJBcE6xw
n/nvRIvXPaB83xMe30PcV//e8vT+avn3DQrcxCoEw8p2AAh4kfOhOxtQ9Nq6rjn6ocKSR9SxASoo
aSls8Y5cc/T95jrkQPBljuqi0CwAsrXDO/O6q1FQdbKacs3B4oAl5dbBO9cbe6M+ToGmbuwQlEhj
Hg4oANERHZk0eweeuPWtroA6e+kxCl3dfkbO4zRSQMD/M+Stc6SdFn0MKLX6FcqNkOgtcqW4elSa
297NqJF5W/eZJEX9BwPWSNP9vhs5IK21+Shcu7p3ewMs5QBbkslKu8orgdXZl9KDBqBQjS9zOwpk
rBcpKNZMfK2nZYOXNqiU4iTNFlMa1etINiGfbuxiyFMACdHpVX1MJvvF0DLIbKcqtGqs9hsUXYfl
5MbmnY5I3H5MUSmu2n31LF2zmk/vMwA5cQxwgckqBRMJ8k0x8XRBTbo4jXnUQM5zR+sH6s2gMd79
oFAqXcoOAu9OabpA8xbxIQJYapUlqkdHsUoi/IeqHU/SFKB6CPomgq1pZbFGHUGrkN/TomOjYBG1
Usr52mc57LdWg9fvCngnlOTKXHMfJxWYAvrXWy6a7NQcoBDQzn7UvjpXZhL4qeU8irj2Ka4P3vRT
VsYcYH2egnWgqU4mgyh2DzrCjeng27EQMfgYOIr3Wm19iusbRnIqWcwvQacv6ckKrAnwEz436OH6
8sANSpncTekSu3+9ewaXsbufU+8y405pd2rSpWS6F/dhMHsAwbhV+kbx66Jp7sNMbXHqUle0HAY8
xE5cm8C+L/f2VQO51Gwwhk9mFHuoZNFS/0fbtEDNNzLJlNLazYyfpFXayZM7bBXAHCxzTjxC6tTT
lXS2zU3UUwQLrMaNbp3BjwlFVqozqjPU+qhAQ2xuv804hbJ6w4yn249JZ3YIKkSkqGxcUczv1UA7
J57LtbkJnmQ0YZ9vRPp5M6SeE4Fkb4QGO95TubNVbdNdZUOhvoXgGZAx3LIEQwHg7+re6of03ipR
f0vB3TEN3iCw0T/aUPmZByqZNcmBkAA8t6ouvCq1uE8POGiEqrPlimUMBZ4CBFU6aJdlbzUkYOky
U5TGCaS1u6jdEX5vXgRGs+GgbQaN1uCary4gMEei2FJr51WRrWAarO04jaXX9UHng94CaZRrKVBg
TGs1M9UT/eTIw+bgjWrrqIfamqYjqRL3Eud4Y6+i9D3kDnZQ9hNbyu9rN5qmqFJ3uRjDLSof6gPP
hsjXk+SdxSjzW5KtrJ2u9ehWxfJ5CFL4qFr2jprnyvtcz6wiFfvb6bOIahupDbxubusv+GaKI5c8
H9e1ugY/va8Hse4JHFNA+FtP3q1Sh4pyqBnhGS9NS9+RiSp2yA6FwmCtKEBHUQd0BtodSpz2//E9
HGB/1PMDOLMBcabXM72t5zbd2k0vUF4H2Jdts71ZIea5cAeV38mmTU2jDvjdmKt/byIG7uJPEX3P
JgUFVlRHVumIGsomrVk8DM25OUcJrk3qra/OX8ZWWg3ypcDUfaqHinn9pmsMwogWKqaahoO6GakZ
HJmgKQU8Q7bOhm4E+xR6qVxKFcU8oIQMUc6h65dgUdsCNumscFwf3io3WyoiES+TlsSYCJFkwmxL
e4A89guT9j/9yV4YTbzlWYpwjKGPNE8aVZnfEZ7T1sU7LVe31Uuz80XU1Pq8cN3sA5ApiL0Pu1vg
zsia2JtKJdiSjd4WU17GnmppwXaShCwd+PDOobO4mWcSGWozOXTsQvwZv0yVKqkfiH7Y0Q8EX1Uq
uSf3dakjgEs2ugjocK06e/IHB3jFLyRhNm+SDdfTwss7Xp9eagkZ6s30m2Xa6blCwuQCzM7SqiP9
BYJL4x7iueUikDijoQwgYRvHCEH+MYhBInPdOAai4ZFd32spisAKSFpsqEmvUrKBHIxt0iFr7m+2
TAMfMc8h08z6lPv0AAE80K6cMVDml+mtWSrgtlHwD1i2CMX4XWEOSwMkK5c8150721UuvAf0DmDE
YMELNt0LqfyqWSzw0rB2tuRblE3u2+40LKnXqk31UDcfTBlf6GlOG2EcZYse9WuL+sAEbRyNms2e
1LLQorc8ecq+W+s6Z5IEUABuY3VNEffbhaLwOoQokJZGCJE65pg4opSQxnaa05Dxei/kpYv16reL
BuWWPeptXM82caa89VIHNVHBHfkyA51YWrd3A6Xb092tWSqgNocG6z/dmdrHn+wteJGuxSTV4rXp
4gSReklVDlLi2jiRaUxHG0dsJNioyUB7uIqEka+pmZfGN4HgojcoRf0qLOsUczd/SHIkPC1WvHCm
1a/NaKT+GDQ9CgHhpabFz0qk7qnFsviYa9UuUOEVhaiZwgE/AzleYNxnnebu3QkIktI6QSAOkUNC
+epg7YSGN3K+snnrsKcFsAHWyQ1z7k8qnq1i5Ch91tqP2zudFv0avzovzxjifdeN+NV33rT3o0dF
hGqVSJDPr9tKMLOR0bLh1Hp16NyfKFT3SnB7nS1JdwmqL/B8gpZzxUaGF7AGXofBHB6UuqzvgiB8
TrMofcns6WRD3/CeCd484RGTx4bkBWi68hhBpQp1PDmaIYgYk9TWltSMVVVdpn1ibSReb1+gQs4D
jnbaZ/JCd0kWQaMeBWJfOyYHJcB0Ucpumu+gHN6gxCUzzJ0ePzK8Zu4mFrJ1Cr44cLGk0V1XWagd
pR5AsnAbNnaFeC+SM2l7rPP8IGVSD47MzgKNNJyFbeig4+HhKqni4UwdkYkFtW3yE3mQiTptA1UV
hYq3VzplARLlUQSgjKEtqZec4xxskJFmeqADWRs2RwlDWJc4c6QlNGjQbAtAU5iVhD41kanEzlPL
x4Mme5kYVkrP7Me8tfMH1yz35GX+OQfLOj81y86zca58GaPqjRKADESzKPv/VSbNL+bG0zPSTBrI
kTkYlLQQrLAo/96o+SROeggQ3nUw5R6h+jvkCZK4vI0PogFLlIkEXY5N1xOLJ/4wYQfSMNY82Z1u
P7rDT+oiS+t4EX7DF7JMVrqAxskD/ribpirby1CBbqwO4+hV6Eh5NX3APwrdPDHdLn8BWbxgQzmA
TxnKEyh1CLH/aLCXbqzvlVG+1yhu+Waa+gnidbvMTNpXnLe0pTJVYou9Vvsaov69tGr7Athmf7Ql
LSjmbF9zFKuvwKZebWiUY4GXpWDhY4Qi6rNa8x+8bPsn1gFAzMfyrrPT6g4INtcozYPt2iVWbVzM
6x15jZpIsG8AQO1LBw2nEW4YJ9uw1Y9/G3+zIev2EFZM25Dp9hXojmyAxQJhIA5lEzSjhw3peJf2
WQv5vAYZYaUikCywmLIDCNjpjmxp2DRebdnTus01qCPfHMmnjxxfSV9UyOueaOtcdCrk50wxt8Sg
PVAfbaRl69YnPf8cN8pZrp5/GVfLmGBcj38bV+lNuHXL0Frw1HjrQYN/15uIsyV1W4OxGrwpZWOb
IFkacARVRbaeewE62jRuDeImJbcuY+haB9QfceB14Ry1+nSP7diKfMkEpNAiKIL+YZ5Ns/4fH5Vm
ZbamkclfPmooux+8XfGGRz9wkDnRDWSyESkYwh+Fpc+Wa9f1RvqQs/3PzbXrevPHcGC9jFWgWREC
sQ+WZei/3BKyMVlWveIrQgIYcrPnNDKzjQrOagkTRp2eUYYrYUHCp8H20htRNvwzzx6vo4PBKF+B
NfscnYkBOe+yChdVGQ9rpw1UD6c99VkZmb4BUkEsUVSGarostVfI0nCfmrHuTGCuAn0mNS2zi7wJ
4lPH2TlnPgS7pwcrlj+vQp4f1eca+eFzYgdn8hkHXh1kZRQEqTD///7jDJZExxFvJ3A/OtHKRU5l
yGr2HDHVPNRGyRfECRr3oFZC3VOOtIk9vAIT6gXgq57dNKMF86i098h0z25GWY7kdpvNuLophvF1
trI1hlPI1cdR8OhipAtjygRwY7gwUb6Y9mDeUQsMcRBnAVHwhppZ2hu+GgTFkpqlBUraQmMfbWJ1
F9tqossEZbh4+m0uDmDXb3OBkbLY6KXbQFtdx6v3yqoMuoZ+GbnpsPi6+R5zVG5RD3mjxMRr3Gx4
KfLso4GE1Lu8idk436T/3Fy7rjfkY1rFbdS163pz8ylavhmA3Nl0ISr8DDCYe6VWrcqyDb+j0gak
B0M9XmKObFYfTdMdglaojW2tdAOkuX0C/WsB6p+oeuFG+j1vIXnjNKt5npppT4nD1dew0kHIC/bU
szq0wld0Q9shy6wd8AsI19hztI8pogIewCPqu/wehoE9mcdZCSpSfI9aQ11gHirD1+8x8ghoPPk9
upgVSwR9q5c4jufv4YLDJu3UJyucYq8GCQSYjMaHIMvtO5Bh2Xd0F/X25x3CCjGEkfPW/9JBzjQ+
6fqH21C6E3ImukviFh9T51A+F7nmg6Qp3Ctj0WzVMQU7GrTTt0LakM5stnimP++KAD+TLki2SdxP
fj6V9j0PoUisayL7AM3WUkPU66cYgUJNW/5qF0qPkBz078xJBFtInEy+prjWPAioyd8GWbr1yG1l
kY2KugcMDudClU9egWziXPc5n7r+Md0OXQNeaFOkmncTyJvpBZIk+bAA14q+pbdSqGI3IpLM+K35
pbfqO2P7/zu2lVPdnGnmNEtfwP2gx+M2t5rGRzWCus+BZt5E1zsFElKzje5ANwB4wNX2f/RTYrvx
AcRO12OiZmdNkgCNcaNtlSxAZP6PI4Lr2r8afWwR3IedXHWURG8jl/9Qa7PdIeJde6Yj6iOKSopl
g7rzN8AxUFsirB+xW3wUSLI/lYPI18LG06Hl1qerUheza64J9s1ycIA1ql9dx9ljYHN1k9SO8NWh
65/MrrvMHM1wEKxhjwAhThvstfq/OPRyhjAyp3kGhoQwYO7NPAOYS37ZIGg6GUAS94rmYtM9mqcv
d3XmmqcB6be/9tIIIXtb6Xcba4TvNVPtfaGCrh4iI5c4HLtHpzwNnDnYOOnGo4Jo4DHvmLgIx9QW
tmGom1o43QVkxI2Pl+GwpN5pGNQDzkYg2pS9QRp0j6WCoDxmpUsyavNkRh5PZ2Us35vgLk0LoKod
kKIPGXujVs7SaKf03ELklynPIGIKQL6vhf7sq2TxAqcZsadeZchOua2l92NUuk9TcRzlGCCO5wmp
RRNmpm0uqFlCSWdlg8LB1xkrd6YhlLEHwyNEUZherSx7VN5DDZugMjfVe9CF6T6vuLV1+KAfLZF2
y8jI8te21R5oIZgwSE+Tz0GqkbD7Qg5C6bS1rcII8sVuNS26jtmL0YKQi9W+NrUS/ahMzfUmU4T3
gQmdoQ50r4j2J/wJ1Jkf5GG6xZ2KN/QLjihsBV6qbs9zSAs3cq6Y6V/migBB+m2u0QHFTo0Hekq9
YmAuELyIxsWokt5zEb9RWI5MrTONS60Ns/UtXgey9m3Jte74nwYBYrbDeQT8CRpCjhEKKB8GQ4kf
WMDfwrYCFFWaoBoEKuf+hbrIIiNvWx4hY32zJSWSuf91nrbL3HMZz/McdGhX9SC67HFozPsAlIOU
xzChiofXSpsiNMOgq35LblCPWuTpGuWdn0k3xDKNHsC/BOtvoqafuTeaTRPxGlVsHUqCI/at6VCu
mGmvYCacUD1kxqtCmvvYfNLMoXxA4Lw4trGte7Yyqd8Ksy8XusvdQ6hbLn74iN5KeycgnWwNSb/5
Y1Y+5dO21pTPWRnS3Ono/j5rXasgCq5t7qMeO1jg2bZ2dekOrxnoQHp3fHHNFolfMJoscsMYXwWS
xH96qQg5bdMMcivQk3dPRhcnpwDhQIe7J92s3ROUCd0TQvexr5eT633pyFHb5E21m2xuHQokLK9z
kJmmRvw69qtcdz0LKbRlr5YRZElQ1zOZ8bTKnXxCNHZlB03wlidYz3mrlFvkzOKnrOjBHYB+ZMRr
yPIl8dGG5svJyUBalwCB9h4oAjVOtfJYQvByp4G+YZ6wQIRxCNy3aGS/T1jW3QnJgvgEcbQJWOFy
NWZxcynVcjinpoYdtkC0FOyuG1NPAU6RTfwQWugGGuWegqbXQSN4mc6o6fx9EGJAy7Y4U+SxQR0n
1BnBqB8PRXYRMbMfGCrVhQxhCif6Dm4k+0Cu4BpPENFl/ZpcbyM1Gf3kaWk/GPEb9dlRp/m6iS9n
mN+NIddeyro1dgI50hn7bGSQzFLTsAClaefe6337TJhoIPpletM1UGfYV99U+4NGZ5lm7DKBUgvy
ygXyNa1dFycz1KstzoiZ/FF1kHJveC+WeWFFPk9U81EHeGU/FCIEPhhgmxmAk7E1QpIVuBcl/uY6
oJls4zF2EmUewAMrOprl+KSiBvBOGZA7p4d0yoW17EuostOjPOjIuUKtdHZT01L1oNM7vpKbBU36
jZPkHu10rI4ZXmhHzZ62J1ilDS9V+3p/6x3xUP/WpF46WRtyLPV+GWtB/PNRx48pS70YBQ2LToVi
I81YxmW8oyZN0ajDZ5OmuDUbmVe7Nf/72KGyo0UPMPgx7JSfDY6hT9DX6RFvZWwXKqZ5nACPWtah
Y75ZmbpqcsX8IV0hfxE+8QqurnRVHBwyocAlvJorwODXXfAsWuO7xQz1Vw8CJhyD22L6sEaWvORM
RcYw0NJTXCXYtNm2suGqzk+5ViJX889Y6Mmov6ZFFRvGLwhcfUy9Ox3juOg8Zlk93ljG+MNRsapj
Fwx2zl9dVblP3VC2q9DqlAOCKNU+xoO3Zq2rPdKYQY4xy3OOpYnGtIXuoh54chepOsyHysaw/cZU
isuYZ9qxkI82HTYRzq1Wiq2xWdRGuoXN9Lsb1sdlZ0fpYxt0gw8tRsWfbFT3qU2y74M2/OCVWS7M
EVt0cDYGd8OYjQvqYKjBjgDYevlPIwGYLRci6yz51D4NUh2lNRJ/QvTqTK1MZh+w5cfiLEGBBrLc
hyFGeIV6hRyQ8ezrALNquN8I7YmXmQLmN3DmdlCiiVlVrYE2HzYFePtfuT7M9ipJqnUwReNsDxGl
mnNj0v6nfwy08GpChBZy3GVZHLHKvgPlBUZUJuLpsS4QbXd127qzmpEdtRDB65xk0hJtb2pD/RyA
X3ozNVBWr8FU+5KgZJv+q/7jSMDE8SaJ+FrNNc3yJzYw30my0sOqWjzppQnkj56yO6yv0S6jP18Q
q2cXYecFF00A/Jk6x2tAtI5Mrzn8mOoSGeiO5U+mHF6Z4nN4rPSoZIwFnr7MabwkKGdi5ySt71On
tx9RLdzvq6AsZQ3w8Gan7b065AieJ93jZFr9XSDrBaEKEWcXV9cenKgtvXhspzUz8wSvTiAqZRYx
ahA/y0qhbchejFgY/2KX/vSXmCz26W+DX9hrwf20JBSnOkKutlFNAIQJNGobSHGD4Hw5A0AVpQRm
TFvjvYb1hpzNogdlgnxwwCMa+QAHVgszDb6Dqi31Z+hg6kC7SBUs9Sn7Rnm4m+23U6OGopBIdYpV
q4CgQR6I6ACVFJmxA9PthY5HGUtA62BOQe25EBTbkJGcr37UatMA/P29VW/SwNGPkY1HBogM32pz
FHdLE3MEOC0aNVAATeiLNRmNa3c+IYstkJqd/cD+Ye2RiwJ/owiOVdYJD2zIlT8qfHSXwghCXwh9
8kQZSjBMO+rH5JtlJwFEB6SlkSOCEiPmdoUHzh/kCHIy5awx4l18POSGCxKGaKhLZEJ4tk4LDvbG
kIfskEgKxwTlK4eMOLbBZAunakrXWoKzEAPE8RF0FK8gfTfBuRT1j1k54gnX82BBnXQ5IaH66RwF
ibLoe4jtUY9Qe/tg5P0rtYByn6cThWaiQhaT03T51ASLHmwK5eItVgdQFQCksgxGhCt8RWl/9kM/
4oSqD4Xfx/pbaha1V+ZFvzWx2zx3hQJEUpzYHz0CK4qZg8IT/GrAQwzVY1BUwidfaMV8+iIxZpEv
QNbZqi/H5pQn2iISSoNsQgWOVQtltp60SWGRr3dzL1Bm+AHLEf/dT/bmqAAH/DcFvYWUEGU19hcd
SJIB9Boqffn2CHabaqfqYDA0JBEtXUbtQ++05oEaUQkmcLez242QxMHgyKx2Eyo7Z3+y9Z/+2Ljg
x6ODUBEhpu6rPypW8FP7ty/NTR9F3wUxNtRLa6zc16prgaSdC7/QUmvPDTdezss177HguN1jEk/m
HixWYFaRy3hlt7Od/P9iZ41j7gE6Xlsl0Ni0vMYBdOWCLvmmZSoUGPB+2EK4wLzYSfxIDokJeQWI
IfBzarjTQc/BXVDKlTszGPSRw3+NRJ3vYwOJsNJKhlU4msUC+e36ni5G1nX+zaaYEGHBJqvzx5IV
iwG7OVmwIH3q6s1sQLOQj5VxjLgw7uxKUReIRYUfKGT1wyAfX8DS1/pdHyabxCzK57CJDuTQpBVK
LSL2ORL1WOqik2VQldn7CfSuXipUya4jA1xfeXHiQVUv2snKviud4QWsMt541YPeKgGaxrCc/MTV
qV5oErYhPUTYgB2wYNGKag+p4rDowDQI/todmagw8WoXKILZgVIFBcxCDaBF9o8vuZGJ7q72vG1A
c3S1tUyttl3egBB8MbBmn6YgtwElbfE/nH3Xctw60+0TsYokGG8nZ2kULd2wbG+bAHMA49P/C01Z
lGXvXd85N1ME0N2cwCEBdK+1DhEHRUvnBUfTLoIjc2K3WiDpZFeLj8e/m5I32dNRGlvFBpBPPGi4
ldxIyR5oCkmt9rdWkxrTGDgVUrKkqainWmosAfnL2qw81JOqCo2Bo1CbAXC9mp8MEfR4pj6fdiHJ
pgwGC0wXOoruZp/PbYVTz51W3GqgwLmzBOQ/zcADbaVtRnf0AjnopZuxAHop6GpB1QE9Yf2eWuQk
MgHEuFZnq7nvPwONZm7fRAIk9eoRZmMv1AJV5YUeVPRAS8eYrSMPdH1kMQ/8bkuDorTMtaZbGkp0
f20m/h6XWlSI0DdQSwZO7S3uHNyx+gXzdLZ5uxw0YdVr+r2ytPuCEnj9QqsF5Ey+6D4kt+kXUmOg
E3wbqyqUSaix/w8/Hzq7u7TD1nKhhfdagHtJFxTgTzRMlNPn3vfUaHTUzDB+r2o1Nm2L5ZZ0B+sm
bkBWiuWZDSVPHgLL1mo3PI/KFaZO/JUVUJ9Wim5OXn+Fegt7lEaTbKxci4+x62cXMvVt+4MpM4uv
ft1jNzRGajrXRxMs/2C5K9SKWo7YbTO5wHRSNQcHua+8sLyLFzTFk8hfaKHNS988CebYC2rmfv7R
yQq/2vljY7qgKu9A9oNqZIls2dDd9EGyBuCkvqOXOIUEi28CEy51jjq0AJSOC0A2AAFXHrbndTeO
H08eeBZF19J7ieJa7IoCK9/QVsJ8gT4KsBvUPuYxTg2+avnsQ6oAkii2jkpQ0Id7Vd8vtHjsb5oh
/TgAnC2uisHvbhqUwH32cKq8h66jiz0kv9pypXvFzPqEcifvRDflUlXOqi6hDd6J7snUr7oKZfV7
FzlOt+p3p6IDeMgFOSh45JBqXniK+3VwqxKE5FG9idgQnqnvw/BsA6kwMEXa3W6KOkCgZ5uFYO17
O4vBnakddwW+KQjyvLV9SKxse192W8mhAtIqxAB2gRfuKPJvWowHcelL92aAvPVe05IU05Heubdc
1P1air6nAUqZbDvTAQuyaT6brLbjc8A1hvRsFu09C9UmndJfKN2yW1iuG19sB2gTkbtrwjBrPnsz
oyaZNUYQr2PUay9xPWxD4bQ/gU3dQi2j+/ne8+fBbzZ5GYmFk5dyozEUT4O5GKUbgIfcOq5AyUqO
eRk1C8Vjj+1d+6jsqIsbdno79Stbox1AO5tDc6A9jXkx3sm29JaQvY73hhKjoSZ+wI/NkFvx3uQ6
sC/KmP1u3IZxtk7LSnAg0jr3FRLqFsRxoMgFmevXFiBmXMmaEnJRwl1B8NYHMjdAafL8vpO4krHf
3V3LwhXYCh+AcUogcemA2BSgvfT7bNFaA/DO2DvwuSaxZELucOG6qHEH0/s+MSDhCj7a9DZUCDPA
WCBxxd142+iKMk4v9cmORt1EW7TTU7RK9b2pSL7TLHafW1DtNgodkyoqcEv1u4o2PAMfeOAFw6tE
3m5jeCCu/0s/2Wd6uw3VbroV4NZQJL7zLJiLjIeCcuioRouF81z3ZbrO/E6H6mVsnMjUSC28ARuP
GZUGUqZlF4A1oUWFbx8/DGCfSR903Ua6CRchtBaHpdvz/hjHXfslgYAXyBCY5Kj+1THJEUo4hIxM
VvbHgTfZI0QsFqaVL4sCvLvgHzWWUE4CC4htaPukzMVWa0AFzUbFFpoz559328rLQaynbO1C4YeL
Vmx5Emyw0mxvgZl4s4dk44fYLpIbkz3F9lVssmUKffEeG+jFdOGj9pJzM1uhDFoD2U4o7ptW1reR
YmSjAvNE4bPCjmmYq4EYEmKw8tYqKmx8gIR35NMUaZ5ACWRT9h3Tn+d5mWkAKBtEWC/82mYDVO8+
G6AQAfAc2yVK0Ae7nv7ZcxVUGC1LKf7MFpaS9wEi2D9rWbWJfWPr8qJCKZ6lgVapwnRwcIsXo8WX
VUIa9zjkloAonrHCxnj5UqA4dQs6tWpDZiOkL8wE0Cdy53Zm4Q8EM6bcWcbf3NvYXCF5bVdaci8q
u33AKTYD0JJXgZLnB243Bu52JjvQoJ2lDNDHPtzQaBEm1aED/G7Ru3X70Leyu0UZ+o4GyaEPq41m
5vxKBiKu/ohmgMcL5G46Ntl6wDrU0mjkUQ/uU3D10GKF+pIIUlVe6d5SV9nr2apTDrQS8ly7O0Y5
yv1olWQ3nbPJ646V37D3xhcyT8MVVAGDHeF7h4q/NQnSS6MoMAp21JxHJzDwu69mhfqGgTdv3eQ9
/jx1c02BZDh0quWXqX8zdDq4gFG2GghA2UEBhb4G9fDrLB+bFTXJ+Hf/uf/dn7oC7DIuHEuAP6hO
s+UQ+cWJOUP1bPRXolwC95FxCNyKr4io6ZNVnl5FkiQA4yWlo6/1MSgPbt+BHg+/UngApP1C90y6
mUYWGICB3vLwZbXV2Ydy6NVoQHCOjdIcGCU7RPqw7//RIfkIwiMX4uGGsWkc3D9bgd2EyEmip8EQ
zcrzB37b+/G45TmY7TBrxePCSTVsNQXhNR86bemPvJhiouBx+CcerbeYhmt+iOn20H6ZfkUfj9o7
zvLvJfYaTrT/PvLa3PASMFbanR+i3oBgptjTbj51/Zt9hNXuUq9dZHpdxZCBDX56/FDLjvJb05ao
UOONR2P04Kqj9CxRNHQeneDJTiAR1yqcDx6NqCBvvae4AG+s/LOLDKy6qK9A2rxZGVi7LJUTxZGQ
JQHRZfOTTFV4ikWtv4Sn0747UwsLmWgdhMC7Yf0AnYQuvCsVmC2DjNsyH/1kR00/LseDF3vdgpq5
MvmLAwvNZIe9w+IGJQ177K0GNxl0N+b3k/io8d6DawO3hV9fAZmFTYi5Dj4q2f7u2YL7G7dSsOug
hlhX89DhUrTggGa1+wy+Cf2lQ84aIquYPllhXX7p2T3vMuSXwAi7A41PtNHALfUS+VBcMuz8ISoq
/C8EUJzU//8YVdPcZOVEmoFciGXGNViMQeiYl156soby5I+oAw4VqRT1Z257xSNDoowb/VNXloG8
FjxTq4AUL1Plqtg0yWR+AU0sGIqh9lxFuMvRpdTFsl/iGmDTlAh6M/0Sm5VsmgNRk6nRUU2YNDU6
G2uj1i13dWoC3jQ4Ljgt3XhSB6SmgEL5hyaNcmjZIk0hO/zt8O6RokpwjbBk7xIXFso7rI00chB6
qK+APrQFKfNLXpsLR/Qcaz7lYlpZso+ILGt2EQbEKZpqfHJC8M/3Jfi7ae/DBhGOjfXno1Y52Gw1
0xjb5UP0hZnamgxGx3GWWjBWZ/KEMI9Y1mrXJPaKyTM3hjdPt4+jL23AN7Tfko7aR0899/iyUtRk
7+ecPaE8NZ2TQv/N0x7c9DC2UJ+GHPpr2xnNQxyJGKuDWNvWtWc+8CJ7od2Y/zKgDZ3GwexURQDA
LAJpavUhwr8ZjE5rPjisePmLwe/vAemNY4wNYwCZwbDmmrp9kaDNB3/sgJSa6Pjj4IQ/UU3o/gM0
G7hjIud1rKCl9ck0t7zJ1FGrkndTiuqrqKZjG4dCBxfae1QyHcBwhGpq+5VM27i+tWIv2PZKjM5o
9ybuLE8oHWwusndTwHjAyAn2/2hbixq0v8oqrg3886HOfv7TyZIWdJQUb+ffnFoXKyWhQv46U1X0
zYWcKJbV4RL7dKbZqctw5Q7e0//q9OvtkVPz/pnmM7lIT6NOK8LPrFjcWigWnFHgtutccPE2rgVK
g8BN93ada6epiU3QDHNDT2zJhl7MGvwYTs2SJRORdUt9VtXG51a0u6rkTK4DVgCrGASn2UukUb5E
7hHEN0HCFh+eOUGmg1MpcDd0/50eOhW4YqlvWvmbygacmu5mvndTH9lAbkE9md7jUGwydN/jUNNp
nBtjLAXKZ2IkHeJR8INUzAJl0EaXnlWQ+oyckPqU6nbcIMebuY7TLLwepZV6iZ97YwxB+N0STBvu
oLIFyhhNrHLd87ZMlQkM3hiDC00rlxWT2UNhl7gbd9G2UyApsqhDDZrIwrtQK4+dP9x7N8I2uHLo
AmO4BS3BNgiDamNAqnRlGCXWuQ7wRLxJzAskB9/4MdoMJKh14vEVcWMQGUajIJUebDUJ27kfyBuI
yERcrDixAJExVr4gam2R4R3xcbAQ/BWvpLYWQQzPHzGZ5HV0R6uNacnhF+AttfGxQ7UCsWOzPvsZ
ZBJUi14gLgx9NmVBzTit63NQ8CkGLWpGLQkWked+tPB+WcwxWohF7Mnh9xhk4aj3QTFSSEig8BHq
ACTMjmU4hErD/AYcbPX19y6VQ7lWCmWurJoYJRfUItPfu94da2U1BpAJ0HnsbBpTtkfZx+3RAeCw
WNBh75otcKAacM2eLYDPGg2gP1UnDZPPZD4ZoVazCJYfusmMXKt2+MncBsSNQGcdy7wFfXFagLBP
g0z9McOvJKDNh+yeY4Xh+kMn2U9taNcsTZN5pQRDwBrF6+xiK6ZBtwc2SKuQIldd9JJg1cMWYOQJ
lzyqMig4qPbkoqydWNtMviqAJEZCshYgztu4c2ft6FPsyWb2mWN/OCEImp7qKZ3TtFWwskD5XTuD
+hJxmvntYaEkN0WZA4/3+wDYAoEahFeFHC52RN8/ojIjL/BTgemB4cbn6DEoXEHVb1gsWIyojNrb
CjzmhLY8D6F5pUHqAj4Id8UGG12zRQcLas0Wcwybt/KscWuyGGLPX0hQFR5bwcDOl8ePsVaKa+Am
V6YwUmbb1YcCKWIkJsf8uVCE0bJIrC2Ngp4D4LbK7c/UVDEycDA/FrqGekLEQGaoeLZUjBLEjstI
j7SHpla4aWSpM2HK3ZDyETkRNMPQAWtv/S0MfCThVI90Wn0RVW15oGZg+R/tUVxR33H3G5RyvEVn
5+PZSxpvG+pC7UQ70TNLtB2m5+KbB3g8dsBkdBl1Ji/CsZGUU/TRYwVVqyRkT5WVfvQMx3BPBoHy
RJ0HqNqnEh+/Y+2XgAfrUrEm14lxbWTTfIFcbLVirvRRRirMfQQu1K0f1u2VFw2UOsbM+toG3uxk
I+XwJddMIDZ1U9ty5LCMhDXOBgoUbO0PVb/wgQR076jN3fDI6jheNJxn3w3QagB01EMYKm02sem4
ew37o9cqsJoFC0E0pSx4A7xBXctmM+aDu+/83L0GmEdNFqabTBZzjNmi5qlz5+bh99io5QJ8O8WJ
lvDUDAH3/9AUqkkres6hHfJplHwnKjCAED6Pki+Uw9kjqOw/jhrmT722vimY/cWHCPBz0mxLlQQQ
I8/PBqALC2oWsis3BXSNtiSBOJZ2tvgvp6GJHFC/JWUttnkBfPSoiAEczOVPdEQv6o5x0Hi0NIlL
gEZZVHvGhkagoAbil7X0W2B18BCqqpt2HP2b1h6yRQCN2h2ArWiqPuwajRdm/KQe2wLUcOFEjbVx
XUDbcDMBP+TffMmcfG3jp63b7ORE3qYuqxr1dih4dnCnRFGIDcjfry46eu8nK3CsIF1JfSB3n2xn
B143Hvhg3/rJganYkepXsbO4EcsxhXgwyuk8KHYG3qnHerBduJbunfB3TndtYNxTi16gETa0i8mG
zMOCoZawqg8fhmdzCoscSgW8YmtApvQ9tq1OMBvSqWp7vJ9OkAzh+Os0k1FlrXX8noLt8dyJTyjL
wItTFPHqw6HoynWftiCpSALUvM6GytoiYgWyng7bvlrrdursP0Sgw4KC//4ifzNucw3w1tyF+LAm
oqMe6NHRDaroSM1osKId49We+qmLBunFVmaz7SdXGvjk9rdTzHY6NLvpZHPXfMZPrhA9TpASB7yL
JsVM5/beZyV2pNTsm17GcNRvvXWAlKVcYxvkhxRlsJ/Hgyb3VoUAIfI0Ox9y2/oQw1DTcdPJ9FuO
6bqazTe95x0NHl+9ot6MUTR8rTRoZPdeX15Rt41d9KIc9n4/8ButqiF2V+T6FyRjbqUSiVVOca/3
X9MCalxOk5bXADO5LS/hxHPunvLEh9RQAHITlN7tkVUEiS1I5RfI46ffHWzBQOW+fpotosCrRb8w
+8jcNhCeClKv2VpYOj0VPbYFKkgonqjpZtrR01r32kAh7rGX2QJyqtqTlZt4lmfjDyuvwmeQ+Qxg
KhLRigZRbjqu/dAAmljZ6ob5FpGaAWjiKWKkFylFpBOVTZ2Cx80fD7mRnaDe4k8ZP0roqS6ed/6J
8n+U8VNdYGVFBbnKElKXXxaTFbXI9N2RMoEjapHjQkYHXe9s3Nvw5mpf09Z1wMLp06eBES0HXbRH
Gu2q9iZnXXxts0R7tNIzfYKSB/KmY/UrtShg5VcQT1XfBcpc3gLSqOH0bwGnbwoBBeDykH6Q0bKW
ZXd2Et0CwglcznHYbwor858bVmTbpGnLXeuXwSMECsFIBAMG2lZoeOT8hjxbz7KWrhLys5Phg2du
Z+XO6fJd4rbZFitM4yFrm2yVdXowNXFRyS2WUOOKx4bxYCQ1OxYOrxZkjFV0dG1rfSOYbzTLOsbG
U6P5VxpMmReBwSaWJ2oOdfFH4DSuR1Dm4rQUuO6D8i2wCXx60HTVsh465zS/sAKiTtRseIJidymO
aeEVLdLg6nUenmzAKQjMJQhUPg3Q6Nz3Hmvul6mnHXSkWfAeg0thmsEFdYLRCsXCHsR8TBTVjbLi
BxZrVzIxBEMZXWn2+7ppsGlbAxKxoBFH+dXKb7LxsCt9cIR/pahu/gCUeH7shOQnD3nfaEWHUxu1
rfiLD+lStiY/UV/1fkR9dQXs/YZGzDhEVbHwD7Px7DH3fQpQjVii8hLniEae1tiVx5mmQ6O0d7Zb
YYMWJMm2QqdmfVDsmW16KywxUFFuAfBRMe6fbVfmj9iXncxSFI1MZuRFZmAk9SazuhEfookMTJ/Y
g3iLVqhoTczzR3VSkNjoyKInxtZhxnqo4+CGJvp+4uRbFOsDS6xWAdNEHxbQdwhuqGXlvJgsdGKV
ePenUayQim0FQehVycQHfzDFqTsoeJh7Yv+OFBu4nwAcGrXDIeeDXh/0u7fqfi2MjGMW6zpAeZk/
HYm2ezua+8K/9GkRqw4Jq1dWPpZrSnGGkQVuiZCbF+SjiodKelvqL9vS3KEquly3Kl1KZkVvGhcO
JA6qpXixhNwaOAvM5kwbMrRzYvbt1EXbM9T/3iUNlRiQoCgkp2nHpvrVJFun7H9qZTTcQGygQnJE
UWPiqVAtXVvUZ9wWgXvXup3XdT0EH11oH43d8NrgX7NgtZVf5gEQmtvLmgF4Bsq4LNpyCDCfaw1B
KTGZgQLm5NvZN2kK1E+7BmTmbYMXh99HGxRZ7bMcT7xO6iio09ocfOADhCYENneno7kv/EvfbJeV
sbO38LxgLaA0bb+l0lpAncYVMuf5aqrI9WIsoukQUvXILcmLVduWu2rtclyJPCwmO7IwZOOdYihQ
eJLzM/BU3VpEur3QRgbAUmaB150O6SV3ZHh2YvPNRuiAxi4+G7UqRu8xG/VhMJ+9PxiSjR2WIPHp
M+xNg+0gM113H/ZaM8Et5uY8mmEDZUK90qgu83Yybmt8MNctfyY5NN2wla6IjnDUy9rbU9MW5Sm2
M3kXpl19ZzQS+ISePQOp5u0/OVEfjb47tZpb35lYXfy3k5NoWNXIfDrTuxO9AYoqyubt7UF47D4M
UvF18MEwCWVgsVBHuA4KFFe/H2Xlr755dO77N7sMEl3fIGe3CSPzh8U040hXZFyk+gEpTuwa0QX7
+2gk2rdRvUVio0NeOIZ0JdHrEeOeY4bGBUJIYDHCykK9zN3MRk3Ir5652xSTdJRfQOOn6IS5prQM
A83VghulM+Vh7N+b8ygZA/w9Tsb/7Wtzf9iIuIT8e5y1B2g5mouaNekDfmfINCLrRy1UR6cPTp69
AkOXnsHfmz6UNSQvdPB+b8hidqdR/FJ/cx/676YmMfF3wIwHgcHUGUBQFwQWuBypY+pV7I9YGjYH
L7eXf9hImeoLVLInu1TLrq7KNkgUAqaBhmyOk4OgoS3dUwcOvhM2kEqlUNk//2mqZTo4FTFFTAuU
fZUpn4q7PFX1NWY8WGRg+FpTcy79+mQHwjgonSq7VCbf+g7ESkNS2ss29CDvJ+w8XoG5DxyzGjdA
W2fHbXxyQKVxcr3ml9V7H42iijRGgVPjLVuw8ayo/j8KU3cn9OwrgQWYa9nuKszM7z6YznczQoBG
320ns65CjtOMf7q6ruRpRK1vTZshvVdh0xtihf2tGbbxbc6W1JApiDNa9TLaNvihzTzdfXYlQ7Ih
V/5UlI2OfYBKVN4WcwZ7K3s9eSotcWGoVP9m1bG10FCuc6tluHg7y7VXNCA2fu6V38DRCYCCCTR8
zNLh1oUw94LGKwgi1yL2H6sB66DaL/+XyHnP22/YgPBc49H02z0IttltkTVL6AXoF0BJsOaSyIwv
PK8odjRq89S65TWSmWEu/eVANkDXDUdoClyLKofLe5jWavTL1EdhUM74FoZMKIxncwtF+2v6FDLK
fzhJkt13HUiMs8JBDYyh85ek1KevAUBcfYl1hrhwN/NBgIXyAfoUIF9YucBtv5gachr2wK09JpWY
vGjNz38LzeyUv4CK53Noz/C9cxKXr3lSXrXEL15M3xoXuhXUF9333Ls0dm6pv+wgfR7WPRjJhV2+
hDFIu2UMbqcCitKoSnORU0K/yfo398LLvTsjtm7zuCpfONbUG1Rvs5WZa2e6g46WtA8cWdTF9Iin
8qQcKX2gd7vpJuuNpn3wxgAKuKpQieyYrMKFtHDWOUodxPmiMaDXBGhF/zFCVMebsLfBK15HqBQC
HTs4enEkolIxXDXdbaiO/jb6P9hBQdXPHiyNYcKmKpmwia3WRYA/UfERvtTizrPEkoOQXy79ejhH
plve0CCo53OwKCXNnmqX8qRgGw8Fm+s5Us17wGZUUdR7pKnESZU+gYnuPLI6XWOC0W8bJ4LcnhX5
j0aCWRjYZ/g/huMtAczF11VCJ5aL0vmaDaG1sMNcPLSF16+9VoDGPG/Nfeq1wFCLIb5B2tlEDrf7
HGmseR0utLqaIjmuVi3G+pU1XnMHApdwx7vQ3+kpFr9m7IMzCnXe3y17S3V3LVgEF53evZnqTe7v
cNH8q+kcdVCmemtHU9TB8ueoOUN+l0wT4Gm2CR9wDpluS3XFoSplV6Bw+CGAAt/Ja2tcG+oCdzWs
iU2wWp2BSsJPxrATofpZZwcbAEDSLV3IRqptP7lTf+xhwY8qlrsBzHc3SPBiMyuR0Y/kh+ij5kdZ
GHJhYaZ+P9gonA4BMTo4vVlcNCDdV9DftL7Y0CBvYwgk4b91rEFm/pLoDDnNHPxoFVPlAV6RbCss
ee5TVwfnlu6LHyHqAf1R/uhBI4jqMuwuUvyssIcDy+riUrocRO4qPjjHtw52yXmZgfO/QeVeAN2f
haF5ey+r2TdHQKYDS5bgSXb429qj4157qK5sZBA1WOSEKPkFNH9fmoKdZMrGTV6ikIo3HcAx0JB/
NBjSqkbs6F9rj51LwVCZkzgfTlNUvvkNG/dvp4EUgTOdRm+qj6cB56+7smU3bEwhwSjscVAtKtTY
DCKbjlQfYcqoScZNlKAITIHNqI9erBwzP9/34kshvBVYewHnl663kU1k7kRhlI9xCWw1G8S3LEBx
OujjQZzkx/w8yDhc0c6I8vTcaPjgmXFRPY5VfmvlbXEOZYa96cjNTkbdP/EwQ1G8BS7klWGCZRsl
f2g3pTyK1gUVR9bIO9AYZFizt2/GEumTFYgswNGK+nes6GrIxCli0MBeR71l307oEGyJYUHmvLWg
2kYtwiaGWeogacO9Y2P1zqrxne4yZH69L/2uBZ9AxW6wcZytPCt3npkxfnGY0uWqtsCSuj9KswRP
+lAUT4HjvXkX4F3co36m3fnglZ68LYeNDy3uQL3ZYRkWGncMWeybVlFH05EOBPAh8Ia7jJTL5753
21BNY4V6oRhNae1dDbUabgJUaAWhSJVf6AAENTaUYDBkixmfGrbqATzClFvQJZg06spSLC+Vv5NJ
Fa6IBxWER/6uE124MlswPMhufBvVf2/S6Cdfag7Kl+hIQxNbGa2ZD9ACxDsosFW7lkOGGdpEJDwd
EwnxzDGMmbZclJk3rGmAyIZplJpSymhTDMCJhWVXXGu33VciYo9lEunnSrO3dpYcjby0n+ohdk4e
SkgXecvsJ851YxcZEMilUbCzynVT8GHr4z/3xGxULvlp1ky+bRE+dL5Mb8kWkgSZH7mPwJq5Vw+7
6+QyxyejOT6dzoHKOmqk2mFLo5qfI35uDrvQjW7wZVfHwZH2sUpsa2P7un0dfZSE9YUdvWAJ+CBB
mIsHbrZA9k/7CWUz1FkazRdId1kKK5JfW6+PtqkQ1ZFj9fwhji6huhbL6mMcH9xSEjVEb/BAD8XZ
G57aIxhoIxdStxZ79jXpr50667bU7DuUSsfAit9gsp88Cf07df+rk+9zdidli/1O7OrVVuFsCg6C
XgBF/ReTR+2xSu3gavYyuI72SvhZe6UeP8a/GJQvuCljr4+6IqxkIfHAuiWZ08Acdo4ji/DVeg9N
/RBUZ9JDPa8KJhI5busR6bJi/OGgagUEmu1NzGR6b0Z9+gD6q3Zh84wfZeenD9zSkdtzzGJNo26S
jiflWRgjmDHwCP/kqYcdPzplGy+mlSgYi+V9jFKVlW5HyZamUVZSx7dhDF5k5mD7BZMo6N3bXjyN
jjnUtWoNkpJKamKSvG5CyXZgGfoyq0iIyhm/BR5kHrA6RZ3rEN0SgcN7i0BZQIpOY7QX8d6isXfL
JoIsTZx5GhYyXrWCkmh8SZII2phdHm0sZAgewev9ShgEcGnuQH3svZBpJGV8yZQpj0W0SXnnHVPd
KfbuCAUBKukrq+AKmdXwccTgrsOGySbmhf+Fs2hFBsDJxKuiSG3QpwvnhjypjBCzpsnTePfEkxMq
F5r4AToniHnJpvSQ94dEmaHjMYIHY9Gfu3lIZIW5xl3BBrNeVa08taykF1pMThAiaG5djQFAExqg
taWPZxhoIoYSe3VWfdIBid0YmsWXbVl0fD2oNtSf/7MdJ+1T2Bj3DOWWzxD97bZIwZhrYJqK5wDq
XkvUuhoHGoWMwk0uu+YKhChKEq12Sd1xrGfnBjC3BTm1etNtxZCbaxqlGDropAF6wRnKML5JozFb
9hpq9nXMlzbgnGVH8PZ4x6IpkX7Pcu1OVh3WUY1rfy1Dc2sr/UletOAzRs4LpdXh0hOJdUfuRirZ
sSwgZjKgfnlyD2UdAAvjWU+oBzw1lgZhRT3KttNXTt/+2w+BmrdpCLMZAe6oCS3jQkh3NS3DpyV5
GrHkYDG+Aic31ua0LH9bptPCnZbjUd8kB9cNV4UOIOD0t+oB1t2OirhlGFLQ6+U8nyrFww6P8XqE
vqAapHLxrLUSvJmsP35yoErz2BPxubbs3YjlABmQHvPQu384OYJlKwpJZ3l3oDi6cqghijCdxc2j
e6eEHJqXhpGC16b3zRh+J6qKoYeiV2AbWNiaen0MeuFPSGikgCOr0FQRprWeHaFQ8p2Q0uSYFLy9
Er4aOk6LD1I0PH4qDUfbTbeMWWqmxUBNAxE2VfuqerZSsMiUDtPuMR0Y1lrGh7OTgomPY7NuVxYs
vclDF8ATn2EGOkYZ9DOb6B9AjJZxZWONk8sRzMIl+/q3SOOQWEoW6C0SCKYNTLjdb/roYe8/5Hlw
bHLU4NXa8G3IGANzgzveJ24ToYpE1ifHzzLQhDn+pq14fOdoerbE5NF6zUbt4DgghKnh7mfNOLlD
Wm28NxvcqoyMvblHRdkuvFEHvwIK0u48FWPUNOu1arxDYIIYBtq3UwyuOQwf6M8Y9BbIvcrsD+6u
BW3q97eQR/xluibzHJxFUXKjuaF9iJ2ovqn6pr6R6oVn0dRPXXnP8uWIjZBtMYDYtYu4tpVAhTyk
nsf3DrBlS2oCztiC6kmCv42lD9TluzUU7prgIlQXuVMgGsz8WHx217t6i+fu2z8wD72JcoMmwdja
B3xNZNmCprpzX4+Co8U0NSYbXdlMdI/A6ul7Py1/jYcyTyA/7B69pGtWEfY3XsJETxee3hk3joaL
POrkC/VDEaZcIy+FNU9qFi9acUlGO/2SaK08RI0BdInqnr1Rr4rKJXhTv2WKah0nw7rlQbqaSTZn
9szUGoKtN7rfXYtJSGEoWs5Q1NhoGivrWWh6t6M+8p1syIUH1neK0gudLYZ4SHdg0OT3gUwOvIZA
L7UgkSd2PbO7JTUJmlxKcQDmwr6UTYWP5oti47dOg+L3AOBP1thXSLX/44Jl7bWokQIApWh81krH
vvpt/k8X5sNrGATNslP9Ikgc6if7yEBhJogn2gzglDJ3DpRrp3w6dbWOexAEYx0iOVlMzXeHCfT6
3pyy84UFTt8JM9SCpGpTuQ4wQ6DN/RZhZxIkVXakb1WzHMCTElUi0be1V03NDiA8A8vZVl8HCVIt
KS69o6xK6DzndQoGPBTsT51d4KGTxpnn28faYumf7dmpTKHmSub04iKzLS07NDTkWcB5MPpIuCXc
y+v7Cvf1jUxRhPYOzHrDU7VADNVqQagGAsJoJcCALNiY6LvZWsisu6gA5Db3B+avAPNArdX3nS6G
faqVp9QvIOCg5ohey/fQcBW3NEVE0SmYS7vB2tEgaIqgfoaHLOCRcAibvLqRRXGa5prK1RaGuJ2m
k8o1h2T9qomDBvRgiXvMwNl8DKBVtzHy0LmDtHq41Bxv/JpE2S5J8chOWm+bgT/ia8/BZTB6mnfn
u327yUrPOZbQbTj6Wtqj4O6Xu2gqndxR/F0dbT1JN9I1n2URaPcZwJN7PdWSTeBy8QpSgwWVM0Th
0K9YnISnsI4YtAVDVKSoOgczsyfPAeiVydM1R/76f7R92XakurLtr6xRz5d9ANGecfZ+yL51prtq
/MLwqoYegSTar7+TwGVcXs1Z9+G+MJAiJNJpEqSIGXM6iBxWineftayEYh1iHFANSLdxI5pPZpnh
Sczq+kxNrXzGr0x7xD7UvpgWfhye1XzC32DvUOKOjcA4Rkv8cNUnRXggq+zjq+GnWCU1efrQcSRw
R6++j6JTX2HpQk3kOF+u+zJlhNfA63V796lItJfrGqX+RGPeXTdKcV3DRrg7TLN1lEr9o5NEPwq7
ryF6YOuIqhcbJxiDwLEVPnKEQKk7Qoz/WpTDPbWwXQPquDfsyeioHq9DUZuraYpsGNYNNLq301Ct
qaEvlXUHao6Xwzf5/3K5ajBfLkfXHLCF28V9ECF4MEQX0Cd+qQtvrDYA1GjVJACNFHhLQbevbINV
XUftTk/0cDHZmd+1N1q5iRPTCcGmFH4Bk9aILSjrYFWFWrFqXGGvtE7m1gIp+/rkaOW+KPSnxnK9
ey7sbN+UysD7OwX7OIAzFCrvOwgLK1vpN0DWiXMeF9oUZE8yd5FIFj65vHHXnpsWoLgu5R2KWrGN
GpMJ3DLxv2r+dG5ysH3s4/6/z907lTirQLz53LLAfhOVwC+fG1XL8s4DIdX0uTN8J92v30mo+flJ
hmGPWudqDX3L7haFNOYDV4gUanYbn1qvMh4QY1Yr2xYm9g3MQNmuYWwRdFErslq9Hp0KB7Q2NDaJ
q/ZWV2pNRhowTz7ONk9ORjEEctXVjrmlAV2GWuSA15gccKJT249hVZZFWyUKDYVZRfRFivxcNpW4
l1ra36QRoI9BbodffIWZQtOHOsrYBMczyOs+QwxeIZXQiBX1DgX4aSNZNDdQ5avvq9Y6UT9dw+Q1
SrZ/uUbUO937a7AqFwf6KGBrMkp+H4MYiYhtQl4PuzIWMaoyBkTLRik/YswJsEKcDNRHByrxBqbv
rWGu8Z4Nfz+VBBRuoQSozMsvXe4EG8/UgxvDGrBZzCEUkVbBDR2on856L36qTBv4+NE494sw69a+
p/rl3EcuHCSOJx1YC+rXlQNo0+tMpRWhwqOV2lIDWm/jggMRgjjV1nCR4htAl/cQOqW7NA2kkMio
lUrfD20YLanZW2F7p+PJ1XQqxQ+nklC2jlr3SNbGrwW4VXi+BqsrVfQb54R3j/rYer0WD7i4Upc2
vuxcUDJO14qxgpuuRdbXa9FkwGh7q5fFKBNOsSmSCIQhPRMnry3zZZYjLliOfSUUcNWCLL1evfhQ
k8yzN/UJ346OlucuZsSh12jgHIzimxlxCKH6qWtaKgU/PWhtRW5jlzcOmudJgD90JYumLnJ9nYda
5Ppr1+tc0E6PbzTAfha6UZh7jv3OqTWHj3MaTs9Lc5GGzNhTX+OH1uwxxKxcYQUA1oF4AKYnyGJw
UQ3Dbsg77BzHFh0g0gKhKPwsN74LiKjrxgmQTPATWiCOfOAOwuCjOQ+RebZFA5zNPBrFErsg5vLI
jRJoG8sAt867eSI98DdegQcbEVzokbYC9h3iP9JFtEcNYC8awUiv/SVo5/deb7/0uxHeHKN/MfaT
PxFi2OgHyUUKQRvx3p/6O1ZwbC+q2zryLPAHI+PV6iXKKGwhnpADPurlIH+gmHdrCdY+O6LIlk4U
xXdcIjklOQIkg2aV59ap5ZqlbvOIHRc0YVOffU/L1TQ6678Bx9J9tJzKX3mBjwINIBn28yW1pH5z
ya5O5A8XlzRfL2kzGd9h3ZhvE7w1p0uCsU8Cc+fr+1TDGg5aA3IpzTh6SFCov2pAjHCbF3hxaFoI
5kFZKsT/MnWqNCvbp1VZHkBfnR1lqsud5IE4d1rMNlgJ2xerUHzdIqd7hx0H1EwDnT+KiGuIhTnV
Z68sIDOOJ9hzp0X3eY2EmYVy/hDYywgikAdZQl9vgQKARVy0ebgw2+TIvGj4GnbyKej77KngZrMA
Cln7+A8+dG25cvrQSdD94UPHhWduTFu+fGjDlkAyAbP4px+ap3Z/U3d4/bAEsQaBFPgp7JvuDjRs
X+i+m/sz5XZ3voy/0H0095M/qMin/l4hNE7zvPrTfRo7gNvM84/+1P/Ov/3ZP8+f6MBGKND/gBnC
/wFNH3H0497CR0RkODa8xzYMrLs2y627IMZbvmfM2U7NUMW3ZQiZ9NE4DeLgm4hBlAtBkyxGDakW
bgDN7S+Ti4i8XQ8GGhR0KBC0/cUFX4b+ycV6JaAwiQ9HF3NcIcAacwIHC19D0qC/Hzzom+UaYpNj
iw5Q2RMIOEb+gZqm77Cd7tkVcv1wqapquHesHaQ/3Ts+NrQh8JYaA+KEbBB1j1CWI380Ifgtlk6r
n1vu9Dc02gL2cxP3Nl+TL+Ke/kWZ4LtRtazAsIQrF4Xlvb9yTGYbDG3jVWmmBsrPS+7f1qL39yGq
pD8HA4hPA1585GCgP7Mi9hZEm6FnCkSNPAn2RKohKu2NG4gQvAX197+6jbOVYcLfzEZukIRsVi54
m/bItLy/KP68l9nIzR/d6DP8+tnool4ksJI0kF6CagxS5H0fX8raqs+dBaw6ZU37sNqkrdA+BS2e
ZOCBFLsmY96jyE1gEZBWbUGJ9X4kbd06aHbTSDBA5ltL5f/LSKcB4J4Ssj1UvWnk0OBRVrxeE1iS
MzkQMp4+baIEUu4RFkJ1gzhwOabbDCsrz0mN2C9l3+YmAeAC/KlncpZB8+I8jw1NWGksOc9jaWay
zs5knZv/dGwaVqOe90iYEkN1t6osBN+QF98RuR1AjfHKl5m7o/QIWefmwP23zvNYDUwThxf8lXTl
59T8aoPXE9Fsd0hPQJkAbvZ6cGeLEWDFAuepaxpC3hm05w9+qYP0Stc2nRkYezAm+VcsjbSFU5jJ
t8G6D/pBB6wrcZYxQBY3uomNfZ4ptm7jArKPlX9uIDTxDaVrz1Zfpo8gdMPCRpjGvrKUfy3GucgD
c7l1bLyZi2FHdeiRjoWwvYeQeFt91HP7E2FLpG7sjVqqL5Yf9SvQfFtnE6xMx19diaKpgmtfquxo
Ko7UrXRQe6s4mFSrwoQKLlYuw7hooTO3joa1DX2XaYFDBlrSkDUHrsLSWvME4QBMklkAO/QizY/C
AZRhPUVfi9zFE3zBABs4cRdpUlD4tcd6JBDkeW8fTJHwhTaG9RKRxPfkguzpi0vb4MFgTbWVvUAV
cRuYKFtD8Vl8NCxxnkg3aVfw2kcbind+5MFREb2dqKJMDzrAqe4J/ffEM9x9Yus7O/eAYmhEeWcx
09kMpi+OElV+pzYQqJuPsEXyUIa2EICq/+7zdOONiIK6Lw5upGlPNLxhGr9Tve9s0gH/+SQHdpeG
h36gpuEa+KOXhpaGExuAVTv2plGdsZyQ6HN7gqLzhDuTnbDoIHF9SGWS7cNRb6Ibddw7r8bzDXvV
NXQ3u/MbA1nHQ2z3SMhVvr0KuFrKRCLR5cjkGNTSv2rIUVZbyxPR8sNv//Wf//na/Xf4nV85Kul4
8VtR51ceg7D03x8s98Nv5dS9//bvDx50mT0PACvfNm0XzHmGA/vX57u4COFt/J/c8blj5paPkqlH
kNPJG4AA2CMfjCdqaV0DpYO2w7Owc61lXoH+mG6CwlfiglDG1jNrJGIRwbGWcYDMGN02sfKyTWJk
qHW2io9yZE7knuMvUxbmJ0dq2t3Yn0EafuoHJXw295N/ybS3/qkRguWYeGkGhhAIvkJzZ+Wa2uZp
bDyylt0TG0lRIMeS9bK79yXQNOQBZJL+8Pffm+Hp7N03B8ZkB8t5RzeZ7eoWe/fNZaj6haoH6GCt
2wjF0uB6CopW28sBweoU9f571ZbJUZOh3FttiOLBse/PztK2/xvrPGL2A/OfYQw1ooTAkyDD26xt
JvyRzIazHwxQ0UU7ParDYR9G0HzLm0xf4v8M9pmeIw6NTRV4AkdLA0WwZZj76HQqMBHlkbj2eB6g
jL1lx46KvE2TbxVIPlfUBPsa6HB6e00tKvW2c4gGF6HzdkCfS7ECRD9Zt0ZpH3vW75rG55+RrkyA
ommrA6iq81vfgY5elAz51189cjsDU1nW7Ol+KnQv3LheEELneRTYldq4k4vv3hnpzqS+nw701OJa
HE2jyUaHqAKiqojvppv5L6an0X977f91almaL58cGzq1rBHy34iRBpu4sFG0Xm41aMIupuarwUwr
DqycerHOI8gwWy0UyS6oSRNkQxqse0sHMIM13UXLn+p+GMs0DQGMcIpycoXneVaH1pUOsVL4JyWy
X899fYyi+6RCnQaNkuNQMc7mWF9cqCEhrzCOf51t6gPJuFhFPu4DqKhCYq/yq5GNdCxpjy8FlJE8
FF/WiAawHGJ9ZPXr+Bmsz+4+7+sMa06tVcdgaG8mK7jzoRGAW3E9tdtomgtVhZhLBtDFQVrr51zc
157SGqJyYfjg2wKyMV0q8rXTxhbyA5571dzWvdZi9Mha/FQr8J0vPAsqCT2zVlOTHKMCGHNR1Wds
muHSeEBr8jqod1M7FVm+HiKfrTyaAnX78T6TAzQLxsvQIRin7Ugnt2kvEjA2nmb2LVQJ4ptAqF0G
DOctddltkR+Ehx8sNcngI7y/AeciKMrGUXSIIrde6WYZbsIsT5NlNmpza5oXvJnLasprW4jhNE/l
1ScJOTpAm39ePpRqN0/Lk/bl8vNHend5MtDlE5mEGxobI5y9GpgHLn0X3w5q6RC0ZmPhJzOLo17U
3dmuTPfW6nrvGugXarhjDxgd/WOlmY+Tu1tW7nZo02KZs8q9Jb+6ZRAYrsC9bAVVnSzDKuimS9AM
5KMn+RECjS+XAROVd3Wq6zTn6yXIvcqdRWjZFkJi+M2ZcdYcwhyrn9cfGqKBUNZ8NaBqHOT91Ezs
4lj7DRhUq4HlCwXOwEPLDixPtLso1e17aNJLyNv6Nurp0KwhOr8XQ+UsqEkH+Kdgw75rZei88ddH
gIXtmf4+R4U6llZOLpY2pKbGuWkgze24mbMjX/k6dwq4v1iy+tDmjXaX1ykoP7LmhBhNd0bUrzuX
NhSFAymwTwWTIYogRtELstCZnyb5EoVofB0bGcxkodFkDrUgm8wBCsxeRkcdSs24A6lDhr8GEmis
WfsxkKB0iM3opS8fGcfT8UB9woKWAbl0iN+86SMXcp7HzvPVg2Sreey7+Wiq+brkRy6K++WNHNgm
j1NUiKleAHPZifso5PrJGtQXyN+Je+rqreEbBKUioIbR5Xn4lv3Qy5dkpAN0M1aIyrZXO0jFPYrU
rLUTp0gSjDMGrpXdNmaB/z2M1DW0qEqzWSV2NCX4woZT2vdfyEhd4Iv95ko7OtEgzVYv18yAmCpH
nY5VGTj1qjKGYk0vKBBluBu77sEvMi7E6VUUl9ZSlq5+pbdWaTnO5DG9FHPdXFpQYLnSgNk6vxWH
mk3jlYFnrV7r4Na25QVcpeD4b7wzh/IEKvjCVF26vpr65IjB0FOEKbDdFwupMu88NcnyOvaN37ux
df0tFYkPGYVKj7M12Lmsk1YVIG7FnUK3Qac3U5cgAnrURlmnMCnPJTVpwNwk53QAWdp4VymUfkfC
te9iF/yXDKU7S0QHTz32R5/q0vf2VqplK3ss0qtbP4c0zODuqflnAxJNAPzluMtS3c4/nPnnQX1x
aBsnL7p9190L9jGITOD5uqxZ8dQC+LHi6o4Oash3oFQ38XJDF4oD+mNURb8nqgJU4a8GmINv3LDa
/eqDigQrnwYlPX5TrC3Ly5+qxFyCPCX/mmM7tywKUASTh0rw4hX4fp+SEloekbXxSy3G9q4tKnlt
R/0MS9TJwgYW7chHtQwjrQpInaZyZY8cswHkcK+JFazdsUVd8wAaX5lOvI507qTnVNNZeqai4qIf
WigsWKh7Hc+wGfCns/D1bLbOZygK8PexW7WH2a8w5be87/DPs7X2nGAjnCC4PrWo6w1acbTq4IXY
O1HJj6pqdqja0j6z8pmiktxvhw1CXsVOjd3cQhUaq686N0C+ArbxlaeK/I7OWq3J/vrs7/0A9HwZ
O4xnYD8NV0PwSJsp2bZ8FXSi24GCiz3OzdmKupFu10jzxUrN2fpnYxmKCB4ca7oJbcP9HdkJG+U1
eAO8ee7T/TpaIYsOLafRKkVVbX1zFFtpWLYze0TBIxajdoeV5hk0DZ/rvGke6CAiUA8CtEGNMLee
gyIAsHK0u1VVrEqVg1h5bM5zUZPm4iL77NUOKoowDxvnMQEe39ZA9LnVps7BIcWC5ODqQD8gHZHe
mbqX3EWRQl6j15Dk50WbLpNW+4qQZHokq+8D7Kmc7ez/T+eoS8PeRK57rvAlIagy5smSMXdGB0DR
5KnJW3EonHQ19/+ZG/VVokd9jYEQeSWcR/qV0AHpo5u2SgyQdeLXo8IQLDQemMupiXx8ff7VP46j
m3r0BywjOYPI4sahOFce5/qmcUFHPgbAUGWQlp+oT6EPAtGgxvHTL9I22E0buPEuTjK1b70c7HIV
atU7XXmfDa0HIx0PvhsF2NgNjT8DMI+tARbot/04aCiV2iMoUlzUOKgZB3mefsmKcuv0fnVRY7TR
VZD+4/JR5WBX/dmQY9DyZwN66tQwRrefjV/GIKIlkT7q7rCczm5UWt3gTTPc0OOkQU5orcYAN31J
YRi1ZxQJPpKRnlB/5Y9SBjyvW9muSzHmwAIEgOny1NSVYS/pQ1MzMxGqna3Fr02yzs5/Npa+DDNP
gNcYxzJgVM/g3U43lR7Vx5Kl1dosmvApM1DpQSReAKsvTb+zL+88Qug7xUyAJSyTNwQddLE9OUMR
5UXkCwBF9wySni0ZCWFIHr20t6YeDRDZqD9JDxLeWJojNhineA/UEvJovv5ZydRfh1BGPXRD511R
JAm2vXGHbWfQnmh9Z+F2uVn9zpHdWwcOC44JbjQwj4yndFBNHRyNHGSAc1+kdLYWAUqfyBDRkND9
OWR2LOz0GgOZvoeW7/0U2/Z4fRnQMpq4WlvMLtaQnY12Wo6dGKE958OfGaxxkRKB4ODNiBkfivJM
fzmQ/pxQJcjh8+6ETXdyNLQIOAwU394CMlEuO9RRP1kM/IKEg+0SoNEFVLNCz1hU6WDf61A53+Sv
w0Mgo7cB5J9uAVV7Ga4SyJ6BSOVqG6DXsfElL9moSDQY6Yp5UkNdqQ2SqlqoI3RN3cuvHqHb9dfp
k9ZmnF5K3OgRarI+FVEYgKIP8t5YDJafdMdy1y2+qy1ZOySnoTnCgxNZmVOs+kiKh6RPbXw2eU4T
D7x+r3NQU8UaxDGkW6Ki2xmOYQjIEndEBGZwbbgkTRZhL1fplzBF3ozOyBpCCv1CZ5wjVFxYurJt
sBSkn3PJ922oRQIEj4Zy1qSHo3tufI5da9Lmpi7S38l4UyFh2+hvhOcEy5Izg2wOuSVOjTxZw3Rn
CwjHR8KFVj1w4IZvaIdhVLYBeK461uAmXeB1hRijP4LRyZwVVn+FtOzINmkPVrgGyzK4OLA0fswA
vpjOqE9vPOeRzvzROvvNVuk44HDPHav6vdO8B3oGQKgk2jRpXW3ogRGFeDjNzdnKSitDLhTpDTAB
4t5TfXfAr9K6tKYlkfcbwm/BguSccwXhsRzFjRcHWLBDrzK5qXlbfmwgF04eetLfW5mqP9JUKOPp
DhDDsy52DEnSxNC1r8Zynor1lX9pPb9dYhuXLi1HA4TTScCI5OrRgoQsLGaseOYVz4YR+stak8nF
NYEXJt9atEBKBdAAoNoUBNdXaV1Y2NzhXaGK8lCkyDBQObMjjXgXgE55SSiLqQ7HhJpWEtmTWkPk
KbxMGhQYzdgMlMQfYh1sWtRl+yNvZgsoAE05z1FDnBAIyhJBJQ7cMarwb82WFwdlRdkmjuzksx7G
+yRM8q+gPx+QWjerW5BH5AfQr2TQNuo50p+4uUUfQUwuG77LFFwIzSiEEozKJ/lgI8YjjX7txuKT
bwwxFBrxImurSJxRcIjm+JLrJKvOyBbEC/qPz1Z60ZGVxpIV3xE4zlLg5CPdR1VZF5mPoDxv13Vk
QCgQ9YlHmfcSmNo+uFe9US9AzeR+U+bBwRPhOw2CoJjx6HpOux4qYZ96rWqPgJjKDYNK1N7HWnCl
A/lJRYHGAHnRBOUscytDi0oCY697b3sdV3Rmt0hc8BVG9YDlyvgtetAO0Erpf7ECJdbCiuQxygP3
MnsUATZMdQQh+Jil2Dh4AkvE0i+R/xv1WYqwgyali3IgaQW3eEp8hRO4dAr8+22MO+tJFNy2vZz8
C+ai/9VfYJ7AALS4dyN/5cYIf9Cf4UJO4Qj2C2f6G7U0fttEfIQfOZBeFv1O+yxTK6xz5CUdQpQJ
jGcG99Kl6zMJqA3QsAshFmDeFCs9TJznrr6jd2QsY3MZBlFzY0XYomeePrw6BJGRfQ2d/CNnsgMh
RKEH+Z0fVnzpjTSgbe04Wyd2DKA1a++mGJk/o2hQn62c3dK/NXFdbLws9kyDui58GdSheunNIEQ/
65FwAvIU1roMhvCcWn6IvS7O6JDzXC5FXpmr2RAZZdwuqM1BgLed3uChD9ZFuxcns/LEic7o4Oc8
WCbKZMt3hgZkOmoxO6IgSZy0V2/HQ1bXyyHQVze1f8N6o1nS9wZR+4VTavlzb2rOCpWB+Wn2oLXF
6KGcNn8uMgfFukAl/gOPqssh0dh4xSqQ0dGLc/9AfCCoFNbMRVsrZ1PlhrGgTovojCCgc3A1vDuI
yIg4QyYKET1HvmB0Dl17VzqD/FS6EnCuwrVvQQ+vdinSSjuDGey2zkJvYeWR/e2UdVD8CcPyD456
m0Od0UZVBEnHWijpXSc91loJ3sv2gdpWqTFIIkNZ9rlNXLZrHFTZz7A2xoBrLwILEdKhryMEeQD/
oDZB3MjRHn0MF+nSidM0MNpnKqQDaYUB2l7dAVh7UCMXMZ5qVGc3ldihonoNOejoQBA+QgLqUKde
ZKYHAGKr8G+eAX901lPnhA80EAAIOVTByFKD13nbdvLHJHZCuicccRNoW4ThhqWoHd8qhqy3ljna
2kszJItQfsInmRSykCeppgyGAe4/9gwSRahKxZ67DdpSvwaOdJYNys4/V3y4o7SsxL6vNaBzEmoV
uMYdt3gcAMcF4U1onLHBSd4P77tsGh6Zof2jA9weeBxt+VKEm/PBXuo8rpYIv4mXhTS4VyoAPZSY
VtLBGLWkPvKZ9A9pTOW64k15z9xHK3C/Dz+FbjzstJEhCxWDPWROUF1IXFjUR0xadDa74MUyMWw5
Ua+tBlAUbDOsRNduFfjXMNbKNZbyL2fgQ/SvyWjlehkAsPCL3zsr0mp/8NOV7qwaqVZeaFrrSWWX
fiO2IdTJytqV69vMXXV+Z92g+KYCNaxnrSeeHdWjWHP0qWWfn5MgX1JBbK5pDj4jCPsI1sHHpob4
xUaMgQzcLc5amH67IQwIYC8A5P1qfTeWmmnjZvcQBQdNQQyNsEzduY4t73zE9Tb14FUrapKh6Pyv
acDEkbqGHtSG46CoVgjzzQPI17G96BAEzr2u+WDz0IIITA+jnGUHcpa/a0PLDVQ+g7lE1pgh3YDa
sNrK9EvRe4eeF2Opcs0P9eBbKN1GoRlPW2PZ5W63mwrHWF3v3g3V0+Aw152Nw5sGKpZAotxndpYe
DRulxcJDRrSCQKbC7wlUDWEtD7UpHnMv9C/AaAJeNp45eK+tBqi6rN8ZUAj4h/GiLh9p8kRCMb6O
QR6RAvyHAE96J81Oe0h70JTEEcp1lInfYp5BB2Mk2jQKHQEFSMidmIV9C2qqnKmWRTPTOzfKtAe3
bf1dYRvmpnXxMxxHEmLKCMG2UmF000KSmLBdNqpYIKnWPSZpZJzLMICy0oj5ar3UmtwI2/Xqhn//
fQWcBNYakHJC8D7MsGNboFAku+MZ5G677I42CCJhwbrIenBkTTsC92iMxmm7oPxgXdfypxEjzTbL
7qjabB5JE9HBd492l8dIXIcQWq6fINI1HGf6DmL44HYIHQfi7/jpQRQek4i0k7Knl0USc4IAnNP8
OxHbNtWjsi35rROQd3ettL9PomrYpCgXP2LTm5ydTkMFQ2nHH+Mqm8ZU7DFPufqWOnm/8IK2v49u
CwgUVkfgO0Cx7Bds7RqQ2W1dvIBSBOkPZpjvpnLu3Bbt+T6TwXDsclSCDGkmP6ZmM0GPvM7dB0Mu
vjDDA/RIduycZ8Zfukp5b0Lo+HfLSrGVgEL6fdF01k6mTGwLKPo+QpUAamxg4J09EivvdhD/4Lbo
VgSDIZGMPnGN9dxH5I6xVxtrI+m61ay1QX74I7pVC3m8BWcxPyHrhABLCoUtkgdyMv9tk6xD6AGE
O0oklnnRvXcWCAO8GTs7Jy1I73OARTdBFGZsS1NP3o1Tsh9zu7T0CqLYUfeohYcRfgVgBPZGdIKe
sLDQ82rCSfyzB9KB/kMZ8+cS+gY3oc6XelrIU9RDAkh3Bb/B7398j8pyKQZfnHhsINVI5rFvZNab
nEd5MGMhIy+5IQzLf/0C/pEEBvrKy16Ai1O9a/5n+53fPOff5f+Mo169fh3zn/P95uG9wy/+mPXl
qqtn9fxLY12oWPW39XfR332XdaZ+gpNGz39q/O07zfLQl9///eErrws1zhbGvPjwYhrBTFgmvQHx
jPO/GMe/8N8foFD9XcTPfxjx/VkqDLb+5Xi6DtlQk1k64hb+h9/a76PF/JeDda/pe7ZhM/CMmdaH
3wBmUBEGsX95WCjovstsQ3ct0/zwm0SxD0zWv0wH9Ry+69qe5UGh1f3w8y9/gWVN/4o/h2nZzB7h
RDNQy2UgJPB8xwNSi3mGrVv4FG+BWr1dQJpEQAclZycRpPWp4S6KTqpdnAus89O02NZFJHYFt+T1
aNe1uvZxnl+9x17PBBi23D4FDBgCgtsuBeamQgHzyusisSLWX2HxZKXhcbfShzKQG+kzZ62akacg
4cWnOGwrkBZCicEIzKudNShJZdWQL4yBI7UUgwyYDmpk40UYJNipZNgDAmicnML3VxEOiwHsOlvg
7QCxpXu6iy0E0ZpRKQEpwyMdvI5DhR6F1Q/98JSmrnxkldVdw3D4Rki6wRscVAA4wjqaqROddE1B
T6DRsoOqwffCgnynudy4RXhEvy295hrWLDw2HusvDDziZ7NFHWGgRQsTpXY7sFyM0EoARfdMAbYC
wawNFjnsAYvLtYCah9xwUS/7Jo0PoYm7YuHnTrxBZLBb1CPPoK1pKE+V+QklvdwXw7XMeDAdbBbf
6nEbgFfrAuSaP2YzfWjllcGZmqnYmHJQZ6g2D3vX7W4yZchz8XrwQVZxLn3ERDR55q7zyEgXt8n4
59hOtHyRO5nnrvvEYQjFtN9wYwK5zWwWLfSM+yvQs4tnw9Wgf8uNXQhC0q3Za9+d1GoPdQwFj7io
tX0FpuCrhsr0VeMzkDdV2jYfZH30oUPWuXUDlrHsiz0KLqa2q3YeG8JrqNwU/I45KBnDyOXnAuJE
Gw0oyBs663vFgVqH/kLRW98LYCiOHIXdvrL0OycC13hf1VCog2hnm3prUdtqAxaD8b/ePgspu23h
snulhcDWmy2U0pJ6rUN7DlzsoD+2LNyWXaJ/BH0wkIn4uayCCMV1TcDOvlble8ms20a0LR7SQOZg
7ceRx/ZvjFoVW8A0Rq4KBxWGBkg2MohNDHrXLvoA6sUATUWVUS2iAbmVlntQectxm4D2fDGA5nrN
27ZYWgLwiE73j4nIOGQhOQfeqbFWAIJWS6Su5KLy2HOcpPoSUTd98bvgKP939RA/FwX9DBB62Dqy
WiDVxmVRmryMSxZDLz4KEblOwePUZfdNom90RMk3feeclJ3c2HG7jrr2ETCSRVK68SZNIXjid8VC
NfiMbXjbjWrYvpueUhaIhZXo96w2IKHAn6wmuQT6UyiRtqjAsm81er7EXumkAoUAY41lXG5ZW8mg
CVJ8a/hwbfAbAY1PufSGMlyaPDgD6wOJGruC+pH1I4BO6sIZsnRfZSkAg/5SSOjHlngCLUEfGC2j
sP6c8xqkgfktWBAP2PoOSIffhE4DnLAH9myVXWVi4N5CGcMy1tgee6FPnuzv8JnstdCDHwqFoCgM
h/IKa0cf/xgC0LVoHaz98KyNlwILHKQJ+1snydItmArjVemwcjnY0AgbGvmggzDt6pd2eOm0RzPP
/Ju6RawW6n17KOB8rgf3oxuAUlG4yC+GX8GFUiF8lQ2oymWXLEVqpAyLYXmJKvxdyA4ir6/5H58K
W5aLwo2SrZ5DXphXB1EPxcIEse1Spf1auYjuNlGIP5WZ1k43xcbPhlsdXHQgRQ/TZdp1j40bumD5
a62VAQVBzRpGYjqcgUGyOVS6u8FPpV9UdbYFNZ4PhrsQ33wc3AsTJVqlwp+JsDZKXlDlvhpAFLvA
hmXPgwjiM7Za9dz9EoFlahf4bGklwdewj+tl1qa7yM4OuEkuVec8+UZUP6aOAOtAV+GbLcfyDqc/
uSxb9BEEpdoMiUMrfoyd/KJ5j3HQuCsnKjadDgoWHZHphd1Xj6imuMt+l4HbrKAdjKqVDjqogy63
ORTG6lw/tRJ6YZ3T9As/SNuVWfZY0yvroHWRtTVN3NFcVHh8OEG1NcNupbcBSrvZ8JwzWW9A8Fut
ajvduI4ZfecieK7+L0fntRwpkoXhJyICEpfcYsqXVC3fuiGk1ghvEg9Pv1/txU7ExPa0pBJknvNb
qZM6JZrH2qRzZLAFjUu84wjQRSS32rsJAt5IjNq8wL3zx3o+i0DfildtKHLaqT1Q9NoLFtNME5K7
zTMaYsenUuwEDJufWjsnPtAxsACma8IvnjiZuoSDkAR/X7O6kORjGuUeqihJhuW4tSCKg2s+2uv8
3Zn98Ij8wAhG6ca7IqGG0CC0kG+0cYUC/7hTTQJepxGUS5ptlKose0li54j6XfrprFTQJDCxNSkn
Wl52b1p/IOjHCcrFnUi1rF7RXL8ViUGvqfrsyouxeYDQLkeIV98Lj94oJYuEiaat89J3spH2HNlX
GrsJc6Ai2ba+iO8tOcswVY5BVjTNwcMKgDOgi9S0RWPm7of/T9VbXAQr8Eykxf2j0uKLY9cDQZ10
qop229edgdjLo5O79AgIdjcnkovZ3lhyqSsdk5JiaLVXZveRp/pu/pp7962udBvLsxt4hDTs69L7
D8egP0rzZ0jsLeiT8qmzhqNVvWtdTL9mmd5K/l6UwV3A0uAFsi/Wq65HHM9pJKYlCWbZcim7PfCF
a9VwRNI9mwa0xqSy38JyfuXUvMo0+7Ead/azWd7EWB8c9AWhbmRJlC/1vqIEzPMIaiIz2Fk4VfvU
ekmKcb8uLTHU1EN3Kzl7I+10qGnJ361eyV4Lttl46A0CHL3hQxsgRoeNsnBhtr4jwby7ONsn6z/O
I7pQqdoLptVL/X4L2mqgzJcvo8/zs4Gx2C/NNejI2tFbukuwTkZlP+2WVMbnhI66UB+nw1oMVtgs
IV3OwbAQsS5jbQk18CyfpDHuODmR2+nVP/Yy6z6lp+8EgdEAyt8quua7lYdOiR1lPYdyKD4Mizr4
0nJ9YyX+Ie5xQy91SRanrVHlZS6Xl2udiHQnrZkrMuPGMOXs+q0nGiRF9DbYRvbaa+PZrHpwlkTn
cepbfjqjakKrM24LQwlvckkTzL1g1Uu/teR47yTIdHsHuA+z2R7G2ogIVz8tlEg47nLDCUdCzt2K
ubwMBDo6YqFe3hNDRK+wHayVdkG3E2DwyKK5kxqLJW7M2uuyUO+4vrcpXnbppBGJr+ob7RUfRMsX
+8qzYFVm2/F7q8Cia1o+7Jq5G2y5PTkI+rLtc5jr7UezeBHqZPTRLjWBLfucpEpJgtNaR7ElxfPm
EECd0cnq243UwrbRRoZp8ZxyJxBG/aXVm03OupP5hSqKc8eu7OuLKXdbwWNMhxj2NP7P+/HK01N9
a0SRgC+PHvdp89OCzjPUGVuwbuhQDPsr7sUNx3NE89cJudUjP1ZYlerYS6UHqyRO55+T56XvaKBx
2ltJSZvU6cSYt/nZTI+FMa1R48m3ealvljc3ERt27sd5/jq429VzG8LfjOKvMkzha02SUM9Ofabj
0YSCb2jwjHveda9ImzNIu9QtbFK6vd+S+t0ZyLnKBsHqHJVb1p96Lu4J1dhpnepkty31b9P8E7oS
Z6uf69AUxnroLRo6MyBfv+i2q6g6YtRXHn+nzvwsTT9TLydiNAV5yhO035vxOBnSDOuBiadL2FY0
uzvOy7wbiuLTWM7NZOOJKvkArJz0OzPDMmoz+bbW5D3YXYzKB5VahDdlT6MMyRNdJgOm8CRYenW0
lH7p5MCnJzBYl7I85Elxbcnh2ffj8CdLS3XQKLCIY7YutfFizIt7cAv91xa5DIUkK5NLtmhMUj8T
ucvtZvQ9Jpa+dpxbxTXatZtxIGJ9ftzW4YtViwKYIkysZDprxhY6hdyNZO76GJjklZDqi1Vbb22Z
/M7z/JYRghqMSx32KceuKmbfyEhMrsz5UI6IF4S0YRwGHI/u2tLZlH3T+BnSQAeoXijbrweq0Y12
rIOkSF8nAnw5u71Tr23PVlGg/xuHX9vO2IOa7/vLlxahTF1CWu3vsXSv8ybIfpJeSFC1HZWvnUFd
xP09LkE9eaGNFy7wNiz4+Kn+3J6TUWh3c3z23M7uqzBm95K2yI9KPPNtPBGx29GxBLfMppqAqGav
FGNEW2yVu2oCV1+mT91yLL9FtOEjLhHI06Y71/CkEI7zI5U7wj+Qxff+OC7qsSnEH63v7kUVcnrW
25PN1hEW7qkS+gXrGDHplymt/7it82bMJAXjwx1QdvIztY2fjBtx3vVG4ufoiR2qhsBezcOgMCi3
hrKQcGHsGbLF9cd5xe1XYo3xUN9as/vGpHjIF+ctpwrAdutbouk3bxs/xKAorqzFzoVJ3HWxW0Sk
sk++qphAXIvEuXJ03pjhyAxzWh7aOfmtujy9d84hluGMb5pn7i77UEoOR0LBqPa+ug3Jxn2pditC
xoSn8ryW4xgs5RozOqv6RD4gTDvu8KAmiDZQlL4cqqnY85E1vlHHiLPX4cejn5CDiYd4axbfqru9
ti6U7i1TIMbeiNQdjDKqR9re8GoaXXsm3WYjXQZ5y5Xf/YY0WadYZUH+McYxp48LtD46rAJqy4jw
rViJ8te85yicqyG01s9VKot7CTKfkobZIW9yXawiXJLt2R0HeB5kRtR/ZzzCifcTF/WnV1Nb3kqs
J13CvJ2s8M4jAU/VadLlNR0tYpI6swiNujutfAhdGZ8Ho5rCpdMRCtaEPRXP2hxr52zArEba6QkN
2LHCKe0zF71t+fw0USvmW/KcQz5e1EYKUYzZmMCk5y2Zw9XgyXEM7rNEH36MPPnpnHncm27tBNjx
5+AOTjF9c4wy7bZr3YXuwi80a5F6WUQLaMCiKKi3lzK+L+K2oYJsRFCMdbTwc8zb6DUWfJHZq9Tw
ZG3296AwK48ryM7UfawC4Ls07QdDAEe4ppo4btsPEJk6MDs38fX24a5mCrs7V2HaKaNUbfrWWDYI
1jkJvbT5UFrxwk0nzmRkR7K5pDpZK27/WeRx5k+NOfhrPj4pu/lZNgeH4cDXtHPvMt+t3o4mYaWt
fu+9W3m7Rl6hXb28Pkqe8MEBFIozPLtx/KhNmF7qTRX7uwbcWWewHJSu6Lvct5EftgU9ifrUdsI0
kRMKPaL5vELHfrLVFB+353yVB4oWP0WbL0F6b4NaytGOvJSFkT3wkabhU+MZXGnZ3eSvvoUqvqhG
Y4tuMBpS1FU1dtSM5i6x2y2E2WZUApge2d+kfi0HXqsumyAJmQQnZqeVtNTOMj/XlBSMuSBFrpR/
27otAw4Foj3WgcvRGZaHsaREr570elco45ckz8/etGO/slfP782XFY1XYVvfU53m/rTeD9up/iDL
ihqgpuM4SlWuhZojxmjYWOmlpe+3mT9GTYw6dzGBErRMnlVHS8eUld9byr2XgGdwLpkl3U3eP6dM
t10+uLehM8YzSxwjB0/Qke4715dqfQPQ2tWp7Hm509EvvLzYF6qihmSLc79XeDUSS3P3k5HW0UJB
Go1jm7er6TI9JCbIU8dPD7EbOF4eqFYQkJ0Y04nqqtInB9zcWfF9YS0/VwsoTmHgG1f1O2vZcz/E
M9oLyem6lftN6iSCkIYW6Zv5VmeMlAp7NZCETNmsyu2gu304p63Yydz+D2kyIY3zcszIfDj//x8N
hV0U1c0N+ZikXK/Wpeyzk5vNr87gQL2MFW4yDXHBooYgE8YU6voYpeuiQtsSSdDCv4ddZ65+Ir2j
Ppk2qXVbu5/WEQI/eZw8LHEdYkvieiAWpAhzkuBRPdEI29BbAeaXW8HSzY/jilquxyV+wHdjA6wt
N8fqrRDyfr7qVc6F1ocdabb7hsDSHXzBMTbz/co1chbN/LtaDqXTOAi21A6cgu2x19Wvum+irem9
VXP8RV3dKQfHZn6c//JTcfDEzNVbgwbR0bkrRGoswaJDgtrV0ySoL+E5Deo4+4BAMF1KK3KuwACg
/X1p7F99oLk7Qdw+avT7ji4RC5VpHhqbclg7hmBZUw7UpohDXVWcNjpAStv+7UUCqElOMeSfq++V
oonMlAcIXF7WKWWYJ8Lw1I7iPy/tzJ3ByX51lN4eB12/KrGND11GMrCWgC6S1nq4dzeq9RHVDKeD
V5CJATLsGukRsEo7Vky/kbU5XVCPUMlrIc6Gw9quYYft2Xr13FShwnnsmLwBM1V1RlnfuBT/dOXX
PI7xrhyBD1YHhErP/5OJkwXZSjvnYGg9Q2fCZNNd3EbQBT6qYHWBCDPEEyDmwQq2G2A/3nxnmq4r
jm9mwu5Dj3HCCrxrmgkyh/G7jriSOQqVIDnSrP3RtiMH33gocaDzna54+LqnJL4ra834A3H2lyFm
M9iZYtznbWGjC0GdZqSXrHBdTmG6NYgpvNBHHxnW/F17mx7Yz2Vh4Vllkc2zVPkzKrOHgasr1XSu
W/MF9SWg51StRN3hfk765tBV5Hs0fUmsWLJ993ySfYeMt9JTHkxh/IshLG5WBWM09CLqZqH4egzv
7MGhWA0n4B6p/NTVRhalwjfi5pMTHn2RsMN1AGGy2CD8oXc2nyylbubNiSfdC+aUE15kOkPjMCCo
tGgVrSrKQQYR+8RWPszJR+Kmmt8jbfHTdXqVvf2hdSkSKKMJYtqRGTxVkK86CxSdgFx1OkrOtL66
0l5Cu7oH4BUkDoiaMFktXMxkObSFIrJJNqRZGF/zYp0cI02jeW0UyKPaoUv/7FyguI3fDjkModgI
zuuSONra6mEuzWTXkZZbDw4xhIPzfI9rQWidttEmu6eJYryDBfrbUlq/M8wKn2FrFEeiBY9UCe7c
zfQiMl9BZ1W7PdxXx0ZHZq1uLRuIL8FhmJqrh6qL/xNZoGdyjhz0ahjl+KXkPoZxN9Rzo0eN+TBW
ZRUUI+uzQARI06Ph63H+SsUmL4sdf4G5fQFKHierJQzUJaBBGG2gRrlrTSNl4V31YOYUEmK7olfe
9kNVPs4GDe7bXivKx26gW2GR6xBg4T9kGQ5F0aZyvzxDYOF4mdvfrPhNli3bzbb8WyWqIrC0AWic
RB50trOFszuhl2knQCjoajPd1yvqhim1917FcOnk9Kss9AHLcvjJ74IRPZHPmYEMOM69qHK9MuBL
FoTCJI/WImTgZNm8G115w9Tg8l1mv17TKEDDiv2cZraMF3w39t9bbFi8AbyersU7ZJmDHcqR2WUE
WUxKHkP0HXxcXqTp3otZNrpPl8cNNBwOqUSBp1yNuLWtZTWc85NqcuX3c3+MOSVSgp+4LxrSZBed
fixb25ta+V20bDyguxxXXcsiOUE+zEwE23TWM14Aocb/xs3+cIncATw8KQ8FnWvEz7DmP2j5T6Jx
nsjYT3a2mX/2eYMoeiZ7vS4tDvf42R4WQkfN9nmzFuTS8ceGrDZo2BgDhLQHIgm/vaRgft7ijeQ4
EYmlfVzvdURCBzfh4znNFG3U481YKlpF9fkTdc0brrxvvaEQqE4enJ5gFLAYnXAI4eu18akxVm1a
/QT6uh7L8lHlzOQtuQd+bhZj0DpHYSozICSYA0Ws99+91frmGsdEwxKINiVcREYTpu5aHsik4d96
BIBVzec5VBXvdtNeXOcKJvi02NiYsQWwyKW4v0wx+O5YpVGWZOGKxxtUy5w4Ni2OTNKpfcetfu4C
A/u95fe7g51/xY2KxbK/ufkLzCQcnjriTuHw4d3gBKh8EsphaIP2hSICOszIK6Ym7ayyNg6LBDpz
bekOtNp+n1lYLAyBj8DN56jjUHa0EZuRab/1k/YWJ/me4JRr81rSOXH0kJbuJ2cGQmmuazM8eWPJ
htGiNN4IMaB8sO+m/FavgvlAKxXI3ZAcvJqRENVltsNl5ysFreKV0vjjeSv7Y2pelwzT9mIcSebO
fKObcV+l5UM5qwdj8dYHx/hbUf5yrJElTan8b5pKmI0GVED183lpxtCqUKVuqwzWLAErFwUJfLn0
CbjWfR2TEo9PlnFNs7TBFJ2zrmH9QMvme4MRCnpbmGGNj7m3v2C1KRBEyOM7plVdGj8WcuRgQhnT
G/wxiueDxasyCI51PWhKixJaIQ+93gZtosD8+c+XnK4HL4Z2ycToN9VyQ/OVXKyhPd39D9GiuAKG
Uc1B5mRJ2M92T/U5j4uWNE+qX27LXLeRKrQ1LEzZ+lbsbqjLVBrBZwdTZtShMFKJB7QPRjsGlplN
Zyfb9X3WJy4nbfquKJ+e6zjswbH3ptN/uPkO1mH2AfDiwLyLJIzRYT0aht1SNC8e2Ck1w37lyVsj
7A9TJt+Jlf/XT3p2qXREQ6o/0/HDw0koaliiDiC2aIO+GSjVarWb0mQDVMdPIszcu08GCf+dDFmI
imAGKDqsg/taQ/LVAsAaZv6a1mnll50WQZ6+Z4pXclwQrrttO/t2tey91P3nNAksCcn0DeCzT8+8
QRo1REe7jP0FLYhjqt0kcyJf/hp5OfoxSh1oz76WZ6W8DhogI12jqv1m84j0Kuco6YxP1FD13tW8
s8UzeqKg8Oi2Awk5s/lQTbBqcsqNixh4LNf6JjXjaV2305hoPZGG3YEOyiEuk6DM2OEF1KUcRmAA
kqoq/eDeAXNOUHoJ3c32seH9LUFncDOh/5nbZ9xQ6SktLGY6/mCyDq+eLQt/Qyw9TcnfjSYcX9jx
B7L+MzNotZPJxzhxLeZ14+spjzI9t5Aa7k0M3bFZDQvAAI1Y43xY5fiz5tWH1nsUO0nndL9JQdhh
AyaNwjPL/lpoXG0TQLRt/m6H+XHxcLhTNX+zyGtkSNrwbZifHbUwzLvzT5NV9X7pIP+7A+vMFEHq
zmGWWkfPshqiwhKAII5Hz8LOVGpsAnd8Es02MM8/wCT3KUUpkUlyJ0dDjfRS10FpZSdqkuEzvGSg
RaZhdqLKeqoI/8w6RWIKT83sJW+5AufM6eNGLLFB+VKmqCaj8avO5Z1mh0T181uTfAvmUZPAPNRX
S7VmpMPHO0YOWa+cfS6RlWH9psaqlBFJS9GocxK0S73s3br2OEJYfLYlf0F95ITlDJC7eOMFOxlb
FJf8ZcxHl/YR/Qgc2EJYMyLH7OWnsT4TIIZbsDCgeKnh0EixCKs583xrW3eutzlgaFuLF/XD0vV8
jxe4DKjwpUWA635ZV3y2uXsQBTzbqqYQt8m2szMeYr2ff3syDXwiO2jO1jYO5hIIJJ+BoVyHHKtK
t1BLcw5IG0UIEGwVGHmxHBsdZtHFxbUzhph+vhx1CvA+Hb1Tb50X0b1j5n8qiuekm7NDoUrdbyv3
25ZclKI2PsgVUXsXpzSZKRfUiBltr7fJhogYhkd888Cgqb1AUfWfBo5NunwmKzBLBIbpb2brv41j
3SsFxBqyb/RG/mvTDqTVx6lCT20aK4kZzvyad2ZzahWChXhyfMeiWwzPm7fP9Cb2UT7z2jRxyZQ4
ACd0NXmg2j6JZ6o184oAHtdofZegqo7PfXXvLF/2sDkQIczS1yavznYhjL2+DTe8Hrm/1QmxyLV5
HGHoItG33w0Q5GLLCyr4NXBH908m051Kx4ACe5ubWdxW64Wq4U/6sTf4zFwd4mQ44dGYAmMxD5Zg
1RrNDC1GsXOS+Tcv079GQrNbHZKF/8nzOrP6rK8KFBasITm45JQFcMisyJdM9qdiGA5ZKTrfXX9U
jel8pv3Cz0tJEB8dexJZI477HzsHFqq9X2Py4qCyNHISGPylBvYqGxBBohz/DR5LrTURyk54t5fd
k055zrhJaXkuHozBdk5Oor2mi/izWuqxStZHKPX2qJ5W3dH8UYl7zfafQenRKtt3ppn8w1V/Vuds
buaHpIoKMK5m1NksP4cSnzotiyzgNyh2wkwrQBQ1rQFFLYfJxYGvwcrzLJX0E8VhRfZIbLsfWKx9
go0OFjfR0snnXFMG2EvzOnrzU+HNxzTjo9o0ak5FGzr6ukvF8Fms8uwhTjjYJis74pb9PP5rje7k
DjmK+jj10T+OEXqAV570PwQTiFAray65cn61jPRBtON7u+pnRVVwWEDCDnzdwKgTcpIG8dGZtD7F
nOqLPj9OZvZQJO1JUVXMWvmU9TU+A4cRuKu3VwRgqJvGFLH60pg+x86xLwDMvA/S8UBWpphb/7Xf
RoBGLSzI1K6sjMbomlGlnyYeQvmgpdNj2hUw2kmJ1FIjlqUnkKX3lrNtRK3BTwdYqeSpruw/jkQh
lSPTLDT7NzEMeLA0O9Kofa2WeK/S9PnO2MSiOyca8KmuNRVI7/RTTS+DZE1dS6MLRD4yzscb1vb+
pZtRHCiPeS1ZjZ/1jqzcn/t0RDFdDMb3bOZ/nrTRMa/O7L0lFiythFnPak6ZOD+7Jfmh06nBKBEh
fvD1qn7Pq/5ITtIYFb0J5e6QH2B52tEbY5oO4ldblI7vddDXtfXdJ9z2WwdiAnYadkuHl8NbfzJ+
PGnxQJv87x4jayJ7GYDwg3QmqWFZBNFlJd4Q6agwnrVfd9OZq8WA8G3UEBH9s+zM9EU1n5zG+waf
uZiT/NCz4t8wQRJWSVAPwzknbAVE/GqZXFl1cxLpFBqZdisT90OKh9wdLnG3SPSjqPQw5oCIaHcN
Ap4NnWt8tubKZ8P95DAuD66s/mTz8FqLoKtHzIlb95pqirI8joANSV//yyip+2NWGocN0KGaEIHQ
18X0Merch4t2ogfkIEx8obhL8QGj79nQrl6bqvWuFLHIq9fifJ6ycLHoMPTkv7Id1pBKVn7pS4Dm
RaolPqjyyekoOHGxDKEkQOskV/OaDjRMkSDmyt44aJP4ABsQYW+WJBdzgeoGvhap5e9ZlRwR25xy
1XVB7/KmF6N1o3GqOlYW3vLWsasdFparlM7L1K+31oV3TYUEG73/I8mRANhJF9bLEPHclweUguAp
FhkN3cKSKqEaKmMOa3qVpex8XPFh7Wzaxayqqxybo5UV7zmSBN8YUnOPlvBHaNpz5+jf1N0Skma1
f7uiEPt8IaE5S5t9kvFd6rr1HyUVAKKJhRNUqzjODUgmtazdY98R817Q0KMdYgg77sedpRV1qFzr
cU56Kyp1SaSGypIDkXN3oRA4gcbe4WTG8K0t+j/NrYbnJafbAWUVafh5hpOxfHK9/JGYs+yaa2De
5aQFG4d6Y4h3tCQyKOKOZBt5qeiQ2pmZCtPBXXbNkLXvCQFbgIPLV5ahOZrrPBR8vVhf0NVs1Njq
ivDVoRAV6x8X1kL6jp5mkWo090qy0YfsswvJlW/OAm/o3EsDt7U5mmXnXuLVYW3Y9OoPooPvjBXA
ydhStO0mMrsJjJHo6yJb35eu4LbORBI1Tv/dzrI7rpVNloR2bvWC+r+eSoUhNBvXe3Nr9a0SWSMa
eYodKw4SY1wCbCqf6VASx5j+27Tuk7VKwIy2X623vY+pHg7tVuzdWTzGl5qQo6pxH02ZseTqEHR5
IppTbhfYN9Dp7Eyr/LQ86zLF0EMNwEdS5XjkgMS9+gIQq5BjDK+W4+k+ieCsi71678vK14u0COis
hfrpnrJifonvT1WF/3cVl7lt4Nhogask7E7Sxb9TSjsamVawSGDgDv0xFvqmduSJTdYnGsb5rskg
SMtns9mrrf9vWrxvc8OMGpPQ5VsemgQ57eZNv7IBHMh6gaPTnb+Q9iQD7qmyxKuu8guV2lGNgjg5
JIP+TwdA7yb3hWarYDam/2cKMDiQqlUsk7+0MB9r92ebTQBXAJQ4JZgsvtXW8FLoFW2sYvX70iQF
cGV/qzsRcBWBqo1PgAunyZyp1i4STmfx6rbilyzvX5sTte+0V6dE1qHPZzXjgnWGCeAHn5S0bnpu
v+QWcmCXzjBeNg4ulweP3KswM4zpoNyfdZjY3dKFaz9rfbu2b7gVHk1DByAGCmHpMAvvXM71pd8o
7xmQwYiseSD8dzHia6739/uhfvAMzq9585HZEeH4X95YNykg3ZM9BtHdwijqKDRKKv9vVM6lsUqK
1a3kI/dg3lDqkfTiIiXQd7kH1s+T4KskQfgDaKdb77glbyZ6Ekvda7XXYR8bw9FIh6fG8kLbaP9M
fUE1nJWJU5yH6DEzx1sZXfQuaqfq01nlxUo9WI0yviyEqJhFxkWsm8Gg4wGm2vZCmRmlUWYckEiJ
9ijAhNVE93nR9ZJo6pzH+P5hePbsqx6TWHz36bTdozO7p3w0ozIpeNgy/kWLT9TVPuUN5TAgg3vk
NLOpXZXRms+N5aCTVX/G0Ei49SdKmojknIT46yAVzS2Hie4eEeUhmlMrZdwv0tZutoQSY9C0XZMR
sZgXlBQW8zK/It9Mid+pkv7L0rYniqWYg6R3sAtw3X60rpbXLZGnY4ZRU3roWvkCj/53qleqoJC1
WUAlnukd2ta9UId81JR1M+nxTFX7m4zaVbfyh84pmPq2O/I3R2B9NN2k26dh2bua4lSVWJ8eD/MM
rutmboTiqOoJVMva7lAyJOitRjdD2v1OBqU/3qVLOZyaVEQTQx1FZkDyY+R5+T91T2DCskIbyfzD
pGkCpatDYiwHOMCzFeZItxYSVfN2AsEZImNBtZ8tu4SFN3Q17UYpB3/ploQNtEFf1K+pN/mmbjw2
evFA1Ny5/AsR80SV2EO75se5j88Ar+/aOD5KiejUZPX0se7l/rw8xzyy7cysc2eQO55XYmDOJYxM
2LCNt55+AwDYi5zTW0wicCo2eZoFTpu9/F/TvzPizNg3ZpL7GCMui2qPeb2eRwh/Ek6Th8Zgq/Nm
tHdNDGVQunEPkJ8GDuBLZUsEOcOe2qt3W1+OucGvr0XRGIxGQRGxgy5geVdy/sYyvtxRAf4WW11d
Bwt83HcnhCXnlozABFUlIdVvY7MSdLiIR2lnZF1sKH0IncqXx/Hu4AH1R3cFL2d+jok4rp75OSE6
mbZk29E9zAjXdJExAKm0LQO+trVXSZdjMJsttiwg8w2xp62Wp6XDr+W8QEfdhhi9t+nNUR5Ppzom
i46AkdGnzwzXfxqO5XRTNERlk3cGmIT5h90RKNOz2G9G2nm1+f9VAbYVYtlAjaE9G8m4J/U02Nrx
ZteE+9LFckEC+9WXNrKTLBwnfQzMxvxGQXIyEHK3qfUEvGwHabfs25lRnNgusZso8RN9n8JoA9Gx
B3MOMMFOLoBxD/bdT+ZZF/x2Rjoc4e2DYm0j0logmv4sTYEuV32jbnnRiuLLqIdo4imnPQiTvJ0i
e+hs6SvTPLkegATZ3iz98adbQb9tAnhRUfVKf2h4P6sRMv+hT/TUm5WHFnjZuZb9qlcAulVOEWZd
hizhx2H81nFQ3I9kbYofBmFRQ+PVflSv7buj0n+qLJB7a7wrpiKDo+Tmq9r104DyQ3LeBKjN8HN7
9UPldH81GPGpYGEj4MGHunr03O2d6+GiVOlEOSslHkqfPL2Do5e/M0ul0Wyvdb8eF/xmyVamIM0b
StfYPmd19je3Bmph6vFxquBcde+gVvPcbds5q75LL3vIneGX1uRvQN+D3Q0n293Q6SMMaGMX1Kgz
XvvxD2Qu2M6GGkTcHys+zrqqWAXA/dSgnzFMX6w1TJzpq1Pb/6+u2PXAhtfnPtZuUwJ6mXrZL/ZJ
G507UvCG6cxd/zNj880i2ydqBWXR3FiOygJt3k6oEgperyJoZPbldgs5U5j5lPzuJqn8DPiHrdXW
yz/NuLCAwCPM9nCak/GwQNLtOOD4hRWDYn1MvhiksiV5GhfcPCOYY9HQBEtsTuJHDQrrJgW6KcdP
2UdrOe36rmb/re+xVHxy5uh8xprxHjsaX+slzjZ2Eu1ZSwFMSfb2Z2RInS5RSTXWRSB+g6cmfoYh
R5K2fcmZHoxYf57ugssRyW+x+x93Z7LeuJKe6RsyqoFAYNqSBEeRoqghJW3wZCpTmKfAjGvzrm+s
X/CUq6rtjb31hocU80ikRETE/42qGCgNswOGlj7CuOp0366HbBSFxTFVvJvJTOm+jHmNzVz2X0XZ
7WzgyaujqW9d4gUVYiT5ynOY1CSccDi/8qc6TM3PYGx00tN3ofJcSKuhY8rmZlHWaVit14rxYTPB
evnaAsB6Iz0OLtt48lYsJ7jG1tRaN7SrJJZkNUfmd1tpP7XB+zFRKn9IbTfa51HE2USf5p1wi0sX
mE8JK027aCmLwDDWoYII7ZscLVs3MvOk6baYOYG6XfA690ADKamust+2GM38eHL7U2zaaGDBE4AI
3UdjmKgVg4M2uqe8D46xl4gH9My/oZLfZ88W60ngUY9g4Tlouk3vN+a4T+JZclBAuTVDSZ+VyVSa
hVEKMl92vpy6fDXQd42JodDXHVjQWifecsNZO0EFC4pCgw8ys9DiKAiadL/BEo3PgTroqvg2+403
huWR4W1XLP+To+kd+0Zx1RmSd3lQPHBFk/LkGrEf6E5/vN/gU36xOR5oI3C1azXfQWGFu8TQr3KQ
r3xv+Lh2e/9pnbjoNKdCqrUjcAgZf5qQ434ctN2kQBSraCaYoJ92KMZdDlzBuSnrCPW09qkN6Q+R
t/pWzDaIWxYxhs7atK/p3c35djjIIvg5BzM5Nq5vc0KPY/TVS1SY+X5RD0WJZjAHDv2K4DReQlPl
fmCOTEmmd2nyRjulif1jJpAznSdt7YUDZFjr3sjVnfeRUZ7HkggKNpHMH+P5V55tU6vtiVuK9LWz
mN6DWqetVvH2OINdiVjAM6c5KedHVvFa11ErJ8Um7ZtbEZVyR3zPqof5QbFdZvA0Yc4RaELaMkra
bsLCooMB+XLNCUsy2R0Ga0RIVjebaC6fBp4QY+gL8oTgdMuDExNMA19DMnhvxCcyGRj0UrhYe4Za
7oX9bMSIZMa59qkqy3xdQvqpGkdbaQfPJP8+FkRhrnStcNdN3cUodqf+YPU5pju725Vky1Gdbuyi
CB0PSSm70JD2mqMSGf/hIdDTx9ZVHuai6tiB6XZmsvW8BhrFxnakFfqD5Y4EmtojGivnm9OjA/kg
O/2UERd54Uk0LB44hJk1xlvaFD9yJ38F4cXNPw3OTrX149RN6zgu9Ysxm7ve6f4wbOOiEcUzKvk/
jQas3DTgPulQgqXyKR+U3W84grbssflhimDF4wDSriYNYO2gcnL721i1zVnlcj1J4Cor0x8mNYRL
HrS3ESOKQDtw1LMno3ADG0ONpZXsixpxT5kg8hyNeOGNo12oO7+rOB9fCstkUirlmi6J1gdtOrcg
2lg723A1eDXnRbqR104b8hO9I6diZAj89mCwhgdSKetVlcxoIV3rqQ5cJMUd9DF60aavPvUq3GWx
VR31xm7OhsrY9E2GqQhQW1PomnuS6Tad6aU46gH4NX03oD/ZS7O+Yn/8DuEWeNldg6XQsVDeY1RA
uTWsw86KNsgB4Yi0x8jJMxJ3BVgr6822LhBzJdWP2kNki5zIQq9pr/mr4mYov114v41BTSrpHu1r
W07O2rBRFsH82MMjWg2uYQcFv10+OWF6QFKPvkaa+4wqvHWXzu8o4G7mLPcZsuJNouEKo22A8Sdt
N3HCGssuoh29uKm3xFS/lvGl7Sz2Zn7LBK0W+yZGUl5iIJwJwVjRVr4wmOjf3SGGgVYj/Xos5CgM
Iz8ZJMKmivbzrhUYVe34yJTGYuCwXNOKzpHJwKwOL7N18gY8E5vottCM/dj176CwKLXZhxIKoM9K
gwQxlcaWAtwK3PNTyZ1mIutjlO0OMLriksfWVtaFRCbbv5HY0HNxolyZq6coxH9pTjetrzq/ZhlT
msMPNxtjYwn7HXAoRp4bXs3UeU/mHqopZwPFUH6C+MCYmowxQL5h+O7EYBBPKtl2RlDsdJ1wB0IP
6AGHmteWL0xQwi7bUl567Yb1D8hH4hgrjeyBXuqPZNld+5E9uk0ttTFgB7ZGZD+RTFT6pjGQ8oww
z8tywS9bNcdWtW9CBwpQZv1JS2Xd5kDneOqNuD1NriRPx/lplPwBNVXaq2TSmBBBjSZyRivEihcT
XTCQMtlqaJVi+nFeM29bz12wHsCd1mWh8Sqqhk0KcUgQX6NcV1upm2qNKxTLctgCl8jQhiEBQeM6
X41Rnq+quT5Oiebu68qbiLuouSac2N2FwATKjnYaM78+QW9onp1sJsnJxYu1czbQ+wffvxuRLq26
WZ7QwDE+hRgr+2oJsSwJvu2vHjoShjeay3JNYheeeWs5L0KOmFkbkR0XrnWy8mE/OOgUtANA/XMZ
DK91zZ5vTPGlqZq9a+gGFWc4vKxqVyWoV7EI2+uk5ANV9HzylkSBbacrY8vS95uygCSpPnKpA5gl
7t4TE54A/v6mR5I3hSfDbiia19oyr1LxY0TxEMnFxoeXTVJcA7uL8GrAuZk23ussWusWDiimXK6c
edi0jAsP4+S8ZHEGBB0d8wWgHCrqYhKIL2am/RRkOKl0zBtlPR8Eh6/NgKpvm8aF9t723qNEfZuQ
k7Xpw2o3yhJKvT9O1TnKsQNT/Jz69pfrtPASnViPMUZlcviqkVM7uRPJrkr3LsPXmkPxodLcfNPk
2lPYYJ6qO++pHtGDYCiB12vU41Bow0WUOvZ3pNttNW40STKeHTHC1PMlj2Zr4/RSUlfTnvVBf2Pi
qRb440/gps9MerUj4IwySCojPTpIKq94S5+pAkBeb+8n1YcbTXQZFBc60LhRZIjDMBSdtUj1URKb
U9hsWy0IH/TuybDb7pRZ9p9xqBbbw/sQTDXL4PTRtVhGEk6nwvSjwj32Wn9cPK9bE3Mu1iOU1F6u
XcZ0ekzZl6AT3GS3LLG+a+XU17TR+1CiZJxAaEct/l1z9t30NZomL5yy8yDwBAPbbQxGba8G3asT
xQGzktVaTM5uMCBkixQ6mLiFo/J67WC7Z6JXceFI8CiIRHW0BZG72EyORsqm6xK/tNKm2MAlrYG1
E7nsaE0NTo/HREOvAdccHDn6MaiqWH9ww/AYqcH7NrvetyPD/tUhJl1NpBy/NGI782Z24+Dctcg/
VG020NryRBTOWRm3BNHYVSWzfHIgKzoxwaeaxkvGLO2Rb++XhgfIHo9cIwmYe6Vpv8ea3LxK7+Md
Bv7vBlBu49RaR3rlwVAjEi9dPeVt8Bn0dDQ1xJLKuKOAozTNLd3LSNFGPvgmrz5PI0F3wgXs3fKD
Wmuu7WQ3fuX16ZPXOaHvlLzqKU2QKbOeNEGJmXEg227Iu+xsSoRfGjUop6EjFJviYPPQmgoRRY1+
J3ecZi+0znuYIVt2aHHnrTsk+ioWqc49rWVYqIpDZn+SlPchkR0wO7QvFkAG7WcEZiX4h94CMwfX
wB+2rmf6iZq61/Y0SiNDm19CDVqdIxoKF/jfysGdRNIbkDmCJ9F9hvAxk3DlYc6qRQVRPnvUQfFT
B+Eb4CWbcsK31ims8z9LGZrHWfYUwwnSoF1kyc6nt9QRRW0UbSrHCdcuHYYPZYea1ZvrVy8s/CF3
yscRrHkVIbI5OB2O2Mg5UsCLmtbszW0xtOHGMx+RC6KjZJZCnx1iLpaqfbrfcEmtCNjBdKfXA6No
lz4pVRxZws9UcJiHsTzW5Hc/3fBgVk+C8fmapE9N/BYEbXDV6zG9Yd+62lOKi2TSrbWHFrT0Zuda
VY13jT2AEtm6z2Fsu0tTAGZkV28PutK3KVrdc5h6Z9xGyb6xYmcVaMHOg4d9tpt2uM7d6LuerP0w
H0CkwRcIj6qFj/KPzQzqbaycfp8VAS4Ak/dj2l/dNm8bAIRIj46Jk21su3e3xLDxJRkGLoIChnfS
mY9xMrTXMl/3Rpps8LCnH06sX5qCGFvAsOIWsDQMpvtgJzEyHX43O5eEjZWwdbob64rrsUYBn5oP
GNSno4XrNa4AcqLyKxHhWx9KRIi0MyHO+Kqt0N469UjwQWQ3KzjtiLWkCBn9Ci42YsvJtxQDe9ys
+xIF+kP+HixxHWlBaGdl1keBbbaTGqTtnJl+3J1th7YSobrFg5zLE8dYzuPqJJ0QmrzoYn+Rlmpc
wKbTfplq3g9t57MY2StX52BcdMmOWB56tiPc6VGcRRfiL8ILMPceGRbxG3X+ptxRHCiuupEhcqY/
O9l9zd20z1BiXPTOPLqBDW0TFDMeHDvfaiA/Z9XV4xqnUgr5VGw8J3whzrze2UW0FWnhEq/INx9x
XGOeoRanwq4rmW1Iwi4IvnDeFyLn0lagA7SC61uPAlLdSC7J6BFoXGOiL/jWHXGfeFwW/YTd/QnH
hj81Bkl8h+j7pNH127BipAkC/SXjcPydYKaqx9n81aNpVA6lom2di7fIIgxiqMYj/g17SgTBIL88
Up0O/BxOt2wWgTuYjxXWl01jdM6lFu6fpgRK0pv+typazFsaQ4me92d7/ll75wy8e+twXkJDSylc
UkfMYAzkib4rG31PKbQ/2KXY5Wa4zy2SLMqeaRFj/3icUbUeo0wtInOIXDdOWqBdlz1fR4nK6Z+1
YoLNhT++5c1YbqMJj08l4mBLn9SZ2GBrb5fOcj73IJGlvoHjwSlrvQR54TBLiX5d5aAKdkWLUAzi
vSnD5AcfbHSAxszilCtMObNEsI0b1UU37y/fdMubeJnduHshUb7baA6ntljEytdMz93NjenTBjf5
0vrdzoNkHUcC6Rjzb2mjAhez+hVq7MKpihGAaYHjZ3m2NyvtIlmnPiZRoiQIzAYzAYF6c9EhaArb
PcDRi2c06oYlaItSlRquBXLrRrXuC89eE12VbhshnfdJCd8byDoYQ4W+ovxwS4RyNihXkkp1beqx
PdgWxVfh6IsUAaGMzfqRUELfKQzxR2jBMxgXgiGwmnPZVQnEH/aWtuYolPTyme0n2ZJHvh4YLP0S
QUtgafERV9NBJe5HYHktAGd11Us7ufI0JFoEvYXlNbP5EEekF21ljxvQzijWAj5YGboukAPjBwPR
H/yipMqw6Mq3ysBAh82TMECufHKrt4KDBz4T7yJzPaEqPLH2KL1OROAYR225ydwfVmwNfkZFK4K7
sTgFpv46x4xiXRNATYrxUOfJezKMmDndGl6cUdbkBAvtNVgcKiONvQG/T9y4tA2PmrpywCJURtfr
nU4xQPOaK0u/CC9O970NSG6XVfhEv9m3giXBIuSiiyHVIC29Lws3BJXqngUt3g2Rj8IbDyr68xi7
uemw57hiPuH0pR46piMq7hiBvAEEHhF0/BQSPOLn9DcdyS0jaWNjzoG6TIFGSEoz38ZdGmqPgyU0
5L6FhT85v7VW8sfKeO9ePVYXtbiA7PKjgMK8hqarrelX/kHr3XSAnmAmi4ZNlEc71XV4q0uyU2Ef
VGvOq9pwjI3rGQDvjX5rnIR1xYufTEJyVsy0Yg+DMmIf8jrOUnmppotIR9p9xoELtfLg2ail+6hK
YVISwvgTTF3nbjydRitpLiwsKngCvR/6JRdyVnImORPRC6lN8MdsQWw3zSfbZr6Kw069uqLCwGGP
a9tF+EVfERXok974BvnFLN9wvKrUuRLj/jn2gIEToSVf7RCsNevaWNr020WY1EI/PpNDsA+REW+i
RjfOXnHDoFVuq3m+spfRyOhKZJfEAmXRIU/0yrdEgYAkIj1iKFNCRqqbEWoS2IgQdmdU705ISoTj
DRyFkolc9fmHnne7PibNxyEZC2rsC12pdxJVegCRmtc2TTBGgJV6iPIJvzh0EKVyaHlwqhqdN23K
XiPcwGJda7LpiJw5b+mAGtPq12SRkStTSrjqHgODHqujGuTVyLo/+Wg1G1NGHEHnZp1TABBYLYbn
wT14RfHF7JsROMFvecwv8Ri7fuhq4Ac9giTIIiQApPDvTTbchFxK38FqSvc2T4ZuTJKDw5g0z0BC
af7AVHVqJ66CgSQAtwMZVUlpHrFdhSYiWjtQvwKy6temsNHROL/HfOYYQuBjZutPbvDaho7HaSOb
WATKY5Po4olxEybnkNvfiiBnitZuZQx6iIzJZ84lRjJ4AKnCGYEjaZV6hf1E/kO5UR6lv3XSvpCW
JlcjU72m7v4fCQgeElGOAga/PQKYoOWsE7ICotdnOqvFI8jrtc/jay3z9qmW/WtY5vOBwN4zgk3U
vUSOssdpvmhhkrJTMXfxnlSAB5QCW0649bob9IpXNqJlRRyGqeVcDZgsgkhqV5PpFJdAKFJxI6BF
3AAGfs0Su3XYiF1pQ0waoiA0gto0jMoMJWBpB0LpU1AQVC1h614KVNAvuTB7ROzxGgE8QG+AK9kq
w50nMcMDVz5PqX40k6LdZqV56Tlodj0Zw0OJ1N6d602m55/xMBh7c/YHAZyWgdIwVH8yduto37U3
LRieard+cpaMJ05N+7hNT+3APt+gN9pKDxphNsIdnpFjLEqBY1mSx6uniIxZqSXMelnSrwclSxUM
d4aoeza66c1sEUlLq3WBGfIndgpjQ/BHsg1T62PIjQDTfvVK2eMvO+wzgrGIzCkapnhkoTJ3+53F
zGkM2YumJwRLGVj8NGmtXQPBpQV/mVtYo+I+L/20QpiEQHjXa3O/LQxQcxVNCTK+iTSE0HrQi8dU
U9mB8DICYwB2dtT4YPdAvtJlhI8MhF2CbNIYmQwq25d6sebCcy8VgKdbhfG2TtWfzJashNZQ7epc
knsn4muS/JnjrvZR5lXrvOESYaLiRnY/DJt89Ubpr11pOFtPaNNWZOpazeUr+S7TdhLJkymISerI
j1yNNVBF6KY+kDf5AcGSjQQytjWJy/HJtKN/wfo5aWcnYzfTupATB+YLc6LS1MQkO4f2oQ6MLyHJ
4q9+dhaVqHkkxlvERRjkZux3vOA4+A4rJJkBBsZYVXiYCEo3kEUiAibc04wezCCaUUEbxY7ILewO
ZVtsw69Mze5TnEk/Tuf0kXIW5j4Qkw2g+8UzyxDa8rFzYrGNw/xNb6EGWFYdZDeka8UoPSmEH7fa
ohQ20MPKudjJGtUVWXjQxKlJcJUiSahwMaD0BXRRO3Zg0clvzAh8YNqdbYn0x2CCUIcdoQHW3L04
qmlYobCRmmMFsmoBxttdcTOj5GGYHOvclsbOsfqz4SFXIVUdWaoyHzzy6XeBwLZeVV9zj2Ocat0N
mP5vEsMekUCPK9zSym9zKpyHMqR2udlJ5QU4KgHbXWBWjq+cmTKjvYm2ZUiOq1OWUzlhFtemRYTo
mCN++IZEnDAgsFZLtkmOAUh2IzfkjizOFbnRsRWONqNN7w4bRRIQDFjxOnahP4Horx30appAMIbE
e98qYtA8I/At/jg1x7jEYXMgW/9kaXXGD0xvfYTudtarx2WE4kC0tjUyHyw7vBWYlshPi29NgSp5
HH8iUNPwvhAc1sUIE2yXgUynTLeIDP25i/NtL/Pjg2fPz2SQkRvhOm+S6RoFNmd/mulpl+blceIu
TKLy7GE+DBYeb0j3zVSrgAU334zk7gl3/H62yuGpS+R0CMJ0XxQup/gA1BtZ+rrAl9a2uHVmG5en
J6mCDbAUKj367A00XGQebjnIAJtNIMGAicBiaUadQD4+SstcpWVYr1N6ODdeFL+3OSL3BJC7E+i7
CUHjVCVndJ840nSqQ5CIaHDguudbaYE7rptoN3O3y1lBRBV5G+euVCXmtfx5qNGdEpGTrdaINlGD
63AJaR7+yjo+80mKrU0gaIIR283I8UDF5usssYdh7SP8unoPrdxYxUOBeTJ4aovqAEiZ7MdWfygn
UoiTSaxJLdZ9vdRzJOKo+eAEYKctaxtOFbZmDjZsAVhMSRBwBy9auCa560rn3ZKBux74QG4Sw/7W
c8/b0//i431HeuUAkFk5WoRMBdA3VaL7ZLgdSJ0p9mbOmh917JcUJe2cEbisSBJvywdthZ8T4W8V
9Ri+mJGSHDOo1tZbY7GYzAk/MWASaJJi8THln4mBs7SXxs0TxQcGTJz4SzhoXPdXHfn2qkWKSmcM
/8iecfjBjYIcaPlaoEbbNHVBUtsIiarAjDuT4+uUHYX6qPRgTQaK2CocRtWcvRjE1zUkg/UOrliO
ScYG4X/3GDqWtige1/2tzwA4iUvAwZXz1yprhRRKEg9ZW+CRKdMiE9CKwHIqbOrI5hCdPCVJYm0q
tSiSUAlCrOPfxVb80Bmgb5yU551hwVpA7/r1KF8sUOi1oWdUGozZe13JNyki3MUzsUEZSMGw2Epq
wsqCymHWs3+j7h52MblQLFzYbakHJZyEdjMyezAdO5NAmToq/QgnxBpqRed6RHLJNrGROhEjYxLq
tI1tVK3Xh4gSso1e1K95JZm1EFg6kflKJBqfzomaeUq6kWWus4T2i9KJLC4SdLFkydT2vJzMO/fY
peY3AanHsqwIx5hQotuSD8Jise/TQa1HW81oc0hxCn9JRdwBofBfTCbBVq8pyWZvhCpoGMm0IobL
QI6KILpDPTDe5mig5+h+44TvA+sshZBfdAAwVpBNvM7C/NHERLluTmOho0lZ6BADIy10kPcxD711
vt8YvbWtrFHbqz47lTMOfRK4W3BsG3ipwQnC03BZj8t+uuIktlvswGmszmMWnckBMnd1zEU6hfS6
hcYzXeucyAq0b+4Tm128K8b0bLX13tJQV+gB0Y10yl/L2fldu+nBy8A1Cqj9tdsPLzPoONhMd/QQ
XIM1cH06i6TSBBgfjS4/NVm2s2aXk92coh5onYMzSu8wo0vX6xC7G80sEP1gUCr1ch96jnQrOvTW
U9Rztii+xgLEqmBVTGr7G0fdV0GqpLIYk4ypfuTddyst0kiq8R4yO7I3hSuTbTmF+6hOvjsoYf5S
fKY9RirUYr88U+eQbRKYqtyAsLgiQiTQf9XY03ZlvOEoWx+JSfpjOZb33GTbjjDNMQhC5i5KgAy7
g2AqNYSaU/DCP15YyCg6zJ7zg0g1GjGmkfi1Pr3WZtVu2/6hakriCooJnVovbn06H1OsSuTsYsaU
+TahE7idjjMuZlsO8TESn/k8ZMAcZeb3Hjq1YhifRBRgMO+cAEjFzte0CfKrbGbph/GUo/CuiLGI
A3m633CYs061NnECNLGrDz15S/cnqulqN+FwcqLPwp3LwDfBGo+YOypzf78r7F7tw9naIiXgdVr6
Z2fZDeqMyDjdb6xh/vs9/Cd/v6cSAG56PKid0N2FCMQZAVFjtE5zmpcbWU3N6f5Qz5rJW98f358J
Eot+aiqDNiReGccyz8SxHUHJcbRy9/5F1ilxFCaF5J4CpBaWe7zfEGUCfWwnuYCqhU1eJN1bTxdf
U45NH+sVarDhfL8ZR2SXiAJ4bHaHOhzcB7PIR5SJE7yXoT90KmU3u99UknuTtyvKVB1bdC1n2Cqm
G6y2m6Yh7e2f31bl8zsxzfneWr7ZP78uKIVSWfYEY6DM9sYSMEG0hITdCkZsqU3Rg2XmwxsTwltV
kTeWYpgZMcs89mM650crTaOzqMOT42kaPkPL/dTH8aF1QoYNgaqDGIzwDzYNzJ19xPqqJc2GuEzn
kXcY7oE0iZnK6uih7x4xrqVEUsbVIZN0hYkClxeBy9ZHS0UPea7mHzuFcqL/6AN5RIRze+4eUwO5
fkgILMYEGZ0KV28OcRLFp1A0f793/1q4fO1+D0HWtSktbMIoO9/IOyFZnncim7zekOClHXsbtfa9
Xu7+0CSnFoaEYierwKlyf/b+sGtb+zBkT7NjRn4pe3kdEyl9K0D5h4Z33Fa9NR1Dg4QK0Uh+m3ms
bw1+sdeERb4bQ7xeZvHemVP6aJguI7UV4YV1xnXg6t4P5XXfSZGlv1tL909AEPzOiTl5YjUiUUZD
wFKiL6sMQx3u7S1tp72UsdXsrAxoPPRc88TssfZ0qqo47RP2Pxs30n+Mq6Ya4/rXPaIOlV2rjRJB
s/HiSd6CeJxOYzv9vj+aZxy1HFtsXCPum2FJ0uWDQHsx6pLLJpHu0Y1qfWfVFkk3OI7Oir0rDFR7
vd+YGL0J8rab45xhyUkQmUPX5S+Z2/4szCbmn/OIg0Hoy97St0SuUYw3Vy/eNBKOZmrqUqd5/Txb
1lmlIv3QXGoilGe8Ue2trWOsDR/tklvE+fSHxRR9BDlwNxNJ2x9eUr7SPzvd4nYWZ9KhMrSwgzMH
n0Mf7jmwCyYlLdi6c0paQ9j/gich/dccXUblQd+Zk3C4OolsI7ag3TQ4xN9jjT93i6K7nMjTnWa4
DddS4VZobYqYbYqhsJg7s2kXjkAReW7Xu0bMzjnC5+lWFn1rOp7lmH09Jcp5Sx8ZZUhkWCO5SOWO
3XeO+d433g/mg2nTSKfe/8+z+S8/+/ZP/Z+D97/+Naf/f1N8v9CJ3P8//xGS/1/i+5//77///vmt
4vT/S/C//09/Jfib7t903TRN0EcdjaRcwvj/SvA37L9Jy7JwUwlhmdJw/xHgrwnxN0PYtu65uhCS
/xKr3/yV4K9J+28ePQCWoyO0M8XyDf/j1f03Ivwd06WO4F8i/F3DEXRbSkM3HUMYlmkvz3/9vMVF
2NAl8G+SVkzXwjGBMmfsMHsMROAGwXObI8CYaCK/F2+XYWs9WB6cByMWSOjLOLCwzuQEbIDLpk/W
FJwb9bgniJ+cCK0zrrM+qmOY2p/3R0OUBHt0C6RlFZm2r6v0T4eqdjewHB4b+CVavYaa43NEGoAc
2kOhcv25de3wOGWpucL9w9PsadD4Fpm8hvPRl1q8zvOAUJyAxkGE8CbjasE5OCM8UetcxIPVS4y+
4jlrTOKe+7LcGeRBPxeoZh9r1PQ4m95bDTPmhc1riVyKgoPrluELyR7BzhgijTQ9V3vuhEx9IQfm
tAZR4NCl9U/qS9aWIsq5BpeeI/tGp5v1SFJlDO/OacWGGbzOaVFc3YyYrizL90kxT0fV/8jNdDzZ
uOuwwDrDKdZEfQwE6iUypR+AJtMHzoLs8sOi69VMsGKBiZ7srBDQV7NeVNT+qFstuszWhBspJv69
J8D4oDRlv7jt+A1Oj/1Jt/NXGrSx9enBzVVF8Yqb7SGoLeui1HtTqwZlm6BHfSICgOpHc9sTQrLB
6WZv42YYbogrfMsqUS0uiTJMxN7eLZGTZFMFIpMZTXHNZ/vdRrp67OrS2vex+OktNCwRPfVpsMOq
An536lOEjNG3DULodHnOuzF4vt+4wngUsPoXQgTNo5RNv4777KoNis2ka+PHoUl+V/NvXLJqxUcu
Zt2sK+Ya2DQVSgog2z7a9VHgfnTZc+71uU+nn+7jBLDmjUv7CEthPOxMzXQY471HCgDSRyduvQ2Z
aPEeYeT4ViHHoeDhhji5G6b+pqQdPaedYW1kdC4hLi9zlS+VsE3y3ujxNqvqdJWHon6LjYk5eUQt
S6h2/UbWTM6btFFEqhhd4wKrCH59R6xyzrFxcmevFTLR9pUxxE+Fmht+C/aOVzz96MImP4nQbNfC
7H4OWSyI466L0/1mApNBDhcVJ53NFnCNWWBZG3zPyjo4c62PfGfAatUN6L3+5XGzPDYHjnjW0D2D
Yanr/WYkASImxO2CcEldoenCJrORA9ruvjWG2xSI4aT/4yay2uGEUW5EuMe9+xP//BoMYHfU3D8d
ePkhG6J9HMzBKV1uqhrybHJcwhiwrAjkk82OYNxxnRRWvJVRLq/kcg2InbT03Bfxz85cDHAZMWyu
LJ9oTdOu+XJjZWN+VUh8lwe9DDgGNYZ2nczx0OTFIjbAwIHUpn5oGvOV/usRDyLJbPcv3W9qva3/
esinMNs5s/qY3YSgFHfy0P8jElp14QixeL8GrcpEZ6Jr0Wc8AU/JbMBoOoh+4zQyvwQJeVuJk/z9
noXsDLEz9r4aLQTM1vK0u9x0Nt+7qBDg3L+Wwdv6qIYyjGkM/gA8TDvemBR+ouHJ2Jh9b6Kqfy5J
eLBkMTxZZodopp3JGOsqkMGJIGuyCNCz/+PZ8R/PMq25jBblb5sCggtHHO8s4gMhGrj53XfPsgvI
R2p+/mruuff/5I7WU8GK5VJfun/ycX6ZY6LKWyIhagOFQ2071EenBeu6Q0mKFbm/ZIhxf46Mj7Ly
FvnnEKL+MQ2Chj372OlTeOliKLHa+BxMimNW+uxmWwBEHU/DiKyh7Jt9u3QSBJaZbAyDLGv0rm5+
JTBrxShrUz2NRnl2kHlFgRnYCJxVwuQ/Q9K4zGW7KtR2GNz8ESj1JVZW/2J54hBqVXq9f6lC/bsK
IbuOsEPxHnkRAV2zF5+7rkjOWq+wPdNkurk//OcTblob+zLoL8H4/7g6s922lbbpXhEBzsOpRM2D
LY+yTwg7TsjmTDbZHK7+W/QG/hf494EQyTuJI1PN7nqqVrnJKR1TcTKwCqH8/e+XNFQYayeGA2bn
tXxIE0YeRNDe/SgPQiLq1tLocQUrUj4SQIWlALGnxeYDjGEyvJOrj4BWE2ejzZX8KFUQDsUcfes6
GphhQeknLYMKhFoUdrLuvhBFqwnhcBFvcOROZ2Krj0UKE3A9dKaxb02iBtCkZ3atiDduTgKjUx1A
5l/otd3kdI3//tLQrCcPdMGe+gjzAkvbuCRjLI5kro9J1cH2+33NFaN5qSIb+poYUOOW/+/3IYP5
tfICbkoptocRs5BtbzUDxmxCxfAlc5LqLFG+QPii7aTVluW9e1JLjx5GKX3buW0ZdkkO1YLxJSjp
Mj/9flUGOuKiAb0zStpPqBfuC8RJhtdZCuHFcV5+XzKI2FAnwGymIZj8e+dyljuX3Xjl1rI68NbL
3QyEBYOAFsqM49HDKPpZfx4CZ9q5QVZg9hXFzUZDIZI8X7Js0C+G1+Q3u4DgleQd87fl6e8DkJVs
3ZvNtPt9KjjkJR29ETQMvTH5ce6FUaqtwAy8+30KN+dSTAY0GFdfoTTkV+pLfkzDz++xzU2iLGsD
oLPK7ylFwCtpJt2D6OXwgiHwv9eNoomP6JiwCpbfFdAWwxnc7k6NnLNVVgrtKtsMGbBu8CFbKVcZ
A6vYU+IeBHqyHeBv74IuQPA21Mdsev2jBTz/2ci0ve60HCbrwg9dH6plrRcmbfdGfnTphttVPuEQ
vH0GTi1P/fTmMTDd/hj78wgxR1JRYuoHQnusPcYwkwQjVQbsjG3V1IngOvBV6GDJMwdFg9GG44R4
+yNUzooaC+amj7pP3mSEJUHAw805XnIT5VvuD1M8Ri+u6B4jumG+XB3yl1dNHBNH27+KDJsCGpf+
BZ7ihRQLpJFSn68YXOKNBAOBJVoGLy3dMJ5pfTqlbr3iz9c2hjMiYCnXfC0ypW2Gkvri333h/56a
yzbx93/+/Woz4ypmndiWjVaBNTOdRxvj4L4BVLDHqhc/4V/ycPphYrK5UgsGgWoy/J3pAYyKnYGy
+s4ismaxkSXAUn9BwzZXpFbmB/qOrINZpudMxQQQfXB+WuQ+Mu/K/o0AYOHW5d+SwP4auFP21CYD
vssKUGgpwWy60XFwHQw5kTUczSySR6s3xkM8F90JR4aOWB4PNArW9s4l2XCZ/ZKGjzp3rqYFDZah
9TsH1WUDZIqHKCLKKGgD+KqH9GkmIRViMfcPkPEKwCuDvAkHSWPUMXaNQ6xT7zD1R9I0UFVkyWSa
HW+q+9WR3Kc6qdqZtuCOxBM7+GyiGTpuJN76orPedIRqo2+Ke062xpKWBbLGnu66axihno8QoOJ2
uhczoCzHt18rDMui6CgeqTrnw6/fSOEXX3oHALWTh7ZsrFunwwI12sn6Y87FxiuG+LOpYo143Ahl
tUizq5iwqrFq4UUwqxk60jycIAOiLcDovbBZJOBCt8nQZPE7QpY8FP38Xddwt8eor15rOMzkxGLt
r2atM2U2n1RHfhrWz5zq6pk/SD3DAF9Qo8m0/306Ga1JSzV+PJqfMJbQCJT7kCcGz523SXBwe/4C
ZFsGkQ7s+swnTezn+T+MZCBPGWffuCLUJrPAO+C8og0i8OprUIAS7L2c/HhGMKccCnUqcWtsRTRW
67r1HgDf9tffh3n5lZ7xceJCpLnKnT4tXdV/ld4Q+zRgI5L9oqlXtD8sg38nLdXe4w5HluhT+eQg
Y244SU0Xj/TqwVesPWXq9IjXsXbg408TZZ/MOxVh5DOnFCxhNRdPVc2UTBdWgJuWaZbnqfjTtFgR
9aD/sfxsZzsK2ZbMo0OKFyfMtHUj3QBPY73nBFfowmJ14G6NChdM+pUqxfRkUReyjfK0fsMb9CYz
d/yRNNuoVFT3DNvqpvBSdVa+kV0SFeGGZg37KIfh0NrN+NOY6bcDxu5V6UvXxizV0cwtsoYKGFg+
t/0qxUzyOQysKOBrYMO0asCQ6/zgdKg+TQDfHDqr6gxEa3im8fCW4V7+JGyGJ7B1zCMrt/6KpLz/
fb3J/HmTBMPPkLDYpV0UvQ5ecazgW345AcNz5UM0LmKjecqN+Oe/19HuVsJ2nauN1vhAy5JHriTP
v0xd+4sRNXnCa75PpMXZL0o/7bY037qqEKepVsWa2Ljx1s6dDkGybTa/Xy0jTjE21oX971dlwaTc
p6H69Ps00Z2XyJDaw+8zF78+AabkBsoIubTs9mysyBUvcTK3L7xj7nD3SQg/HuY08Y9cFXg6sQqg
odtyj7fNPPdLAL8xHeNSOUShVcBNRL7JGUwiCrXATz6yWVLkW0if0aECvbKC9OLoh6SJ6RuQUXfu
E5uTvulxHol6fTsi4b62U/yHGp7hB+/FwSGo81FRMgcWoCwuEQ7q8xR5xSaDe37XjPRC4pJxnOfn
Z9iRahXjxXks4s48UXxkM/FOcz7UD0Mgo0+bgewmmuLyyHUbkJCz/v5+3Q4YXvXuJJ5cfP9HgCdr
mxzNJkn1/pSUqXnSFmMGNlTj1ijAZhls3DuG3Vfwz2jT7ZkwFit9O4t3N5vne4LjdJ0op70lZpXs
ZNT0J6Gkear4gZLsjd9bzWmv4xKScEmvXSg3tHad3hlnW4uZZKnGOzHpTQ7aCAstaKV1IPDaHAW1
6scE0O5Bs8vy5FdZsM9UDQBzKqo9UEJF9QaGLpy9+bPV0l01Vpr939Pf1+SEc3K25VLinD8DSxi2
7Li4TX+VThA9090xXwGHPSLgly8WXIsXY0q3Jeehx552oBdrDjSojGvTNaKHsqUNa4hdBiKgkABw
5hnV08q59pK1u4VV94zoky/Wo+zDcNRHxjvxt2BOSqkL0MZaES5pI/eHoew3vkrjLmTAFlcWxbMd
mDARZ1ZGmgA9xhJK2+kjZ2Knrpyj8CesmJOCTqfSaBPIwr1Fw0Jmr4OraAxOgF4CB93neA0FZ+zz
jRfAbfOywtrNNWtaSSkfyz5NIaOlPaSMKF+ohdv8vtxnsXOMRoj9BHxWoLfUJ0CKD7Cz7ZOWYmif
BjbuhKyzT/lEeeoi+Ac7A9kbSzjRO0C6wS0YfRKsk9u/uAZ2RXOekxyDWwfkZXmI7fxxcNuMpKRM
9kZL1h3HiHroLKd/MJdfUfjCDM9arLTLa//7AutpvvWnuF3/f19o2qDZNJ3HcmwtEDebrN2gF0/l
1IKC5Bvb/j79fZggULg5S2pVxeWTGaCaAW/YSadiRV9eygx2VEMNsybg/oAL+CmnBekp5QgLozsC
s7W8Vmpdfy003DvLM5o0pyfL5CaGu6re/P6G34cFHagNdnb9faZB54uMwDnpnh+dJaSkloCJmLHt
LQ+kUKc2rHNL23RDyyRVOvssBxopZqLGzhJtdK3ukJfpX6N3jQ3ofP+oDZRgjZ0Nf8ikUMMhYB8C
/ab6MwvGY8asd8VaCtom0DvmDxof5AgoUFBs+YATRYot3LVTr46/DyYKImyS5bmJ8yTsKvL18NlL
ZnP0mNAmba9n3plVl3jNURUFQHqTLBvD1oPCKNsxuISeTx2MMxNkdd2s2LXSNo7kuTcz4YZEByFS
8V3exNy3+JsIA3kDcSjp/kC+KfcY7NYJTTBh4MIWmuyMzYTukCV24CoK8cLdiVBdWkMgdBCZJlor
Bg0zhT7cTX2gYbPa6BbZB+oQWYQHlR2R54Az4IMkgWZy9ooszFxY2TLktmW0AvT5rUXxuOC/SKpN
VHlfPldlp9k00/nyYQD/g7+PwjusmK53sVV/w9ZUHdIlYkr71KkhR37qnJtTlc6+ybBPBRBSI3o6
Qt/HDCkLBWBIv44mIrDRs2A23Mg1zzgQ4B/ZfxE6L0r3NHOEDqG4MYC+0JJgnUrP1I6jeJZNQ06B
kjKTA8WJAmJw1V26xQUT8lH19qMckx09dFQHBil9FIrNl4XTjpk2dtYmvhoZot7sgjGLxv7mjPXt
92rhs4Qpyi/T9yolZpHPCfKPLwifeQqcsfIT5+hJ/pk+MixRjfJRa8DA/PegBy28iy5canIxa40A
XZqc4w141hGiMYFjWjHiRTeRjKtT9NGk3VoNk1mBwT2ctV4ex0bA3dAJpWa9G2+bwLo7ej8dbd/7
RqeXFMhFOz+vqXykZK8yvqRp5VtjXBhL2j89imNYhdEOtSInGIcGOGGYuFl1tbdEb56n/mIgjsOp
pZ0zpac5aT1MY7EJ/mNWxAf9GzIkzgEG9M5I8xUz/HxFemBxq2NSpQRW4zL2JzSo3wdhMCzHQPQH
aWejJVvUPwIMNjGjGj0LCZySR1WBSdZwHSlfZ15NPSi8QaaefKrJWFVt94CTlEOUSq3nVgJTwyxO
zqjIePMIsHq0o+w7vZcUaIh7y7Twhts/7Il6rOfUzrZZV4H8CobiRPcaRvwp2WZeWt+MSpHOiCYF
RDdhP2hsgxxNKagFtpdpGririLPtIBtX8OCBtnEP1fojE+gG3IERuorCEYF2DFhGfGOyNfbYy1KO
jCLem8YI9yCBDCdyVPZ5AonSmNUZE9MK42uzjUBfP+ijoL1Q/gsc+ZzhON34jflh+5kII1iyXKtE
x3FY351MoDW6KMCE4Dg0pJt55I5XVg14u4qKlJqb2poA+85FCqbBhIpGKqAvnjZfsFNTtOL3zxYA
76NXyvYC+CRJLXjgAAtCRUCmAf13KKspOJXWYymb6OiLe+RbOTs9DFYRmUhW2AWdzUOBmp+lGeYN
RuclK8aJvCw/cQq21KRtB9svNqOKhnVRxudap7vWIiV/jqll8kXzgqW1Y+DAzWKiRWPbYoZuYyhK
Cf/gkTMmLgLeOYn64Lh5HjoB+H8bpJ1hdP+IIxyMOlcwhrJkb6UlP9ieza2bsj0sC4zurH3vHvHJ
3sdQPzgA+En5n2ot/sAInxHsovcORJQXVt60m6vCf8ejFoMRo0n6lMoxe4T3E6+KdH5J2PCs0ZaD
DJhy1Dfeqyv9bScdcFKuQVlGk8f+m2AftTK95l/gAbArqZQLndTF5d61XPQWzTYUGwopGLDDpwDn
YB0JUYLq8f2/gyXavaJlbEWLLZyj7nXptL3k6RMk3Ca0XcBPdabFG1+nCov2QBTEAh2vvsy992jQ
gFh4tGeUxJoznYsjz627rXRvX1nuoSWqs/JkJH5aA+aEKu2vtC1JD3h4TYduTjFIRhzhNE46FXyq
oWa7NDbegfNW+9DOcJvopOAYxl4qNd0o5GQQxp089W5HUl2fsMXH1i2vnCkkIO+HovHfh4YEto0G
ve71FMYQNWfa6G48q7vAKHxtW4hijrvAPOfnQFpYfbr5WpntzixG9UGoVG5V+pgBjqf+W/IhidVL
Yw87emP33BfBplcchMiihrD1qCzMERtzo3rqFC7RoKTqYYQzl5r9oRrJphrBlDLkg/ulcyjoHecP
cMOVz1EZql/x5PgGjHfPI7Ur83hZutZdO7gfdiQ2djbKN0E/9lHU/qsOhIspX9vcpcj/QqTdKy72
y1TCuuuEPtK20YcIQZQjpyfHrftn7mirZPlTAUWu0I9dlNFqE4Ay++AeveKYVgONjqiMRN1R43Mj
GUgx8fymRRrORJ0at5obAqCKMszNeN7RhpYfxCy7Vd+bWHXhHnspw54gap5drA1zHcMWowku7AJM
VwICCwrOxugYflU64wXN8fCNCpopRntwWTsrb1vVusm5mrCfgd+UoqkOt0L2pgXpZ89/W0Mfaa8N
om2MrhDxMWE7DvndaHogTP7GDap0oxYrNoHuDVZaVNDYuehWTnUITKmwMspnszfa3YB/S+99+5iK
8eLbbb9H9zJPIsGE3SMBm2jPmePSZrJQJAaqaWglGAzK5Gpj3ZCmoJeCnBMzoDDrsEiqJv+wkDp3
dYDjO1hzPoTj2nxkQRBswDcQ6e7IJWqi/aBO4MGr2Sk2TfyqmnI+Vh0JdDP650Z4I7Bo3K2MphuX
nx64l3htzBmnB94cloe9mdDdmDoYz8rt4GFNtrTpwNV/NBqyPlXw5qM/Yf6tCBiUkvYpwAs7e6jf
zDxyV95Y9OFwDfqkPbjluLEp+ju0bb1PjZ5Zgw2rx7bkGerfnWMrlOU9daDoVSwy4QTxM1btvA1i
f8+Q7m/BCV4URNq6HOMfLjiwNrhC01bfyd7zdxWwi0kWYdtJEGvBvKF2KuanViZhXMczrJr6yRu9
icC+cYjY6TQ6OQvZM+lNNZvPoGs9CzV9I3TIrUevl5Np7mGq0h0iIHupvEnXaUZJXZTU2xyX3n6E
lE3drLmx0mkkv2UTiyF+MEtm+WKQm86J460n9QeU35QIREpFXW/CggG42rYkk3GRrTjDByvmJS96
w5waEYYI0/CdYYECgxKrsLOC0Io9KsD8nhi/k18Nj4FQKnYBlR8He3hI6U0/GHxCI2TjXSarV8yF
2TUSPpBHvaWlgbyuRovg2k3gt9ReZJ/rwGvIL9uPlQUCDNFr3eMk5eDnHqOu/hcNWX0TRoAvuHgv
BeiOvG3JKSb2ZTYzwmuq5U+t9HstqPrwACcrCMAPAr6U0dOb1PH+XrIxful73p68womoH1M1lcwS
jWBTLs5cX5r+qZJMOmxJmjl+9RzqYs2ZdB9nyXQHNot7KsawzRiZeJBV9Bh1kKHoUaDJlY9sxOrk
f2hFBV9Al9iu8D35RvkxYhQ58AT1MN64lePvAETWXL7GxwChZpUvp189jdgGuEwT8PzFgVM85yAw
TnAXM8jmrveQps02Nh33qUM0WBlNZoU1AdRVJujRHDU7DiGbml5mHsX/qz+T5R+6u+yjicmeCRsh
ZCGKyyDcV0gx9PNwJC6papr7ptxoqXnvKMYNMyh3WxDM98rwZ6LOoASGTAMaomN6Em18N0FVb5KO
iK5GQGs99yS73SE1j4btHZq+AghZ5hu/S5NrrfpzA12Z3VK54YKvT1pjfACw67dpylC5xzNHQgNa
WBdxdzN7Ns/NVTnENBuM5tIjG+acW8zYJ/JlkGrlxD2/FfreZenB4qWfxPRiMtTS8r7YF6lkUPZs
GISA83hoKbECFsYFUk8WTpamdMOZl2icck9a1Gcgngm/DQsJn+6F0E8pN7Jd/8+ofZvB0G/KWj0J
EfuXzhn2+lz+CCc2jrby+9s4+T2fc/1zLowzHhdxUoH52QeqYfcrOcarfl51UGCANPM5p/TvNoyp
cY1simesMSCw2l6spoBAQmgihOD7px5djudUoRyHdPrDJnC8tYEcb4JhEbHQjGbFzh5vVYHtGBQX
lLfEWOWcBFaRR8ysfmhjoP1y9m8Iv/6NtkzAe0lGpz2IUYYeW1tQ6JbXoK2JFdA56vj9BoBVc7Ks
+U37ZstB4peeabiv66AKLX6ogEo83oc0z6B/CQWAkuhKVnv7YLTYDbJBEHTXMET6/Z5S9hloxqIO
uovhF1sa03Ge4zqBWrXHDpVQdF4U+wo/91YML0UHGt31uM14mx5LP3nHSoMzC7AVofTx96FqmJMX
iAr8OfSBorB99hzIwi42oC1W7heGC/+Az5kZdrXoqvPOc7oHMrWkokocfLRPJF1PAkNKUK5Pk5H2
T0VkQBBCechzUreYjB/NeLhBgmHgBB+m6KevPs3IPRbpk+vjW44GbcHRgnryGggRAysmBN4to9fP
ZrDKbZJwqktBI7jDI0Yr/OITtzFEkiVax7ZjQVKIm272t5L99pmRy3eSNuogXBpqs+rs9cBgG1py
lWnvC31pLDM9CBo5+JQCymlr86M2o1KuaoTYvvHTg3vvoXiu29y7xg4buzwODho3sJhi79rpboHT
4oYXFAgzh8REVA3hMJBYLFR6ReUh4+oNG9CAP6M2NKhOTyKl/rrL24cOhBr3MorqmohgjKzznR7D
xndNUlV+LakT8pdqE1O9QS0+6FTfbOBV9RsujjP58OHEbGIvUw0kkpEQ8o3Yjcmh8TZDe7BGxDYz
Yv8ZQTMebFRmnZpnWEMP6CQw/VOLK5x6k6bXbFLS3CxNyaWqJJ/YxtlAvAAhnRfbojCnddzppGWU
vs4t6DDdzJYfDXOtyw+CGB1EePYibmuyN2bQElKP8uZOlXHgGjWYwM3RvnVxzMHeBPuCfaPT6rUV
cdXXCjsLRsBdAPs0DNR4tgCscqxi2MmIBrNnZqLVEFsCCNdpcP7ystnMmXwOzPmq63AtauRxbuQM
G3ySlVSshkR27yiO0dELTn1f4UV2hy3VIPGubqIbxXXGqtcqVlGhX6uJUNdAyXumPqpsgj4GdY1m
2eHLSgGOmr06k33Ypn591aC4nfKcpUDHPp9FMP0iZzhVE35jL0pezHRCeE34FIGvOIChn9c2f8+5
qybcdr2/KnFSw7pCC2E6Q9eKFRynql5Knep0o9cc9p3RzDlwzHmIYeMt9nxKtmMEvTSfX3VvqbAp
hm4d27zRvw8+Hr1NJRgrmXaxqLuPpYH+zsGSo1tEHHgY8CAuue0h+9FVN6ydxlvrY0frNi4sEO5H
hsh4Yd9AvtiMQ2oEtQwwuoh2wnFhrTE8tOca4L5XDavRJzCMv6/aZ874Q5/lPpv5pqYkndaW570W
ESGESDFcbqKQ5W+8lNmR6a84aEwE2NkG5bq0TB+TnB6yV+Hcj5+mrZ8xYZP3ZfHQUQ4C1/totXgX
p5NaUuB2mL8TvwU5qnXtvqGiUP8XkeIyaUNbzSQylxvVterAnbdR9Wh58nHJ0JYo8Xbr7xR27lUD
GkrzOvKLzG1Xnu7NVKnQ9cWRDdEK13hPQEybQe6iwSU0L1wEFZ3vC+0qx2i6Rjj5IFS8I7f3NixM
+s6JCt5nfzs9M+cQTeVu2sm5VyOrqKBeeD9PTMI1zkOlh2ywmdAIQvwxvL9OsM8zOBWMAz6TKtfQ
XA21dZ2/ua+o4ZvQAMGQ70ZOzJwDt7Gj9JVZGFQEaeoZ8ZfdqN/CYNKjk5s5FHNn8QHakQxLxsDn
OjH2gxfddKxNpPdYmofpPZbkViMNkoTUk3zN9RY/Lt7BRrzSRsONy9Gbk+tWn8BBxsDOVhy/iFzh
a1oTLOsWYnS7ZS+1S1EOVEUHEUU3T6ZWXPLe0vfYrj6zZFf0J2gLDaC118F3aDB34TJXyNg11TG2
lcRbAoHVY+9NdNSxgPuNgWALB/qQaDlWlQlZRLUyPPsQI6jeQAu29eKv8qrvQQc+P+qoxxa+z7G2
tW3dDp9JnHwGc+k/z8SOSp/+6dS3AYPBUBKcz4M0ZaVFZETCpgZxQCzqzUiw1NcHp0FEao3iAYSP
c0D9uFazbXA7LnmT4prQusemti6CfD/oLi00nGo3afxhxulXTn/Clum+eyRLw6eK1LhJgCWj83rN
vjpgM0fHBxAyufRUIYmsPQCxWxRWlvokpFugf9K5DXuOMT3SZiXxHK1xebDHc+n8LRwtBcnUPndD
Nm3HopUb2paJ/kmTrh0fcMW8hNixj5x9NY8EzWnTAXHLUSYaZCi7eyK0fuO006vqtVNRNeqM4yRA
vSCClcUxQcWMOBUnxDrsUKqesNEcAgKksC0NMl/UEGNfSVYMsZ9kO1phBEd1S7D71deN7Dp3dThn
5HDNLwD6VVhoeA2KvL/DCjLgDe31uvhTDNfOsL47TSY70gDvXWwWh0b0cE7ZDamKw7qDtn5M5ull
LlzvMLWgPNrMOapYBbdyml6w2J4KwzizKYAj1/ZvOKD3E3AmS1gvojC/S9MLjpagKSPS2t1Ip4gH
MqFO1VfKnXHNzR6FyUTkd5xkG3v2QfWMPYD13UuDPL3OfX0TqShYWZ6+YvNGFJKO7l0T9FSQmhif
XLf5w1tvb2NJLTU89Jc4de3r1N8gJfZbU3f2jmjitXMkJkjcB2aNr9+r9uLxM7clRClPp2wK9+Gf
iGJUVG4nLEAqE30h9Tj/SUd1EVn/ySQGgIBdPbWQ0kOjE1TACRQ1S5xbgnbL6v4KdibbjpZ+J4RV
XWJJsNxU6RobELtvbvz+dMKsyy25v+gSb0XjBjiLsu6uL25lKlqAOffmptFqUDMRsdFypOIpz5Bi
9Kghhje9p63/PIz6B5h7UIf6wIEsFgcz+8xi20M9H7n3WGTSVSvYBlJnts4yRPjaZuMkxvvk9Dfs
+Zxd2h85ijcJH66v7q5W+1hJgH823D5kXR3tOb3UqR3h23AhhhP7w7Aq1iAm36sYSE2T1p+DdNNN
7zAezTz9g43kwW4JEmFRuHXGgVnmfCkt/30cWJ2bDoCtOyBHSawPtYPDPCgLyOUgB31E9LXU9PfE
wjU+gRg4ZlG1bm0C4tCyAc/aGCrrJiA7+ELgvDk4jPRXGiVl/qw+YifbNbb48t2Ftu1rM+W39QrA
3nvSBc6+sqs/jvYw5+MWsDaDKE3746c0P4AkwTtR8CdF/L8lBoGlgSKs0wYfSfYVQ6/RKuXtRArT
yTAflC6fAereqJY2amANWdr99Ari5DTR7UbVoG7j0Gtp89oxeXoENEttDNP4kNjpJ/FhUN0mQ5Xq
R0mp9sasaD/RSKVB/dfpAY+tvwNrGad1Qxxz238OJvM1s+M/luK36k73LLFgcUkyMamTyAsNGX/Z
VB4w6U++9CRqoVHbf6JukyXJuYzV5+A2L8xm4GfW6ifoiufew15Qav1Xyb921bT6W0/73SK/URrn
9nfDLnYiBzxHVwSFQ2skGwDBWvehBc6fjGQkrnQLHUT/6SrnDk/82+sIFJmcxge7DxvlcXqLiAz3
lFvG80MLuBmbxvwlHdZAczDB2E3Og90ZHK0BZw0FeB6HPno5QAWr8i2z23utdIzXKfPlxxH0eWHR
UCSth1G07NPzmnE5LV2O1z+UDT05iRc/+oW585bOCJXoaulHB4wtMZC6xleeLFRTZeKcTDC86xXw
59panLpSwTCsx73S2edZtu1tpiYOM1G/GICKUwFYfgA7s4TnDlZavC83LRhxNHiy/wUqypDoxY+t
fUdrOXswyCXWILASMIaZ3Oe0geHppq9iwiLYaHRCWmV0Y626pKRJmE9YF0dAEgmSnAw6N/XC+XGE
8Rj0boIRVhytafrgCINLRJRPtee+2dCNQqOXt1TjIzO1h9K0vSs5i73y7/yVp0ls1eS+6D2B2hiY
TM35c5vWCPot/ORVNic4wQOLDgKgA5pQ3PlQHn1fPzJI+h5ykGxOISp0GgBcXRm/Oybz1dZJvzV3
OIuGZL7mQPNHOOiNgHWly+4Vibo2GM4E7sFVWrEg5dlKfCvcjRcBzcwTItE1merIApZe/cPSifki
KXLYTCUbcA+Mr93sgEQ/Jz5OBazVVMbb9TXzketnSI49OHGGBS0CEu0dVAW1xjpN0udq0ClOw0jM
kZbR7+wxKW5NSpNmQxgrNCdAOQEQVMemv0JGL+Qd2GgE2UXPvC85Lchaqfin5GRfUUcPbW9dC9N9
BHtqQJuj4IG1tbSNdFU5cAOJ+PQhJnxIzhmvaXVgbrA5jvydfBvKY/l0oWgjOtH8oY5NSnYls9XN
rD+9mMKwltTtzqWTEk/UOlmu3CABLDXNz5liMBMF47POcLRUiAuOpm9gk4zcqbm2tIJB+NjDIVQY
qUxmi0FXPqccdkkUf5Dn2XOwoo3dHE8TaWkttvfQDZeSv2Kt9XxWdInBGOVFW9OpMcGNYG2zyXFI
Q7zCTtkxgwW6W9SvObHMrZQ3Gcdq53kBh4/2b9NqCPSw4Uore51dPC9cdztTstYy5SJgLFgiJCCO
eA6sfdy8eA7uJE0Nn5NupXsumROuLtrZTFh8vgf6GJ7xk06t574oiJy3vTx1wPAcU//DfhFhJutX
DtZkroZ67Hjoqk2eBbtsTvsdCrxyocuaWfvq+dbHSDw+amW/6luxiyJKc7lP1yd8W6FMQbw0RYPx
ZvEQzS7FgA6aIh8u0Xgzg+O5wBHVZqfamN6Z+O38LmHrsfz9QGQaDyGqs/a4Sf7VI+62cu+JsQyx
LnOKx7c4urlxFdLTr7YcL0Qa2INzj6QPkU1oDQ6nS71r6VV/Mz07c8Cmy+e3ACAYETcFviGUphUb
ao7xjRVqlvEPbNjOVDK/1RlTHBO082A4A8O2lJYtUPq1UTAUHQUkYrcPy6BYJ+7SaV37nNvOHla8
0N+nWp4emQTwY4/LEMJGsCtqNe4nuMNWKc9N16EC9eYLDCsFV2nR4NocHmVTjacsr9dRNGEdhzOx
lCXsBfeNVePVz2xeb7PELttN+HmaghhdAof10YS/YujYddeOnF61kul1bhv7nHQe97SuDGfQHLcB
vpHuQSuO59s8+kTXgwr3QC//Dl3aMN5cumHqPL3m7OusBo9l0uSvrX+vHRBKllm/VwZ282xWxqVL
ONxm5d+4cMuLJbKKpZQHMkuof/UyxZzHo2bqUCDbvl/rnbPL3FQ+dJxP48HCW1epR0dBKdFzn714
Ut8TWgF209C4W1eBnEnighAUpCsnaWEPYc55jUzT3I3THPz3FBODwGkEpKfsGB3g99zZnFH6CeTU
4oNdJ2g+p87toreaTbuWkIIa++GMszXf8cHr8BIQJBN4Ne7d9Nn17IWZsgQ7bY5gZei9G3pedSox
WacUgIST5W66/2PrvHZbR7Yt+kUEmKpIvkpUloMsh22/EI7MORX59XfQfc7tg0YDG8KWLSeKLNZa
a84xCYCm7izmde60d2YGdjmtWtJO61zezICmd3FEbn1eM8TmskQfgsJhohwm70J2m2kkFA3h+K5t
XBiBJXAee5SpP8vHhDy+YyRO0g2wCKbxQzbgLPKqe8q5EEAWqFkZDcc2ns7jYEIqDGB1R7Xz3UkE
O1ar62dH9c/52CwGufvZCm1fTtTH6BFiRPJ7j6tqpcpnguHZafRR4WtsDqGzoIbwzPsMO+BEljcT
L8VZpeIlE9IgFrO4s6PgqDL9PezB5ci5fq3CvKPFlP/JkcxtZms5FRgq6t5FDmGzmkKX1uOi/1SO
V/i4+TfLBiNq9feAWOSmVTb0HiHXWrPYMTrL2TKTe2MV/1bhDKIoxTSQ5g0IjNZ9lE3mw8zsiIh7
QLPNVykYWtxRkONEDCaHeZtohdwqU4DDAIFvqZHji4qmrPuCDKUlsnY0c25wE7NWsKbbPo72JkfN
c1Coj1V3TRRsXmjX69xtmn1FeoUoLlrEHd0osNXFDLJjiH/j4G0JyQx2DYP1feR1lk+LqZ5d4+CE
ESA8NAPDfDH1vHywWzM9CthAq+BLeMQvVjMv6dp1MqRfo4njifeZrhJOcYP+Bw1DH6Yx5aS3bmeo
R1EMWwjNxnPJ2AsS1cPoOjvJukAFwm9eAzFs6wcpIxyTpEHSH7cTehaVovDXtYSJKLMcPwmYg3uB
ca/ZmnybjY+2iz+i4k+hI3eoA+/DHTyQP3BS6TWdLURPYP4FuqTgz2CYflDjiBwT7xahJIAjsnom
cY93bZd60U2oXD+LEByzU/wyjZwOW/rCj3/QVP+QsUrVo1n4Yiazio7rWlg5bfwogZWhT2wO0v0Y
xQ/oNgG4hwnR4oF7CGyQ/WXXHzBjtbT5E1wDkU3lzlbBqCFk6dMhhVVGFdciFOOENomW0XpuRuVd
DT/93HTeSzvMEKPq/ixGzV1VdXjD3elca+MTKCiIipP1ZgsQaMiAYU9NwH7IFF+5+VKXDxQDAebZ
NkUp6LShtx66c5MRyxtECJEeNFDPE7aUNQAPtDp59emSc4Pa508iMK7lYXMb9vXNJOjYiAQIlNsh
y1oOr/xD8u2xZ7PYxCPFdpkzJpjiVQ5gHMbwW2OL+zA0fjIg9kXkfoVFxUEzjKtrZnedJ4utyRDB
tRJz3TbOCx5TY6VqbV164UlJ76NkkKTwi+OMhZdu0BtJqP+T1sPKWWiLXyLvb0dL/+FwremMYckk
0i+xmB160xIjROU5xugVhhSd1dcYZ8U+NxyA4UweYGI4I/uWiCEu4CIkGuG0Cktja9jkUEkK8NbK
dmH4g8if7ZlpojxS5MazTiSzDXQqxZkZN/dJbd0jigw38x8kkD9Vb1zTGES3USoS9VDAIEEb0aSj
5SfsjKF52SmOnXmCm55T8bPuCfRmVqLBRqCezjI3XJtl6CdS+5iaBlYbPT/bLS4pI5L9BPjJnzJA
EnUrbudCFcdg27gtDgAPTuQUfSZgh1Z5hBos4Hbb5Pm920+AekLqcxE+gIeaG/NSWDQu8FRvx4CZ
gDCyexLhSJi/OmV1n7l1u0G0SwTjfOwa+VUuG8SAkahf6BxdNtfvKEfZckr8jMWNCdNnVVTOR1Hd
TZinWmWcps77gzcY7mhlcqYOD1Gpe2svN3Zo77f9LJ7w6tIAK6CxangV4+IAmP5nQo3NXhetBYIF
ND2g8Y0WDl5zTYWNYtkBVMg4SgYIYTocXq6DgCvSvq0oLrYQBEDmBgx0VZseh66/L7HU+ENVUXKp
HgQZebqMmh4zZ7mTERnK1pJtAY3ib6RlN12vzrNjvkEa8BO+kP0+fsOhRY5j3uZOcPQi44xKKD5U
BXt0+hOEiOKhDwHs7lG60+xkBxbadIs6toLI0gh2oa0LiSraof9/nlxE/8uwwzY4qSzNXehEVxEp
cdN7GKYUnuhVaQwUKc6rGudNEyMuoz54bbzokaR73io8QhPGqJ23PItovndm/57b3jPhvMMm08qT
2ZLNDiCdxCCXzvJkKB0qYIhvpHLP5ZDlx5F+Nw4Zcl815DaiZj7luPZXUOmvZPLaa/YspLoxbtM0
60zFR3EkLHJ0F2qhwi9bwV9tCeGA0ngJbX4j+lTANXMYxQCarxEBolGQfqcDB2AioHIliV5iUHoI
ZDwSfUvbMOyDb5Pcvl5cc6U/EmJPNvCSfwnWOiqe8S4zz7ffknRq7yYt5d6Qg5Avg0/ABA8legG/
TUlj1xR/RffM9592KPsuCPLaCcU2u/kKXe9OS1wc2Qsdb64RUcLmy7R62iRoXVAJxzkKB/Po2m7t
L6XfnuQmyP2DfpVhbxwn97OttBcL4BeqKLCJsSXo7yc0nrylPJ+5vKPhGlbjg41hglZsQjc7T+5y
zjU6pOTJxdDttJxWpFsNtGELZpzyGdhYpTfjxsswgoB0+uDm5WHfnUCO2e43E+Fd5c7NLq31yq+q
ZjdEyInlgK1dUnUVdfeqKO3JQUZ646hgK62It54YeLzBJGCW2ot9R+jeN6Ur6vDG3MELvo9keKki
gNfxRPerjxJJpSv9MbFg5XlUO8bgWJiP061onrwqfLPGDbeneONE2RNayVsTFMA65GDsopo+i8CJ
1UHLH0u1i+bkqzfo6aF7STdtb9G28fwcFCXRWGoJOwV+Zpp9frAL8dRT1qyTBmkwK+Yg4K/rUftY
Y0ZPcHvrZF9xIaH1mBT56SFnJNKR/MeJ9pAY7xgyGDqi6zY+pPX4addtt/VQJEsbheeUkQIydAu0
U6cWo5T2A5titLOvwDMzh2Y9IKWvwske2GAZJgIbu5eMJxp6OTNBLEae+CO3y5WJlChfumKptB8z
O3lVNtogxaDZLOLpJDEmozki5Kcf02MBAd+e7Z1lGkhsI2TmjNcXdhC6H2E625pEMsmJQz1kcX2D
44pQ4JNc6m5Tlf5xgSXjRT8VqeQMCLQ74i/AOOT1Hx0SCPuIXKOZNBZb+sJgNJ1PBf5ohfcNhJLB
zAPx4ggweBgAxnPzIrnmZNbpH701HpMpOXuIAapU9lup02kH58FmkM3S1HKtDd21n3ubP5fMZ99u
uD4sibckaIhWAKtbRY9TUthHI3cfKziKN7Yw4HRuugoXlVn34800gCZaQm2FGl7awi62uQVIhIBk
7rsPph4+gDBiI4YQsZjs4EZoxMZWwWuvzTSUu8+xZN+c4zakb8kupYrybdnSqm4a1uhe127SXrUb
6vOVIfJjno0E7YYlxSmbpiAdjQ1JB4RJjwOZLXj3+qRA3pL3RLaJC00iMtKq7FDSb5vn8AUY2y1y
T9SWCXrlhPeQpET4bWT5DiXkMFAUQNUrYrMU1OntQDjxOmqojVHRoBJBAEAYGElPPiMuudYLIOvZ
spKUA/JziWlJowCdEOe6M2scr+mPVhfDVp19mRs3yEhaRGRG4Hu9s1FMIv1xAuNK83AHNW2v7MYC
d512m9oCU9VyDSaq2vZVREBRvkjL0ndY5dfI9i74OroNEty84s9Hkp+dE8yM7PgyKZhJsAM4UQ0z
9jHFYxGTemdyzkBshE9SLt1pSK4k9/omTedd0TQAHszwRhJVRhfnNIE8prwJyPbhR2Wz6+eSjbPQ
O8RlZASsNJd6SpG3CXK0lrtp8tg7glX3exJ0fTAGfp2NnzONvrMTlETzqib220FQw+bfxeKxmBwV
+sytSAEjImM9GNZOc/L04NSN8mGW2IypyDI0a4RemUHVoRVeshVF+D7lNniAAlECWSZIueKWs1Ih
7YjCc1JeJ0SnK9Mi3LVJuGR7sqk9uoatVl1YWdC4huRytrq7MmPU5a1sxKYtWKMiWgmU9ecUrH3R
6gKfiHHudJoB4t2pdR0taMg1LR6jqHrm+qa2arjR5gwYE/RUTTypq5IVMWqgNxhrbLi3ESr+VqRw
BwJjumROStPL8/AcZKhQA8unanqDQ8C0JAXFJcEiwiBjQ4Lg9i7cZFlLd3CJLoRD3B31mV6bZme+
Kx4kblLmsvm3Eesf1oSi15g02BX51QmqEx2Qj3l2f6AoZuuSE3kjNpZbGEdsIOma6A1vhywB/9Tw
6fR6f0SC+eJ1ZArkgvQxUWTLmW35s62Q+iHXceNn5vj3UW38RFGD67pEfE8TpGfy8WeKq33Qt/Uq
RR7QK9XTyo9v3OmPk2nOfWv8xF5f37oSgwbkVXNtjWDf2ybGDFSYNZmp8ZWUpeIukqh3iYug17Uo
qLPmyjvT+x2mINLEBZfyZQy85tIkaX+0k/ShBSN9cJJ6JXuHAz+8VyI7WdMd7aBdMfWfoO+pM/HS
nWomOzS3k3d85whvXE0RX6Tp4KdpVKZG8Kzn9KMsxlVkODlvKjL3OJPeEjZeQENxwBhBre8NMb0Q
nsfmFWU7J0L3M3hXFWrpznDDt7bRgjuPNqmOjg47EZs3mKQUvM25lOhTA1N2vukaX171FedzvqYT
nJxagupoMywMhTxHu9h4z1mB3DzW6k+twWAhCTUMS85JU91DTfMj8E/Msu2WQgzVX4QoyR/GFpB+
FOyVo9kH03GOldXsHrSY7OzcLH6tPPtiCqmEzerTWOiCkbfvoTbtvCwg44FUFoRMCenHEXKEHhQN
5QE+2MjHSOnX8ZiQfzZnW938Y5uk5E46s6MpDN8dZdyYSX6Erj3eJFaTY23Hxdh1xiOWO7kiU6Gm
BGF+ORvetqKGMphhOQ6lk1XgWZskXT86uyh85Wdd9w9dV+lrpX9x0yS4g10NerfBXhOiRhtREpPQ
dRvddvBHm8ZO79MSz4jrrHB2bUnkPTJ/oZUbi5/Inn9G25RHVXgbdsvzKTcTpmBZ5PoJ3ET6zpI+
pZOebWZiOGMbM0bEkPUfLkhKVEKDuWZwxQRu8OoL43K0E9oYcJOfb/hBxjIEfQh07Lda1YGNp65Z
V421prKc6fyauzClU2nArSFaOGcireUI4hHqr6a8O8civgOjIX1Vuzd6rX8HDKAayY4gtEmzpZ/G
VJOAWa+6qkqQEmY/TzjEtGIY7pzRTbfUwqAO5yM6gvfJg4+QNo99MMt1VHD/n1DQdvVNAWN+r5f4
HdCY9eUc+bMHs9clMYAhAWAkXEPJlP8YeolnAGSnHGoWcaBCiJYo3Fqje9QG75Y8Cd+cnWcG+vOu
1GjKM17dEhWNUEdlB53dg57GXxZEf5VnB0YCL51JSqMm5QY1+U2f0M3oHPRLeKndjZXGo++2EC1R
5O+yYHoLoUnBWNTuMp1bRi2xD5HcuS6JNORuYdCcDoiI9bqD6XK9oqtZyyWHF1zSQVflt+ryiy70
+CC0east/LIY7Vg90EvLq+mldHG6hjFUcZcIyniofvKeTNWxRGktxvEmG8IbWA/OKsrjR0nISmE+
ZThJH+LmYgcC780SsW4M4hO5FuItcZuMOyEWBBsdWEIB6oqZmyb6W7S/2LFJwXOxtq1ZGar1VD6B
hvbzGU2YwdLODXhgI5zrFhPFWCAVaO/zCJ/sMEZPhcj2nkbeFt5pe4W3GMtKOM8bi1NtQqsNBo92
3sDUpTM2NCjd04wrICBFbViQQGNwKTpVsL/sz+Vs3hPjiHx8VF+Tpf0ILeIymYelsWLvCU+hIrHc
K0OaYdsT6McNbj033ltZO6+9mZKvY1jmtcHMHFPdrjHXx2dGcc226yPlV8yIjPi1c/QXDOEnl2Ed
3q21U2RHhFVkiNMs89O8VJumi5cOCllV6TIlYIkfa2MXpNMD+/a9m8Q3cVveWswT5jQNUTLVjwPJ
jTjymKnXMUBrybufucH34DnrXgxgc+0QmyJ13QxjZRb9vggjtSna9sXu62nlzdm+pfD0MQd/abdN
jWNv4siVk3GsUIIdRnUTpNFtMCUkg88LySqfm81UsKqMrreqphonOamyMxYGDclK3iDXtqtpIBJ+
bFeeXtCtnNx9W4r7rIlepTXcjmS5GTHzDlbflc2UASuu+SZL9ZDG3+x2kKeaIIx7F+BGXYhL3Ni0
Mi3xHRqhBaXv6GJkQ/4U00fUwIrNlt8RdhcHVBjG2QSOiIldPbcWRbIb+mHr+ak13xVdfMPG6UnP
c2bsCB/Debgtkvo2NU28XBySpKcRmEUbS5LOYDhMO5peQ0SIdHzWrZ82arjk6c1HoJoyg7bApMzv
cZSPdNsg8WXbcWi1dTaiFQdHToxBekbtisWdjggJnlsDTu8mFT7KWYnyrzibg2zXLau7b0oqNCRz
HJQCA5VtZ1vLs2DysO4n7VOCit6PinmJ+mSvRotf7lRHHWbmNTZIjZRRJIDR0S0nv1Phe2ZavY94
YwRSFIJcEiQyDsO0Gxlnsxp7G4mObUX3866vEZDmabANbKKtmQ045efyz1Ksja73loFNtmrE6YZS
i+A975HS6S+Z3X+gPCRZU3agLtjRTwFAGQdjV2HMm2zQo7VIcf0nC64rjGBLicZGbEL44hgLOrwT
oNOYd6wddcQLhnjIxrY+kMlxVNUxRkh7PzVkgjJoQzNHvOyASUECIFs5nIUElvzMPedWz4Hb5K3x
YObMp/UY7U6EMX6uLGIMmzJmIMNVkGropIvFdD0K6iLV1mc7z7TtL2E8V8FzlNNE+/1cBFoT28ny
st8H7zt2++iIo4yFLTPRw7gTwUo0vJfvGGZbroXrbwYY25DiCBS5OP791KnrB9OaH9AIEzX6/7/F
70vr4ZQBgzgEJfFtc+LdtUk4bZsFem43HeTzzC2Ov0/bICMyiTA32gc3WUu3aPX7HYAMj6sJoY5P
BwYHeQvK/vchhAFhGYvQtyJeBPe15BO6ianYZOX5/drfo/H78Pev9Y+P/fU3/9trfv/Kv1/9by/5
/ViD8h8n6nLg//Ga39/hHz/5f17914/+x+d/v8XfP/p/Xv5vP+HfPsZcgd9HGkR81oTV/vMleIzz
/e8HUVQgq/v782bi4pH6ff77S9lMEWeW0f/+Yb//y/PR+89fi3c2aUFw/ve0+5+v/+tL//Gn/T7V
f3/IX99/VHO+//36v/7MydpAGiHPXgLSGMY9fbU7fTTI4eso3/MkfgphX+1yE0G66FC/m3E6gLq7
d7Wp3+FaeGZynlFnuvu+cjUgTG89Jqp1g2KIETUqCuMnpQNKAb8Q+psgOybUVrPttuuIBmZkxNjK
ZyaZKJwFiHbMvS6ecUy2TFhOji4EoEIHuaKONIZacW/pJbuW0ve63t2ldmfvy4LRA1JlZAJKIaHj
O7WLP6pO30cV/1iwYGjtO99Rp9JbZggvbKhvjSZmizVGzaojeLwh5j5t2TXk3fiVmppxdkZ5KEMS
16s6MbbhVzt11pZuDcFUWetuTHzNO9tzN15hOS+Qpyj/9ebIXca6mZzgR7Vjd3wPF9RM5pWwBoxP
ytR+GD9Q/9GYm8q7xrPbQzQUyc7DcIjFofwcmAdb/RTtAUoyghkGMtqNkcTBSmxCrl9IY/c4qit4
oMyiUncEyDwjZS279kM2XLQdpl04+v0IkQVIegVwzm0OvUQLCVIbxcVA4k7uiL3RLqqIaMQTLBx7
0zk4GA2BM4yfvmqkrLZ1gp52aKVajPv4GB32XWmDfnucvRe6auD/PfMjTDOQpiUTBphnK8+k/S5V
Qrh59uZVDKh6k8kGYxo6o+yr1wbeRH9I4PQCQQPVLrduZn0rUgnjzimvc5/dZtH4wzwgfsqQp/gT
2DQ2f8ZnYKHq78YBt4P+3Ex3oSe7dRRhBQ2Mce1Z1T0JFBjyUtqxjEeTdRDf91DFiHp2hnOs9DX7
nAiJDKPj2GGa3GP+HAwq1eI8pHiGdd17w8P4VdvaTy5JugAyd6odFKHCUYwILGLWrMDY2Ti0OBCE
xKbC3NbIw/UejLxRsx3u4A/5vSwtekCcWYapI3BR8afOzPFYJcBvCaAm3yReCwJJV2PKJBlBu4EM
Q5ENRxOP8+pWadWAudH+ABt3mPWAqDSGCsSbbhltfhilMPdNonlrI6748qqnrqfrOve0cD33qkWu
648oLDcBXUnhUArGGUDcegbdiX/FXU81mQ/ZXJt+TZobsuNG28PSpb7MPPOkpXzXLmla8omWyUtP
maile33MnymAXzpQWAcneGGcCa4IZcYqGEOitoliLQIAJ7pmXeKIjQvxSHjvlIY7GSfZSeS7PGLQ
Xyq4F1WXeGetyh8INom2ENxw78CYCJs3PGMK01i/K/veuBMy/rJb0e2xOALLlTBNnCDATjIx0Ik4
uNCCPkPJ2kuY7mO4hEiqeoYIapUrOy+8tRIZBr/zLKl+arpMG9L9nh1Fq0vp5jOeII5884kLFhRH
jE5E24MNQEMYuAQ4NNO+iiJA+J59nNmrrLMp2JQVunoNDtmLeUhzhg8ThOJNjA6s6xECMFfq90wM
VnHKJatC+8dwO7JAcW5hpilOvJ0cD83ZBi26APL7+iPzisQx/vT23PoOVbtPvXEzhf2M4BJrR4YX
LVmy4Ux7PLQeTRStyR+ZQ79w+yboXLG6IYTla2Mmv/EX6brveUqWS2LN56bVO7/BGLme6PWIFO47
NJWK1h4pxR0hbjlSprVBhazr6hSWr2apP/WI4rp6scsibDYDtuBprO2AIt+lffQ1AMGFXqs3m7Sf
ztPgcQRoqutSPKEk39CerhF1Rd2K+Lq72mxe2tZj6E6kK5P+NtzBDCesG5FSboKeV8OBAlDdCDWx
mJNIit0+ysANe4Brxi2gWbGb+/xd67LyTEH6JKV46MeKEoEm9CrcIILJ4C1wwYsQiZPbptxyUnEZ
ZIWiRu2tKGW8ouP/YDrknZBPbhr6xjsh7GZVvethcBQV7fkFWGoBpT+MWvzYVCMhtprYVKoMEQ7R
Gcoy0g71/jp42bMZdMQ5gbjb1SnSlbxDHao7TwMtDiRdqOHGfniPazPcK6N5KrLsLG2Ur4KZ6KzG
d9u5T6Q5IwZlHjODY5RL7M+gCXxWPb2jbOmPZY2xMXqLkKwq8TYR8ShVPe4bjTF+q9PxLtAsiFxt
CQtSxxqBDac6Km2hbVLDxndTjN+OIe9QiIeThz49ZojNG0EMKbglO3EJ2NkEEvk2E932gI0xx1xa
tSfqj0vg2fecD5DRbO3a6P1e5FuS2NVtLOsSo3UXr13GO5NBxLOWL5pgSuXaxSvf1im3TVvbaJrr
rNPiWQvjF2AN4y5yCKD3ncl+LkwyQauG0gDgCX1/LbkoKcQ+aMS2iOwJTBxOMBpZfm1QaD80pl6c
SIs55YX2wwxLIOLi1ygd6+016vH0yLxnvkcUGNk39rwJsRCZBgGVhqxvGejeM2xcEvpe+yZzj06/
cKzZsXTmouFWT57DDQxLO6yP4g+9ii/+7/iu4kaaIw6hZgxo0uMTYXjrHKopvCtobdelydAjg3CQ
FRoCHKYRpuyhIHZ+yCiV8aW3djEZD+EhgFK/CmoEIaC+UJOPkbwwILOE9TSaZB+OySwOcVe7O7ei
00GgYszgmElKp9OHzXRH3BUZwlVd2yPRmmgGZ2vHFPJQxSODKmXyK2QPMBI/pcU6L6Mv0ufA14/5
E9JItUrmWkf93D5Ohhltun0zue7JGUZYuRo4CDtAJGPn305Un5tJPmBNNAgfnhr2g+cGk+uNPS1p
wy0RiqGF7gBuEjHVVcWgZFUrgQpuFpsEqY0I0bNUYIWtgag22bO1ssyjKHBAjDrti8+cqXZYTFem
LQwWYvkxx7SEmpkusG0Z5KLp0yWNs3NmP0YS6YyrbTVpkbHDyLyJSfsxIaxiHHHftZIErVZdYSMs
NxmqfBljZ7S6XaywjGuqOyviuw69KAmGLY0XzIuiiZkP2S3B8YIRq6alx16Md0gVrJUXMARWDbR8
S4JOoZ9S8KqA1T31fqAGtSvbCCCUGlbImcbtc8jo1VUD9Sc4D5fJAqJMtiOpDlFqCDeJKOrtxP2X
E5rxUlvF+1La6EOYt4aiN/eeGf0x7edBJs9md0WGTSttLO8jOwXgJxjqL3EwQROdzRBdezjRARKK
rfpMiqn3AZ2QADsvHk+Jx0Y6ROsTT/Vr5M1nrbcM2iczgcEsHlZe+iJAnFTHNBwVSSIV2ZszyfOd
ab7W5fCqz9iQpMjQQcfanuk36quaHSYn+DataUzZFTZcfcFkEf5FVAjeXIQmYLsF2hb8mIX2sphl
JXE+gEMm0NhetgUg2O0cU11oNgmqauKmnCx9zmZskqyHtE0ZfFt9Au8ltYgyqIobmaEpNluBWQqI
fRyT2eddhhLyCCG5c2AGJD3gtho+iIJIMP/JQ55N9lHKgbaVcuu7FJYRc9/efpwBfmK6acWxj4in
Rw/yHRmtRL5AEizxTQjlbVWczICgsDhkUDyyxdty4h/Tmn7vOqCnwLnbiWNjhNW26BHoIRuKWHjC
4NI3nnsaSh25mJe275nW7jw30p5zMe6qTlioXMbh2jImuWMPcqhMd7hiXI3vXSu+MbjdlkHMJrsc
RvQZevtNXO8fprP1a7gw0HKoM7vWzGzfsGiv/T7QAtH3wEqOurTpgScon39zeewYT5BjdxpLQWI9
lVX5n6d9ZAwn0H0027G/YjpL9BtN2sMLsbzxJN2XSqnwppCKyi9lRh/q+nxABlxd3MhjpDw4GhZj
ntJsqy4AkioMKDHQn+Vj1fKAVMEk3C+xKHZ5+vvQof7zUS3RNP//j4GynLCrGRPTvv++rsnrFgOA
fm9wwW0H+LzXNk0IfNKHD4OOBuYtMR1UU093ttaJqyVjxzfj6L0xBmOFam5ENqePd7//81Txylul
H/7x8b6SRxIWEMwKZzuD0XuGumBvJuYe2wCM8XPTE/hToJ7cG8tn23h015XQ6TeGTu3j9qAyJu/o
tkQEc+oXh9vyTJUOs6tAezLpAXI3p5LE6+5cqqx+q8ibex2RoQOTtdwlODt8LsYO/7wWgMcw2m3Y
qHT/+zKVbsa4qV9nRsR7L6wlhsHY2/KzAursOj0HlQ2YaYnkw8Nx8IzauQlpX240sB7X3tbZdpFL
8LbEIjR0CZ6BQT8KB7O4trwpIvDIIVge4i63N9bMBr7H2TGMTnsVRRReg/avJ1IvumuF2Av/S0pI
GmiBdVs69mkMguw0hghf+rTS7y0tSvwiai/CiO197Rj1U1jbzy1gudt2eRaneNPqwDXOv58ERAzw
oKF5xj3I3nd5GMMBUgzUle6eskYNu0J307t60GoCUG350GSokeOWSSC4ICrHmGliGpv3jidBOWJf
o7p1JB7+SlLyu6hS6vmrwWlTq/lHSedUdTj9LCpP6Lv1G53+DkGrVePvwUk7AZ3jDsiGY64r79Il
NJUxMA40KlMH8ViB1tyS3Z6VMD9ZskblYDj1IdBUep5TakWtpnwMxtG5YDVxLsARfFtwFxxIEMdw
5QzPZQwzJu6dV3DoztZxzWn3+7Qg0pP5e3bMMfCggTLbhz5lDEGqQXL8fYru1dv10/BVRs1LmKXA
py2L0UipUTtkynjMoqyi6kDg2RIDv0o5X4xCZwXJ70z69o86UlN+4fYH32xwmkN7IuXYegCbG5zi
pu/9sMNmzXLV3DrLQy6j5nZ2R1jvDi6X30/IkXsjmhk+A4niZEfMasdB7QZRTX4KZmMThJY6D4NF
PozadGBUzrlBjpU7FBczc7FhVnltg+zhv/EY3TUVrlxiFG6Tsq4uUTR8l4SEvoEpd9laWtoJhORS
gLklMF/zqSdx+72vazTg7L5u6HGJQ9kk98SVItOIRHUi/ZGgXkJ3lux1RvCxVzCOioMNGV0kVPcx
xgXuk4jtIKGsspj7d27o0UOZDzlvnVd9UCm/m7HR3ZuWx0qYTdwVawgSbp5a9653yZsyffh9UFYi
DoHLULZNkH8SSXn8fWCCUB0JC6qOLsMA2h5bCm+5ZA9Ft+1kFTSG4+Em0CyKG6Zj54QEHycNg8ME
MvDc8gcBxnX/yoY33SpATJNvY3hdEy65guKO9oCvYbB8Cpi/Mwajnog2A5bjO5URUFFbTCpl9ykR
+T4bGaFC7KYYO7Ct0YE77wwvtJ7EUBicncJA+WpTHqhu3mllBuMqUebZVtWf9DfTw2vdZ1chqy9x
JN7nnNuZBDIHGQSJQDyxvQeqdDNrXrSnNWWeRlvXabE0wUHCkzsFpJQzZ8GV1LcEjoasg4WDPJk3
svwwiIglFyL45o+/FjF47IbpuBXM0d3vA1S6V654qsxeahfkLOQqB7n8Gl+qSSmclIgza4Axl6nE
jcBGf02n2TnYnuhu8PRRHTVKXnVogytLpQZAuq4+VcsDX37qlPni1lX4VHmutxXahCAuGrVHbJ+3
DnvT1bAsyiTubitLz54br7KPUWOcmqn4bActucVJHZs+FnHFZoFtSzirW02vxgsLpLlP687C6hqO
r3lWXxT0cp8BG1CwWGtPLg3RGYv9DUZ0fQtjeTzOgxnedl5y1QsjfCSSe8fUvb+DOkRWKhGiz1Nc
HigxgxMpvuTdz5i4mC9TxEsH7UDOkBY2tXbMS9mcWQvKLfAT7YFdEC75GPlFO6SvyVT11zxmepMl
xLzbRTwSQyPhwGqN9lhohtjjz4MsptvaY4VCJWvDq6E4zuGIzdjhTNXycOl+QeYX7bHxJAydWRcn
GKaU8DkXVYfy9hZEok2+gTH67bUpbXUbJR16z+VBH63pFov9tTALdfCqt5zyO0ezleUV2FCov/t2
lB5MMi4vtCxoVDl1HzieNAyGHi8R0UoWlpAVikP3trH1/2PsTJYjR7Is+yspsS5kAQoFoGipzIXN
sxlnp28gnBzzPOPr+4CVVZURWRLdG4q7k04ajIDq0/fuPTe9Q9P22echKXhR4OMLTjmC+c4hzmIs
dvOHHNGQ0vXobuxTUAg0UWvN4DYb/fBKPz0/5iYWl/mfvj9gsIazn8ZkR469ffr+kEysfaFhT+vv
vwZ+5W5S9OIoJ4ml973i6TtAimZ4dvv+YAZINPrcHXYVpOmjpVvT+sHjIb9OFf09OgDRNkd3vrVx
Si3HKNn7VUBBjqWGaBe7OZvgZeCdRANeEgxIkpSctSLMCaUISQLff6KrQ8Xr44XulX8eSh5g2zXd
DVhjjpQ2zqK1mcRqbZj2dO8wjhw1DotiSvX7tCzaPVHdeA/mT44xKgl76DDlMtE5CjHRkv/+4zSv
RnlL7p8qJKhtqduX3pHxvh5Kc2dXNqYvRH41+FMX5nDQrWIVFWsDTsAtmbMOkaDgMzWLnjZ2poA9
nKgeeXRjzzgC2fdejA7hDeSHJ6cjRVdiFV5MflU9RFAAFuAl+n3oFfFxRFW/SEonJXGLMTmbx/Bj
aKxihYwXEKL5g4UcNmT7MkRCg8KbNKRmlxd/zHZR75nnvItxq5dkqoCDkOd6yv/xIa71lMJKjBwO
puysNSkwAaxLxOVyHNA4SIQoZHYV0iPiET3rSDHEubilwJ+6+sl1VfSlTeO6pfmPTJ1JruQAiGo2
Pw1x6NwNsow2oRliG+/sKzSOAqwqgGQTsPitL+G/iEJKcChjT5R7h1mvm5sW1Ky0JKt8w3YE3431
aESKBr1AHzmUm5L5eBbvJZZK3q7CPSCT1bY9irKLH4sdZdJ776clLNKSLua/hVUz+hY5RLAM6bP3
AcUtihmLE6B/5D7+TE0DfdFEsi0mUZ6qagHbXawqcsxXGsZNdtOtM9rVPhoxyvc1eWLg/zjoYytr
zfY86fXeVGm16d3RJu4dfSq1pIFi8kJ7l4lGZjPMaLfK4MnMp/pUDZxOTeTxDMdWdcWSK32L2Dk3
WmEfAO1pDikdLu5Q0x6fyI6MTpxfPzKG8BuZyMMw5vle6aNzGgUekQz683bm/NY2AVaUqQ+DQTRo
j8Vy2eRUdXXOHxgmmX5mHwyr+ODG/Jnm40usTWDl0zo65e3Kjt/jovIepJLuMacJy7G32qh+7hWb
Qj8Q7blso+KReO1lErp03SWqtYn8m9DdZ1ajFkGgTn6aRmvmN6iZM/cjaCnwktH6aLMWqAPxAV1U
ymMuuktgqqc6LFjCjnV/nkxHO/LAkiEM0NPEUNh4Eb4WnUzNNCgftDg4ELyLIdem0hNkMLVxt4sd
YPxoPjdG6Zlbsl0+434XjOZ9mQQoiREBLxvfBh9S09GaplhbR44TnBtHqM0woIeKDPNlclIEiG0D
utgG9BEIqt9K3YlMbhsfwlCTKqYQTfSZNf1b6J7wiQJGjpltZWW1Li17Wwk0pdhgb1i2nMD5UdmG
g7LNZYWRiMJoZZ+U5dOwcjgA5ZIDf+xDEEqNeCmL4iLRfW9xsH4yHbqPbaQ+Gii7vHL3TsNvDuTQ
O+CZXd8Xj7Zf7ymHgEDE9N39o2a3T8pS9ETrdNGmzVtoqTXvtw1ZLsTRgK2SNhXaokmXBAmjC9eS
a3+OfThwSMqqJS3M7lYua7i0V1Xm+ZpDX2OOWJhtWsaDrbh9ZDDuo2wY9hmv/9Tn06msiTI2KFoD
jbZJLrG5oBcZTOQODkPGhRu1R4DZG2rv7KZyCqMIHWDjAIsuaM9YRjo+SicpzkJm74FWnpq+b48I
IGizafFj2Cf9MrPRddWhkxMrDkildydta7bayY30YuMOab8O42Q6RxJpN22uYh2By5C5OGuuOICU
yKHp+Fczgc3h6xBgnGydB2CdUs39KonlXADfxiRDVnymCYPMLaCqjjK2iMzkbQiS9w7R+tTZEHfR
/6Gy2GRj7u9F5/9w9Xtc6X1KceE31QOrzMXJ0AI2gq5BfA2NegR3r73mefOBbxK1dSgJZYPjX5rz
/wFcZNfOE+qMfCla/SyHiHRvtz3k2O6B6kx6vO2G8Vc3ROe+Sn8qxK97VTWv6IcCphThx/CDEzfD
D9FNW99kKuXZvEcxGjs62YzZDOZOqf7uhBATSyvGcF5pLwPamYVfgxhMg59Cjo+YJ2jtGnCg4cNF
6r3QJAgRScsqb2jvOoN4aLWH0YudhetW7NcFyvsoQC081fUiKYYtmqXMELuekqknTWttNeNNhiLc
kIGBCzbyn4y0cpg28C71XbkoS8ZPhj7dHB20uWxm6E7GjgbZKdDLZkNL8JXyzeeZZ22fBzNOg23A
ZZi/IU0vwp6CVabr4CjVGNw7L0bGhYtY02+dZ1xSK/gZzdzpmiCAFbMu8qGp7PPxs6jHieV2ustI
bcs6tm3Nk+F6cO8TJ/fXqZejpy50gOd6chEhzimbquz7GEzrw3lLSWlzk5OM69cJcTDpacNPioxD
izuG3I21gAoZFl9ZW8e42YHasaEfuxn6lvr9T89IjZ3dAdAIUZfZ5Kdd0NWIZZq/6934iTz5IxoN
1lmVvAWbMSoAliieo3xUx6Hq1LEP2s8oxK5H2zpcWY1FgEYoF4HMfrk6GVOsGh8I7p4bkRgYpamO
mXo6UDmNLF6wpaGjidt62VTVOqmw4JTMlHQXZniqc4IttReiJX8JHUdW3tyinnNjMyduGFnx08/z
O4r4F9HjCDYjEBG1d/L14iTm7qOB978sra8A7zLk+PbseZeBPPvWK3ZTr5+hnjOpDvR6zSQM8T0D
Xatk/D7GH31qvQlFJ0Kr9SXhYTj4ItTppVb+aELtRtvo7KiKc5o6BE5EOsJd1LqIvStxTz1i7aqh
3MByOyCcCygFm8fajU6KJg91vBH456C0HkfPPzQBBN/IxTpCGsIhrVIkoQ1gYzjsXA/zljq8Cx3F
fQKu2tmk7GTc/xFer7HuF8GYIgXrLpyJoGwkRGc6v7SA5aN0M3eltqxQ+9BBsRzigEW+b9mYgNGS
ZTMv4UyqwL2B1rFVSOUdi60oGLRxHQr/za/6blf0jzFsFAj9Eu5Rh3ORXklmymNE9k0ZgbCKESWj
4nySHcPa3Mln8TOWVcCUO6aVF5K35xEonkT93kWhS8RMf3BS9yf6pXJpeyCLFeNrJnb4p/r8ZAI6
AxEMbVzkn0kjYlKASe6QPm31oeVJDMxkJ6PyTtbua9KWD2WEgzptmLlkmCQ7oqo9QNGLSS929ZS8
taHJuhemaOp8++pXy9qbt9oqZNznwD5z3BY5McF5vmL4x4nT4gS3tSqD2xnEhg7+rGrlL2zbxlpj
UyLCdt0ZydpX2OrNBmQ6kYLLDJXPHhl24dsdenODSos8sGoKEIg4yScRxsvAEWvhwaKrmr1lImll
xrutgvQV1y4ijqrcJ+HPtvDekqI316PfveXaGC0zoSGxS6yM0ACCO9pyj4sD5FXpftY5+c/Ukm0z
Po528rOw4nZVFegUo8g7GsazFqNbsRQ1n66DbGp4Skdg1ewxcoiJM+xRLkx69SVH3VvVgsjEUHZ4
sKMTTYCj7kPN1Zj6puQhsphqOVYwwohyM90LE1glej6drWvvT+Qh9/RC2FZ1cL8VEz5Cd/J1Yagv
hJQFAAYBhDqnTGkEmTBKPBPwCJLSnyw0ld3ayVLzhMovtgkrcoJqLUoGT/F7Z8p+EzNtxhaH5mIo
9L1mRi81WnEPepaGdmDWa9caFo9ay29TYUoyAx7zHr+YMPoHTBawukEMBiGGgbDUHsQoGCGM+Q/d
fXBzrUAEpJbm0OLDgV25sfi5qT09hFMJCLJRoDz9ZA26ooUzYjELHGh5GgYnRV2SsEPTPEg+ugK+
dUA084LMB//ilSVAuTrGu/CkUu1c2LXBQA7OKbeD7yffzcdqLrYg+wfFJeH21X6UwlnkJK1D+j5O
mQEO0rWg69TuW1WyPAY2flq3EK8VfpFVHhDop0UfIQKag6Y0nxbZyPS9yt5HSoQepgDv6bsbcJy2
4ncqhO6KopftuV8DC0BkTf9aa+gN5ntExSkhtk277cb4nNZ2vkFCUS+EMO91LagJDYE3OvXmZ3K2
S1I2LGJ8lplEptrX4YXNYmHH/JIbikaAPN1aBUm4M+nsLsGspT9yIpTKorsarbpzuu5LZz1jpjnX
dw3mZ+RKsmmf7QFVkhc5W93iNFaAvAkV4NM0YCLX1PjNoSzcnCKqqBKVxjRn3FW0r1YmDoyV33ar
mjDvW226NyZWcLvpLbJt6J/IQTaU2OQLNNOq8dSw8oMAC3dI51dF7Z3IjeGkJOgHx1fv+C1m1W+8
z7H74fNKd+YU5qsqNl56NdxhOULIM9BcmhLoEI5zGubCvSlks8Udh2xKpMs6IveAXBaAAPGgb6Gc
4q2XALLIK15Zyv2yObOxxJWHaZJHIuyOlC2n2tc+vKg5YotcW2SCeXn3iaah2Es7/ImARz8QeMFN
EgdLDLzBnvRc2tpduZt07OGqT7YWEzKkwhSaiMvOBD+9IOBBUkyGVzEVi4izDCEFdKEbWFGV6/PI
TvyWiQpGAQE1I7M2g/Xgx+mzjfch0R8KBA/bMkpftZDTUinVDrD/oQESvhtIsamzFz9FOG54FcEK
JvjFNjBxmFcg5eRYbKEx18RhYFmuyCdIm4+MPDEOAgiKnE480U2rlmRtkqQBvrTNMALE0GeTaiSm
wIJHXzuX3igJGBkfcXg9GGaPQpOKjRZx4pM1+Iw30Amag5OI4KBpxs8kdvZJPTMNhYOkR3VkUDIR
WIbN9DzS7kz76b4UdA7jCfmxBSQrm4mdfTOnmKps0doTSncxKxwSI1qTY/5klIyGDb35nMDFMtjf
62FzHavJXumOvwNbOR5xor+yHG5q0LWxNk6sV4wMVKTOrmyxiI14p/M439juyCCiBlUp8m5jTuZj
HluvdsON1IUD507PdVelcg++gdp98ICLDjQaluaoLyGAGlsxMlkJyPTJIBIkhIoQdqdBUat4cLX6
kvkQGm0HHN801ZzbDP/DLekHBJ7H7xUWly2oYCoAAFHRc1CuGMIAY+Hwrf9yyKBGQObti87+ZcYa
GmMEAirBMZDT3SNz5QIH8aX3KqJLCM3SQxnzto64QGyGoH2HcqPn6Y/nPJdQNGuk/MeM9J+lbSom
xmGNLQRwweSZt5K4Pr5rwCFx0htQ7y0vgXyqJsWkrgOtDAgqgCiiTr3XHGdaee3lOvxB1wNiZdBz
/nCMPDgjYeZBfx5IiyTP9L0pXBfmFGLJwZNvsmDDpyONeGa2PPFLNqJLWlneoUXH0MVtdRQjYFTR
YB8LgWbjrmtXAMzslVVb69hNkNHrkc4Ena4+trYhZz3odabcTusheoUQOfYPlJYCag4DBm8t7HeL
DNoNkaj+shrI1kK3ku8QWS7ww/WrqFQIMKz8yWa0ua/1GcvLc70HiLFOmkUQB8W24nCK3Ysznctv
fO2LVZhnL4HRtLtKwbcJggSItGREOL54lgbLErkKY9GVCXO0S90714vTUwxuNDXs21DRGqo55ll9
G9/FmGsZ8+2Z7N93ROcUNTl4pncbtXyGD1XvgT/5B5vEZ1E47anuErJ/sEx3xHRtTC6RVKncXBgW
mbWZ/pM5DZg2QZhm2yEkNIq5RhBmvQqKgpOZEzJ2nvZj4TFm6Kr7lLSJBM4k7RYUuUaApJPatiRh
T3Dv6wHMjtYloZfhBRYse1NnXrLDcfkQmC6JcYm51DV+usjcgxaGZBtAB106r8wRCO7I0CeKZu8r
Wk/cznSW6gmHYgN4CL1BzY6gQVEI+4XUHJNnRM82ReY4nAHGclla8lz4kMaxdSqcXu2L4UJ6q+J9
Fw3goYu5CZEzJmrt6FppHdHzpjh9/+A+paCtbMn5FAEIg55iz7mFJxEXrkL0UACTA5LA4gtL/H4s
Im2T6RQtpinfREksZUtVxILgEW24D6zolbbwDRQGGEbREAGvh9UidASEgAnqKRIvvjyijfbbX/79
7//xMfwf/yu/zeFgefaXrE1veZg19d9+E9Zvfyn+85/3n3/7TRnK1HUlOEbrEu+ScGw+//EGdcrn
q41/QzHRxw56imUclOXRBchxiQCSuhatf0a8wzkAqOgB41oHnXXyNBpvYjJo6prEqpkVzUwX4G/Y
o4HsK9jRSHfNPWl49864G9qounaxcm6NLbnIKsNjb84yic67/j+uw/n9dUhevmE6hrRMQ7dg8qs/
XIca+6hIM1DvwFs2etHVO2zd3UIEaXeDXRsBo5X5SjCFvyuj+AWCBDLjtD67wtEupfLc3WAW72U8
aJdAbawq90+JHT5ESo0H4gwyMBF6ucb4hvUEA6gyeu3BsTPvYowZDMSgcVZ/fkmW+6+XJFzXFKbg
7OWYtvz9JfXsB1hB3HAN2CzijWXSnnLCYIYTHn0v0V90X257ylfigAJzBftz4sRV38GQTL7Cvtwa
ncPSkMYXTgXmYMjr/3wg9Ze2QBg9lU7yYCeNe/r+MIGhONGur3HpJYPsriAPaQKjtH+cj07LMi8s
yPzAmrqOBKI+xWM21EO9y4t6WdVpc6v00V9IKvj5aUqekKlyzHKc6cAoL3kuHO4fGhBMo8Nh34i2
oNUchZfWoHZKArKmvv/qZCz6k5UgBEnSq5Waap/68vH7b4nV+vvvd/rff/cU1N9PxUfO1Yd+0Pzh
r3+/vHXNV/kf8//576/5/f/4+/Yrv7ylX/WfftH5YfP4xy/43TflB//jha3emrff/QUwHfvmXftV
jfdfNYOQ/3qQ56/8//3kX76+v8vjWHz97bcPmOnN/N189orf/vGp+cEXJnfTfy8U8/f/xyfnK/zb
b49t9lWHX//6X77e6oZ1wfir5SrBgmELS1lScuty3OQzzl8tQSqaq3igdcPlafztLxmpe8HffjP5
nNQdHlJL6K5r6/ynGgr8/Cn9r4InWChXSMvWLen89l+X/o817D9/Xf/7mmbMD8b/rGmOMExTOSaL
mmO5tuXovIZ/XtMqS1NBWEL0GiJ4z0TMjUfdsH8gMQiX/qhhd7SudtT5B6Wq+3yM2yVQCnUKNPEM
ttDc1wVqk396+/6XddbQ/+U1ccECoCJpzswADfH71yRqYkaDlrmkyponQzOdsyaCaG2RZLvNQRyh
IcXs5xOZA4zRF1uGRt7yz1/DvAT+7m2RkvdDKZu13tRd9Ye3ZQri3NMbFDF+QEq5SUmhK0MeY3Kp
tl1VBss6rp11LZ3PP/+5xvcb/vufbHPt/HjLgebmGvPi/U+bzLzpFrlyOTfEVL5FXu+9qBLUA5As
dCfsDnZT/kq8Lj3njWMeMlPDklEKd5HSPzwwOMqfNCgj6BbJaJalfRZV4GJiXsoROWmcroBye+dB
1MO1jZMLmd70wwPzNqFwZ7ly9eegLvF8J9FPx4FnXcvPuMaAlKiBSBoNMi5MQ/oJqmByyvH3Ciak
WcFQvMVVlCL4agnizRnXYXsoaZWaRGdUtOyczkABoEyPhdGZ9oDK+oTZitkWBy3j15kxIqEm0n96
WbhtA324IekGxFZ1x8J2hlso8x1KnF0mQMZ6/k8DWKrbFp+e7kVbK/CPZB5G9xFe492YQbIdn0Pp
QlNy5T0Jfmj3czKb1bUrRw1wpz5tkFsk80aFeKuePurWqFFwhPnSsNUqc6R/rjlSn+mnEI6hu7cm
C8A/A3PtUhwUEp/q0dc6tS51FMpIPYM7OuIxtbrHluqPxWNf4XtgCo/w1mV+8ef3ifv7WsQRwnZs
5kGmklKyhIh5Q/yn2yThaJuPKI0wnNvXmZV8cTSEOKVBumx2HFBynprOeDG06sVU3ngXpsmdQaY0
vnB/vDgBQBojh7lddyafyOidjan2UzM84N011R6gp/rY1XBR4yKAxmxS9nDo4cjqm9Hq26mgIDWs
IIdsssRvT37Y2lvSFG2EW3S308RmhKbURkbM720TgWX8kWCL2+rdo0o6GNUjpg7hERPr5CLYG4a7
NX3z1zBp1hHKpHMwmvj9ezZK76rZ0lrg7FPbxAibebjLBmvTDAGPpB/dd+NdbzL2zWnA2lqTH+np
qF3WkaRLVpSnla8Vv8Il09YEoq9f0wZHiUJzdNkYeX+n5/ErfNa7sIyZA5dED1B0bSV2XB2d+iJO
TLX2Rk5UWWSRyJPpd7MybxNnjXnf6C2ZKbJQr4B378Iaf4OEsEbtptUb+8jB0js7jNpd8ZBWGKf+
/DYQwjL/sFLh81ZCt5TNMk79Y/2hKIXuPA6ttD9om96FzNxWrQ8Fxu4V66KbEt5oxyjYzPFeSuPq
+aN9ZRrq0cbrJ0b1XWW4h0ITDATM5ifP0sYedO+sNzwbKqAvXrPM4lOyrhFpn+B5Uqr92Fo4LehT
crH2vSpgSDj9nXSpbMxAWwtT147hFN8NUQOBwKAnEFNbRon22oYwcKnz17Y/6gc5z3vagMNb3+Xa
ln7dE1WasevA19ClYuwPw8iPkl3hNdzJOqw8+ovWIUmeRkeYD8qaTAaFr2EovKsJ0nkD0bo/Y1nZ
I9IzV0Pu9kejzV5Mn07KpDOAKKL+Dkwm9R3gMw9aiCD6uXLF+NCosKG5bkxvNi7fQGk4sP3g1UE/
sCFZZqN1fMcybx+tDAOQzJ87M7xLTU8cR4eTCo2zVTImjM87bCpG0g1X17ER7VRqHZdOsbWYQ+yB
rSN5ztP+XqsGkkyEid9Lkn+NPFsQdrNAUNQcgESiiO19f6kLSbst5VUOxjZQKCEb/Y0eecRsDy2L
RMhr6DozNl3vrmKwf7FYTMQETG9Z2+Qbo4jg5IApNwgNJ5AMsAEswUHjEIj2o8rUje6pRkG78Wkm
LsnlfFURwQ8GYuvBdDn/W02DG0StR2re1LKurlXqN+nB/Eg7g4SWDMoa6bxiguppAUpj2NCuDaff
pgPYqDY/kVAMBhxErtEPF1MP412dyZUfVXhKeK2PXTrFl6Kfnuqsnh6ZEBJVG5XvwoNM6MryUPY5
PlsavBtaQ8sCucPWK+O7PmAEWTkkMsUKjE9WlPuCA0xpBRjs7CRDiNisAmUfrYKt02qCG9QuBGQe
Dior2oWizc7sBxeTDMdl3ftrrI6s/CEWZPBoxnroh20B9m+ZW322LEf12plsijVskFPZQeLwaNlJ
eowAHPRjGibjgqP0exF0+VM9gLgKerJ0Jz+5Kh0wjW5tfBCzi3aAqpwbBNCEbbi2ki7bZYwPX4qS
LJsJTOSGYWE7R2YQrAulMXQLzs0uRvYkhmM6GdcJxYYZ3VVTjiqFxmvJQZo5ZzdFKND7jOyPSeo3
BC+vycxyzlEfQyWmBRpzRCYUF7yLrnaT/DLyXF7JzUDGEbWcXokA8SwCAkb02BuFKIDjNWxEPI5t
U6Rbf0ZJRBpMs7CeFsBRScssFh4wrk0+eqthaNVCC2PetQRumVkgJHWgecrXxKwQxTDuWHIcOrbI
Oxa84I3AxrIPGrFPQWm5pCmiTm6vsSjRbfCULN2GmLgphu3Qi3AfzFCOojmoUd0owYjWNLwIHJt2
EZGjGD9o5TI2ULWQwMFtYyenos5+aZrtHfUkRIkC/eFQV7r+IOvxGSDphxkJeZNzMIBh9Utr1F6g
QiyzMrtzHbAiw9Rad7E7vbVKqS2cXwITWsc+Vb3xEnhzPwkYU961PF8Z7bQhdS+a8IDsWlF0i8zu
2WZOnnaYQEaXsQiuOBpCo4t+tLEfCmcqTxPE5cIpL73J5eRu3cAJXpJ2SL6x5PpxZAbMRvGHA9Hs
RNFfCOiDF6hcYF3Wcza6gpRnLbp3Q1FeNTnwPGtonIiVg1I3JzQM6a0PYLJOPmd8t8CVWraBdmnM
z4YGJ+DKbp0hkwFwaj+Bu3+pO7nqrHA8ZG3PaALn8Rbi0K9YEtNAhlE+1vbRVLDPuLTtEM30yuEl
BemQ1N1wNFvEAbo581WbaNhgYq0Pmt7mZDMDJWowEh1LYaU/GutryuPwqa8/Mj/Xz0XN7dSUWfZj
cK1XUREvpdDURlGR7BM7eUIHoUhEdbZjnHfrhnuf2gaBufRYuHN2qIXZFe2aoKKKoZC5lUFqobHM
6mPkK2NnzrNyCCF2gWCenJslMRLk5qU4UTPsTFibkBgWhXeyVLCsMnCD5oxzyxxiETM57+WReM5Y
ybc2mDqLzIpzt4/MkaqaULdayf6AFTVFsVhUdwQzA3QaNXhmE3SNjsFciKEfT4q3Hxh270VklqAM
q/yWkdG2IHBArdwcYYedILFxoUnO8SObTrFfVgFZirJk7ItTn1hHHS5KB96A5Gb1mhAhh1cONYhZ
sP1p7o/JR2Dt5MaFHHXkVtA+mpwMOl7kBEd148ok2FSkG4qsXibF0R4tfe8wx1uz6blRcQuJr7iO
5kU6YDR4TagqIj3DSInOmiXpqnLpbIwEjIgebVMZJT89FsTtIG0qPG36qcaqBBBDjPcwj6Vawllo
67sPIz3SM37bX2UWaU/AaMRJ4YDwA+SwWlvc0vlD0OmfQw4YxBotVGw9Dd6i7B5bV3vFwe6etXm4
TKbil9/IctWhkHroDcBzVT9tLIKqtqaV0iyNa21ZdWIPFT+Di+aG+ybdePgJNk6ZdOtvIQnVOkwg
88U31dbT4vySTlZOshsh4tPkAqSX6BIQbb6PPdC/Wdnt9/YzaYC/8t41dpNyxuP3h3GqNxrImkOB
z+Zgw602xnY6yN5GTA/vEp0zPqfevtad0RK1IZ8SvPsPRuStOvIYl2kSmKyfPcj2XuVPsVXuzYLB
ejz59bUqq/pqiSE565PYRheriqsNwh99XTYqQw56UW2vNgjs3E1FvbLWwRSspKjsU8FyEtHHPHET
vGMwxEbu+EeQcaeynGkIJf1v0aFf8rILTdpux1EjWsjCz45xXWArboi8rAu9OxTSZXqZwLYRaKqn
nwaT6OMUMhYYJE6qxlefjDWTOxyr9QHWVsj2mw07lTj1jkiGZ1dS9LypkiJO6Fpxmnp7RU80eY7K
+ozLPqAbRgFZaW56abtmz0mWKkBj5KYwHGOgnjuS8djvlNneJaAJzqQ4Zuzm4LMHXtok05HwCavj
UhNK/rDdOmZRXjJOTqu2qYKNYYN2LQwoAm7Udz/qoGbCxMN8TO2oBbNDhq8Av0f0Xts9CS8iJ2Ao
ihPBu87CwVMTteH4o3Vg/EAS8+eIYnJFzBQukH/gOOB9aVYMVK8OjCfDK4Z1HuVr/KHTVVV4Zk1g
JZ8s2GjI9eEtz1A4ZaFHYidK00Uvew+e13CV5NU8ycBO76vIJUclFvPUxVvHpPSdk6DIEVKLsxNo
IxMV2W7SovoVd808TituUDq0LX54H597My0du/pgrjzT4X0i3gPe8C7oV3rj4dlx2pxrbN+sXF+Q
MIoaLHazO0YO4Cd8/PiyDq62HI+eNWYvUZAfksaoz8LL90NO5oiOlZXyW5rEjJQ/3MRqDqnL/OCI
94XwwMQKXxSRL5GXoXARWF4YRR4BKU3HnDt6JY0JDaCHfJ3B3Mpw6SAVUbTVFPLJyDVCLLEo2ipI
qjbcu3y406ak23VaXHOeUATA6vK9QZCz94jk2ZAh7T+Rhfbh+2nxiRpuw6h1HOZIdLQ6q3Yq8L/y
mMGzwpnW22pnY/4+ljI/Dj9s39XOMsSnIDEZxzK5tzRH7L0S/nvl1c6B0QNrsBnuaMMisxgCllkU
HMjWimmnl3i28R7VyExaeeHAwNC7cih6YXikRo4S0oVfgjn5qCr4cknqbm0DLgCWYNEM5slC5bRm
aElVmBjWNoI0T0vBj7kEZF6dnbG5keGzD6YXO/XKI/ETKbURslJPbDTH11njgnSrtcm7F+TxQQ8J
H+gxqvoego2QGxrwAWp8YtDrDa+lBssM7zAYk4c6azdWUKJsCEhlpZNuHoQ1S4unnjjQ0mU6XaTt
iTbhWrpt9hrxFLERgY6JemiumojFtSiSCdtCeg16tvFvmkMQnD2cLOAtiBb228HfZ8L/6HUYGpOh
Kr5z8IWg1L4vHCLeairAaLTTjQLDtivCzjwUhADGheYeyhqvUjg5F101xWMeogYsL4Kw4XPKBDMl
Yn4N306eCmIvvACJga7h3ugtbYcmMWMEZp4HJV9UN8PEG704eiWB7nUq413a6go9UngBFoJfLy6f
tD7Xjp1wIqBfIroNMl5VufdABOizFeAELllp1mZIdA84vte8Q6JQM4VfDN2MBiBdZtMFY8yEmfOi
FfXrOm9s4kbt8FbqA8Nws06YQqXn2CzURXSwvwKESFsVRURr0WhaDGLJG5AHw6GzxnpDagcPlNGi
f20da+/700Ma1NB2IHOgQNn1TG+v5QS9Lc2mH0SBIm800g8DCj9WRQeShpyw6w6mcx2TLF6Pnk4b
RwQfokbhghOcJDEyvqWdyn3YRerOr9AAOzI9Va75RNVXrrKaeoZi/Fhw2KF3bJzqlDDEUpFhFcfV
4XtzSoP/y96ZLMmNZFn2i5ACVQAKYGvzbOaz0zeQcCcD8zxjXX9WP1YHzOoW0oNNSte6Np6DZAbM
YICqvvfuPVfneGIk/mGqgoPty+RWdeZ4l0sUL7H6CvI+uktL0tAL9EaLSmuxFZDzsS3J2DBYW31I
THLbgBJZl6kHyNeDTmz1lgUduFkPFKTvEbudQHeStt2jDPN4HYXhcBos8EijGd4ljW8TKfStnIp6
3bpjt2Hbio4uMn1Xyr2iYb2VYTGuEd2VK1HjexNRETD4NL6EU94fMgcWIgKtaVGVoji7cVtcq9ob
1yqfXe4a4cfogC9YQZqH3py+doEWMuIyMASZbXR27fzV01IPnYu1kaaRbhuyHI5thvuowGBKIrDA
pF5qB99ovyQZinHfty26IufCKqO9V4i3xu/vTauOL8SQfMmmFHprx7IJXyVYCdgV6w408lnV7bfJ
HMKtyku4VYA3QfRwhIjH6dRMhMoHWQHNg4+CuexOlN1G8znGVT05ZTKe9IOuQyVwvbo75KGevfTU
NWic4Pl7NEdQfGXHymwQGnc67GFw0qKWpFQExWOKHnLbaDGOCc8sXltIjfYre5f+IbUA5k7a2Rcz
c6yjbZlka7TlLiFv8dLEjGhx4JZLTsNfcscunusIPGSU9OKYwH1a5ZnmbYxbEbjOTpAg+KhoQi3d
RAuImyK9oK5YGus2OgYdtNkosdTJbDp1yqO/Fa5Y05eE0TMgWEamQo+govJ7A2vTC2u21hb6Wq/J
sJowBqOWQSIlmxWJwto9VlTwJtoYHhzfGzZkxHnnvCZSTAaYreM4PCKwIc28GBnhp5OLJr9wSc8A
kBpY8VkSr3ZRZqOvTMdgsw+7LbWVOweHjUvZpPIS5M0XUK3tdRobRiltda7pzAMLN9JXowqKdS2g
F3vmUK0gyEy32p5RT9kcg6pG7Vy1Wbfp6rhcW67t7KeQvlJq2XTcpH1SPQN1t0YY1Cd+fs3sElhH
IBedxjSQjBht2zXqbDmFdo6GaE/25XgqacHmyO1uoSaxrJZijsDtp0NhbfQ6Swj5Rs4oNUT/quPh
GYg2noY3v6KhGlGs27Z6Gimwz5Hd2Gc9iI+uDp3YiXvz2KT2vkvnV99R46nLnH6BGqV86HxU8z1S
jokAhheV0VYa0T6v6lmQkWCoX3dxdUsjUGpxYY2P1ZQtMeOHdRJ9o7qcZonztfIEgFnTdF70lkxa
w6ODHAZwxad8hS/9bHPsAkgclw+VjmDEcASMNRtxFINa+6XFTYAVeZZZVEI/0Y939q1M/E3sG+NS
ueKpRiey0METHxNwbugwY4PYd5c6XdTGMpfzR20HuamQPq3jIX1Lhabu8+A1xWp8KrTkGcgHe4Oi
+5u7Jz/y1uT7rIyxCl58O38yptxaRn1M+gNP86EnNBNotaeWsRGYe927j/y4WMM3Le/bmia05uX+
TpGNXmHmfOnd6s7l0nuXlxufp7vWRxSEs/9db/q/O+zBY2AlK/tcaEZ4q+Y/QwhXbQZ3uZoWnES6
n6BSnsNAuZzg4vY4iGBrlryjKTioZSmLV6MlAQ/PhLWzj41uWefSjNS5mL6VpBPnWj4xhA4EqhNM
KpZb3wh7cY8IkvC+GufJI7GommgG5BhMMM1MqNxcuUPYmF1LI1zYSWrspzoVh1TWL2UH9T4e+Mxd
nOfPtlZuiznB06CVfGQlG+4h899yKKwXjqJvTLqIwDOre5kY/r1N2zqnULhW9vBkti225ikxF4Dv
6sWQ5Q/WZH2YyO05OmHpsSfUCz2yp3XSntiC0fVX+n3c2s6OrurfHNjde9serno8iUeVoLnGuhHf
EYLQTna0NZBtg0h3pmPgMkNKnBWpRrTeNJJUxGTWZLNMLDJzB9x0VLCLavwFdVjOOWFl+YAp72gW
bniPFvYQz8N6rbOCizmixHeIEMkDe4sqXb/1ZravO8D9YpRAm7R+XFuhHnKwySENzZ27DIDXwRzr
/NgUhBmJnri1CPbYWXebiDyPFhhuq9t3dUvyRS1AfneWYZ7yQmIXDdWTDY12q3MKxYc8sKGk5iOB
x+4GFTFtZBT8Tj+JI9VKsPCFfayy2NzoLeHBPoEFlE+mfgrxApI0OqbLyAID0evJk2jKbo/p5DkZ
yah14KevAko6/HjTSPHSbil9z4SE783e8Xi7dLqCszYqJsSuE1BSoja+WEp9d+OvJMv8OZ/9fJ1m
7d2491AVIrycyorJEAAkDJY6qdWttzdrVLl6RboeDCpS3mmjhxWg4hgYBRXP2q9al3bLoknr7ORN
5rrLphqPdnFve7JdgfN8g7SDlDNhQQ69HltueoHMfkItXVYGgDzwXojchrWtH/qElCXaLvoiLXz0
qnq8KcwhWPq0EY5hGHwjooG/RKcbGD24F8mJ8Jhk2Rb5x+SPJ7ee1csw4eLilDju1UJHarr6B8Qw
cdZSPcJzRoPI6jFM4tw9ZF5wX6joS5QXBED49ygcOY9zGFoVWbMrgaJmusvxIP2KF4DzDoMuTAoH
leCisRN/6xgZjdAwOVbWUXYwvEZhp0s1kfdgwaF0Mut5mscpicT/E+a2tbR66g+frJN9n+UHpffm
W6EM8gWDemfALYrtHsyvSZNRi9orFpD+GOS3HhtrEhfDDjJ3jwftaarwnHSiB9ZMZpwOtWIdBtxg
TV5thg/bgcdryTipJeZ74eWYhIwOG09qib07aLCvYhdQZ89Jj8HIlZaGvrBzYvHmER2LAGmVnbby
nS8WySHAqB3+d1E/nmq3AaKt3Hjj9ock5GcvulDbCNN70Up5Yjn/qglSsdISwo2plauIZMayEsTb
c3RnHbmkOFaPo0dGrg5nZxizHrYhIm/9VFV/4QIitcZ3m7Vpa2KTKN4/thPuDlu+iIm1oY7dOF1d
7AJZP2cCW7sFOWZR52c9yq0VT2V/hFhVaME2ZqGF64nPtpUN2BwgQX42j2FrWusWLlzsUkgoq5n7
2zTM4mzxd8kYIigkUZH+S9rFD0geBQYZwkT7qb3gbWKMAxdvIdQcJVpEDEcyfuvRu6bQE9ogzO+D
eryiNl05lXYeMEA9+iHqceuhDab7pIQa3XUwAAoPv06pvjSFD4DfwoMx0l+OGhpqEwa2kqkgFgQT
HOtBS+2nzmB7TDPmRYwV+GeP0ELrRGTcwP5tbEl+F5VrbzWCuUZoJ6eg+qaALAJD5RXU3Fyuoq6r
5pix4OTqb2ldGMc41a8Dk71wCtNrGfRfrAwEDy7VjZjCL7jizINX+5ecPIrdkHtrZQf6znDYPVrD
8Tcd1D/cewj9yRCYZJ8RCQg4eQCFmYThhkQVgi5KH8FUmVRr7rl3cwHT04Pr+AlyhgGGNOFRS4YA
tOJXjf8QuQEYxqI7qwGTZ6agSwnPzueqwFsPhaQH1uKD5IE4goZdWRxLdjhQXoN2brgJpJudx5R7
NmfRFSe3j6Yt7qZjk6XtlpHPwgogi1iDzsEuncEFqTbtQ6wzES6lnZEn/hO6Vlps7A5iFNswW+p+
aOG+byf6t9gR0tw4QC7GpgvTaVUEZQKVxL+5BESnSNet9F43puoiSkPexVm5xLi+w2jdXDu0a5pZ
6ViOZxM123kwSCgYkaMjBAjObRlkmz72Th1mRgIQkzXlAKNrIrAgBF1UxuyuZg9fZ5PoNkrAUCyr
x7Gx3bv52E/kgjhCDntqDesRzbGxZztTQKZkvNbL6oZDrd070GUQEUx3NcCiU1il8PdxAyvCtHAF
eOextsOH0NvCxmo3dXTfw7HfKMz59eAzgPCRIvgE2A+8lINrFGSF5h+Fj3ZfEeSuJt+/L8s7t0zA
sJJ4hvntNTWbBzZ3fQFdlHGnjntnRCcbp/2XMQLgliScr3yTrI75V0+IEBRqVxegkhITUJBIABga
6N/BKBGGMde0ERE94d+8fcY61qxLxXvBCzu6zGfTW0QO2aJhx0EMjJdW2DoFfR3eq0ijK9CrS14R
J9bRdV94SGZWaY47qGx9KLV5g14fTyCC9j7kwBK8mhaBT5OyCKwSMXV+Wd5GwSiiCIin6BMQiWV8
yFGOrYZEMgIJwfphxCQeI2BDdDX2/l7pj65SpwakLzMH6jjQGDCwWu6yz09RudWSGqSi+s8OEkUo
M3XSG4TbrVnQe9gxzUecKhz09jJ6tnsx3nKt/NrDBdxHXb9xXMDvE+k6rcSmiDbeHrMCIylJCx53
zawnfPdEHq0cXdsHL55nPve+MYFshAxlO+gi7JR45TL6i3E4nT3SjjpYF4iCyPBNkzMbeMp0r3nj
dx94m/zmXPuYz4Z0OFGTsaB7TXgR1LgLS0ZyPXQOYZIuJJMAPTveyGlvZ+gieva8pVZP5ZnZK3PI
d8cf9F3edMvCL8APxqlJoSn3dpy8EPlj3FTbiEPRh+9GQrOzw5qnWPaWtj9BBNbXluG2a7eRz45o
Gp7MnNmMnoA+1ppj7MWHMPHm6azUTvn8R0ctsczxvC+xIDs7jXkOQm+C5gfcj6KscSIFYXJCjzau
A1Rtq3AoHnyJbX1M5XSnjKUnp01rdBPja1wFo23q+8Bx96OHC0bBMVmNsR+fgla/oDq7g01hH8l5
lYchbr6yRydrktJ4JnT1JI1ErFqUgQttXnNih5En2ao4mSI4laPOwR6e+ra3sk0eTeS22NFXP/EC
kpto8mDWvmUwArsKcYwno8fQcAA3TQe3LR9SLdII2E2sUzsWH2nOOSfVKuycJQfA4TnSIOr51tkh
TmjdOWRNWHTA2DkZsFQJxlPXfrBzsz8BxHqUjA5TCUrDxlkCSJNdX+v8Hi+WQVw7DJUu1jW6vab3
6OfVDlrZX6Wdlnd2oQ/XMmd7V4VXPmdBuJY1ueXtaGW31q2jg8DqtvRD74blRn+q7Pa1CeLkq52Q
lJ1zykmbAI1F7tGbRIlw+P7vvv/p54iyMQoYPBZ9Ktc4qwuG+W5zVJ2odmJU8RmKV7AtG1e7jITo
rQ06AdSTLi1xGiTMI9JVkqtgX+Spd+hCZCce6UZ7PP/TE/8Lar98vH7/T30YPI2Nufdphx57J9Wf
uNyLnVXy4ueQktMcD3UA0QixICnbRNZr8bprRLpjbjDC4/a75yQKzvqghvfcU6QhgeS62a6GlGcg
uRGS2ZKpVPeez38wZ2B4nQZ5LKTZ3WTZE5EnlbnPU40xkMygUfb201BAFkAEgf25iwNwMMOxqOd0
AIBg/01w/3cOQFOm686mtJpQWq60MpHLCYc+eIoI25EtPXmWVm6c7bY7aOhIDgNZqOYMMwWtB4XU
rWCVzHAVQnKsZTMkBkFlAWc8Br6oE9Sh8xmzMEezrqVufeRJ4r9GZEVunRq9YQMZ55XlhTF7K+gY
NeSNA+TxDqP15rQ2udX9YB49h/3x+38MbUPgdwzLvdIrCKGhOhLKQppAFQHni8ybpoYXo9GiV9PN
9S0dFRJG1BC9avM1Qo3Nn/pppzXMOW0aV/ps6fMi4R1yB1iJbYvkVTmRv0rA2RzSaWXoWc5/Q0q6
nfZPg501l6bCf1yiJXoN7cZZ137trQq4NQs7AtHU9M6dq8vqNY69W+QItOfGiHiviZ4p1eWBdLpy
MfBMHK2+h9YRWyEajbyzX7MR4qYu2TF8apoZftYNuGzzgeWMQbh1Mx2nwEuK82/SRusWaPmmtEZ5
LFsHs1ufY1Bv3JlJW0AwHoaLayU32Kv1FrXYWdQ104dQzffXNOYsDEzzM0dOL7SLDWLm5s5/0tjs
OMxPKZsW87WOdgPC+4GJghiuPJiM3bGbIaORQPPqAF7JDGL13etArOgxwNrZurp2Go0Yg7PUr52E
jbXgYdD2CGZeNFnp10qB25mKJtgGMjyNocbprwPsWmDuYjYSZ7d//6lt5zo6sBQqG1EQYbkIuWjE
GocycuSOsSpDi9S9BiWZM0ZunwyTHcW+bzWlwwIAEIEcINuYPb0Bw6yaRa1PXxxihlsKC7JqM9rv
OaEjomJP9qu629i+Ia7f/0g7kFdNlQ8oQ9v9UJLFxF6wzKj9tpU/9pfSZT5YRTVaGuaNsWvkp0RH
30XS9Eq4aXrpc2XtggxWYDnLsbptBUKblx/plw7f5ZrAWQPWSo075jckw/dNZBrX73+mVj31kZ5y
nI+2mf/CfUguVuTlV6eZ8mtSkCrZ2BqYNpKd7fiDVbq59o8+sP8pYrDjgF87qGm6N2jqYVG39E2V
qpXMG96wguGIlmPAy1hx/9d2gNf8t7YDhfL7/+06+M//QEPc/Ow6mP8f/zYdGOpf+AMc5eimcF0p
HPTt/XfTgTT/pSA1uC5ILMNCTopw+P+YDsS/FN00JN4sRrCBDP5P/206kPL/x2TwWauMIUdaQmGB
MG30bu6s9/9Bq1wjs4eGCi/LS6LsSmtJXWQfOHt2nTb9g3D/s59hvpaC7kJAF214ZLE/X2vKi56n
ldqaF/Shoy5e0uW21j/c6l84FH51EawZ831UuqVmf8iPX6i1Coz6U467eqTgqrFQnDhgdX8Q9/7y
KlLyTVxsZ7Rdfr5K4PmpyBIGOQk4AlyBfnrSZQfe4vdfRs5ehh8dB/MtQ+Xxf6/zyQ6ma2QYI1eM
l2BFOXvm0PfpM2EkB4UFrEx+bZvhTdNRo422IPjYiu/NxnxygunvRATJidHrMQgjUPRZ4a91gO44
TjUM3WlyCovqmfHP0+8/8md3xvdPDIaRz23bpvxuIPnhgWrroGBuP/cN7eRdr/yd24kXJwRU3eT1
pe7xaKb+2++v+fnXsDnqCGXxdNH2MnlRfv41ykArdCuzAaYTtH0HVqLdVDP6+PdXEZ/l3Ii4ceMg
qVGmjazJ+vRjNCQdZA0kD2q3COoIJkMObVG588QwMt8QHKmJGrbbkqJ4bLqFPQY5XbHZNwsdZ9v1
ZIP9/iN9vtnfPxF2e2kKQzd089Mb5WhdOTg6DzuHh1NsBfqWED6SJiyQP1l6cJl2bwx72P3+qp/X
jPmq1vyO8QPDGDM+rRkpsbR4TX1tUbfBa1AVHEXJwoDlYzSb319p/vw/Pv7zlVzeMV4yrkND6+cf
djQHYqdNIBRem2c7vdawQcSlR8981LZhb7R/WDx+cT3LgBtm4tF2/vkLW/2UFtLHzdqWzW6yaMCT
50WkHSiRRYmL9Q9fT3x+vfl+iFS5omFwRfPzEzV/CNupEw30u7lBwVAzT6yao9+3r3WI+mMSMM/r
cPhG/DGZfiGzftEP+h+eon+YuuaPgdVtNjcJJUkN+vk2M7XWwElhefaNYFqCrA+wW4a+eE8r3MMq
xNrT4vkCO0OqAAhZcaB++dPNIFLhn782+5vSpc0t0XU1/zo/LB2q6gboJohEk9LFAT2seQX7aRWj
SPeYKOudfSU1hSg3E76cu5EoO6Y1Xi0/WjhuEGGmH4k+xL/ZGCh4O6cWkAEC1h7Cs910us+l896W
5qEEubMeI9358N0Qm4IWGbsK2vJZeQY9uxlD6VUDYd5uT4fMVDEdhJYMz8r4mmqAaAZ9oEGaPbek
PRkFRI7Y/FIgry0zwnYfU0uuRxAlo5mdkxEkK1mtumBWWsg7yzqBi6zcd1UTUoLOVNT+EVL7Kunm
eNWYPli1pd+y0rQOxAKsfRzYIXJI+ZSD1rZSkGVWuQ7s/FjjDC7a7kExYxKI1Vlw0FUQkiU+8sJe
y2QPsH0Zxyk2NEGeSfXgAA9USj/Hc+CxTFdKBRz3i02UkzxOmwqJdtAfzZIumBPsPPu5zabTaOWn
nh4cvZYLGi9acyLF30e8wGLOJ8HGUizzMHrk9u/CIl+w/ZIrCKihQDCrUH5ORB3VkJ30XdcEB8t7
bNRHSMRsn0VPsIZJ66iHj5A0ZZJk/LscRwt9egx2GrGMPskqVXUaVMN1w+bFUNZ+pEs9Y1tk98VA
HYktDOM65DoqxJRYe22gzlLmlhPxrqGAmyldSvcOHrzItopxL7WLCP4L8v0tvIxkY7opBqVmPSpz
WRs5y2X/4VUWM3M7WhTzLquB8DmTXLgo04/W2LETL5gyohXgtS2r2eB/1NpdPK5kFG96FazglzFP
d5BwRNu+ueG5WLQienT89uAk4d6x4y378lqLuxdH87YoqwDZzUlUSAAOVnRs6bnbKYAjGj7DE+jS
e2z7y2lSL32JSqI6evmD5lhiYVbJdiifidxlnuWee3AtEFLWeuDfAj8YV6OOjCek5RnE0UZpRAwQ
7ZF40ypPC0J4m41BHy+VI5008zopRD2EtetkLvKDTggAINEFNJwMdjZfPqJQPEDBfEtKolU8S183
hrkNvZQxbblKXCaZEuZDlq3ggq8rcH1ieInQtouId4xQQs9DttlhdwCr7b+aHrFhDGbs0lxorrds
TWo+574s7GIZwXhAPQIzWQsM3i89Vxsc73JjktNmdN3acuruNnKSWVd1kW0NE4ptnDlIhmymP4r+
rCFoO2L+pi9VMr1Ppvhr5xDGBcygx7psk5Dk8WW2k2NCKg92KE6f6VYtTfJ4YP9gFuycO03Lr5id
ruQwohUXzt0kq40mQbX1hPdQ2REJ63rMFYdt0qdHdvoDWM9TVlyklj3RN174sJBsYGQLC60AZ9YF
8oONztmA+gCcUgXkYyBCPDzildkTiwfN9h032bowun2ne0zzLr5lXkO50wfz0Lprwy9QQgIvSInt
XdTDYzkStDU+eT1HDfMUFTuTAW1IQ8U11q6/m8pHADh6T2AEQfYH1UG8IuxsFi3tSDsJtQeT5zly
PnI6VW1zzDD0dutAfDUSD3W+wyvAeYLJFXlconSXpBktalCWBWbPZU6+iH/ps2NZPTc8UdmmKY6T
2ExVtLBoGBTcxyDYSt1EVDA7D95VL/4SY/oAG+LSz/fHg9lfGtCwkfrU5d009ueyifdD656krEml
m3yGsdJdaQZADYb4+L/CV1Zz6JTq3pTTqrY/BKgd2MkAYbEBEmJ+ks247jn3eOkcOn+03des8qm7
72rzrCjGqN37jd59BaVZurdhWvcd4RrOzQQk4N4DdKNpBzHL5bRtvBruaawgV3wtWNhJfwfIuyx1
fjmMRUTaDeJthKiX0zcLwHNo4Rfdf7Xs/WwqMu1s1fKvwO4c6DV07M1qw1K6KLtmkxXvNXKmNLjv
4QOTWpOYJC9CfEEbQJwVO/23hm2DvLgsk2fTJ5Fw0EH08MoCJMnseuUXyZeAXBEHIaBLoghonu7R
aEjhgDXurgbu2cKIh2Ilm/Y+VN6T1ppfGBa7LNBN5kL+S/ahGaA8x7bgreBGrxtVnAPQkBOy1s5k
1pUyPmn7pd0x8mJyNCeWMPxFIGNC6qqutm7cowBaGPIWNBcXowpiGhSdqNjkU0lEakBrJI6bazPY
EKhtBCfxJZLoVSz3wXCJPSlqGIyi9B86k4QmonnTXtx3MkKgw6R9YsL9oPL+JiC8G1Z0KPBzhYYk
2ugr+rnVLAQNyCYwJBMpZMljTxq4FTP5aJcBvVjtm6i8kx4hxkcQoWvmKY5wFsxgE+Qh0nrPErXu
NSzaWrTOraMbfLHcdzlrSqxiO9S8O3S/Er2EJV9vRNhdNQ1InMeS0RP6kUBfVyNKFoYtyN3YzASz
EGDSZMZ19nS2xcjAAUpWbD3lFnAzN4R/OK4LSUBZWOPI1Zuxx1mQvVvJLKEKw5RbNnxT0fhRBLQ5
9w2UOIRtnSrWg94HdNUIxaPXF7HlLQnWOMoe1TDiL0Jc4zX7Bspq6z5AOVY+aJNAA0eDuI5Xehue
Qtu/T4wYrDJLEWw2ZwFk/qx5/ezq3vvth8q6g42gYOxB3SHrcsu/JpYgpFvGFLwkBGG1BDNFHcw8
w9z31mtuoa1AlGUB7l+kOuG79RSfWw1cvtT1v0gBm5D+BQFDISB3ytiUcvhIwyBhLNdQnEMeY0Gf
RwUBBR4N2JDOYgucSsEt1KqUqcQQ1NHG8JC1wAnqbI8s0yhWY9v94Rj8i2KK4ycWNIPeAS2WT1Wk
aEGvTKoiIYNYczi/JArnHlTDqbgreHbazFLMMaY/1AC/KDmobgDfMe+xLSaOPx967VrXCLTQ46Vj
jf6FVxAluerHv3zQE4cCIJb6w9ec3ec/11QUblJh9bVcrve5ZiwzEP46lOZFL7xNNs3PYWc8wAZ7
HtzwFUFKsWTlLTeNR+DQ78u5n+E2tgT+AgGGasOWjm6J792OHw74pgiynN0Y92Aa3Ri3Tts6CI3N
nPajjwk22qL0/1DR/fKSFKmCtpmrXPUJFhEk2H9M1EXACnSw3b6Iz2qcZ1jd0OwY54SHQATuH76n
+Eclg2TIghAy/6UV9bkhEfedg9ekj8mwH3a0o86lkbT3o1Z/yCHzeRXCb14ZrYm3wtpZaMNOI/tr
6aNjkWn3ZoX1DTerOv3+7v/iQwkBlMDhd6cz8/lDeSYT25hnbdk57NRFjJYo4wQJDKJSf+j0/eNV
oi/g0E5UoLctujPzr/LDD62M3LDAu/BDz+QnAnjg1VswUUVQwBu17qO8f8/mY9Hvv+E/fuxPl/1U
x2rznMghrBRTb8dF8A3fT37IaCjuc3YEN+tBqdjDH/pCv/iy8EVsx6YcBSHjflo3uhT9hZFrKcmw
FfqLhnKlWkUDytIteg4NVLAzsKPSzo0q5F+J2fzhGf9n/U7JLuiACRpTrFyfC2fHresyMMhqaoJU
7LUabQ9yqZxIoc6iHiqglBdTRLplHI77abZn/v6+/+LJcmwckRAOlAVg/9N9N6MpatxAMpeIk3KZ
FcIl9xEbSRagaP79pf6xXPJVudu80JZO5+RzD3ksNZPonYBLhSJfjwl7qgFC5DSFFUG5YRdv/yfX
A4aB45LmtfXpxy3NMuz1gA5NhawAdxLTmyA54BEpl4SrnH9/sV88v44jTXA/Ju081pCfX5uUtkFI
Ug2pKw2IhBKovUDxG2pviXtET5v94XUhfuvzXjDfTTprSA1YlZU77xU/vKc+j639PXuPCGFlOmIT
mh2PEplCnci6W9gWdn/RBy8dVl7J2QQxvEj/9jotMa6lNoCWYJWzHK9chVHfxUiQq1yyMY8dkcnp
bqotKHno2TxIXJsh6SSaQzfnIQLtq0/QAcn3UgFt1MaI07uqMYW+ZU6YPmfIXak1JmIEzbDzXmrN
HUlUIvw0A0Y8ULIMmmk+lUTgvDulkxIb3AyTj8nF8SW4A2To9CY4Ha25bX774E5NgCLAbOe5txFy
mWCojXCdolOitB6R9gIWQZkEtHlyN0aS9t2+QFb7jte/kjfVZw3kSjy/mcT+FVriq0AhGa1IlYYQ
maAznmXllWNTpHmifRhqvB4fsi9aTluM9caMo3BX+fpL15JOsYhTLFMbrA91+DAG8VjsorAgpS4Z
wyY7OT0asy3z2RRpcWYA8/3mNb3bngtwhgTFmJNhDJfMjKpwJ3R8pcteK6MEkzlzGyR/BsoZ5Pfl
X4J4IO0GftWNNmktpbdOtVRpq4SojoS2rQIG5A1R7l04VVUsyAaW5wDaRb8mgJivAA+kqXATun5w
c9SAvKFmYO3TakLRsJp7opJNPIfe7zrIcDaEYrQZZ9aaPogXRm266Cy/89bsPJgAGATbOQCIDvJk
aiPAM0tE3Gi+PKQWUgQ1BGwdWUv1Zjptkh0sir0DTTSOvTZ6dgKNbDVcVWGha7YQTXwblI/WIvKL
k2MP9cfUDjCDOuTB7DpdBwGhq0prDzGxuETx1LzoMRueLqCqMiZC95nCWtb1NNUW+JLwt2JjJRus
JUc3NfpMLcdgcJ9U4RTUZI3BGLzIu2OnBLqpBrbL393oRX9NbpbTkErLHFNhoQAnA1ZGYwWV0rzT
qqH56jGBf6gI5TqHfjSRuKLCdZ968HISEmNpmFC2kiRCBq6B1DxfxbWwMeDIiaQBs8N2nlIo8Q/t
KPyxdnjL2omrksIaSjeKaf+WDr5VryDw2GBd5OgmDOXBWAd9Hr07tvOauRkjigEEAfcRacvY0i4z
u7exBhLIXtVufCg7FwIO1NrQ2+QuinALnkPRO+E+JeI3WoaWNRPg/eK5B6S3qfXinYbl8GElIqEy
zzjK4FCElSHRAsvUpj/AGVDM6UnmmZH0gHwUD7KWZ2I3tEoso3kuVcAGX5J66b/XMxmgBzW1wCdg
oM/UiKr0SPEByCxi7YTWGmtIJMqC+BxkIzsnbPpXwBvQiPyECNfB9Sp6AH3bP2ikDvKOdSWdwYJI
Zpz0nV5R+uqzOksn8xubW0yk9GjtStXgTXc94p0kTpEyLHDHuRnvkZGmE8FOaMXQadnh+zQEwWX0
i/LOHzKo2hUUpyfDIObVLmR9r6hQHCI1ifGEcVpBByXN6k15/vAS5IQXIk1S+SoCI3DjbIBVn9ym
O4YQOHAhBt9GGeo0M6bpnfiv8qCPpnMlN6TWV5qKArDZtfOmVW74Fx6MdoOQDxcNuYnGm990tPjq
Mo/gqvax7h4ww6EGJl8nX0+1n64aQ2Xroh/HN2T09DJsyTlMNlV2zF3DuApZZldXn8hrdUANLWpj
gG9Sxd9VWeW9FvrOuSCGmHeTSplOYpJX37JYBjO1B2WlGwKCQ8pjehC4qqh5VFNnwGXN4+HeJq1t
bXbj+BCapvcQTSzPo9OVSykyd52mYwXklGP/c0vMMmEAYUi/0HfXDQSe13hQ2Y4ByYjVq0D3MxJR
QOINbYRFMsSsb2sn0YmFG+p4qnYTxl5s6almvfpWSOvJDUObUC1AcvaqbQe+WRVFGW99PoPYLc2y
rEsJcqs8WsV/kXcmzXEjabb9L71HGgCHY1j0JuYIRnAWRWoDk6gS4Jjn6df3gbIqkwyxSVP25pm9
TVZlanACcMDdv+/ec4ltpUaX2CYuwthDSWKXlrEXWUB6uooRMcZua5XXplFG2VcycXECDjplxLuC
6ie13DDvk32Ell5eeuTM6fsx9WV1ZVgIufcum2RUcSMsBDikA/EirebmzaMWOzb18tYGE/HFlJ3u
WQvSsnvk8dOMrgjhGbUbRCcTSWeNRJEYyDTLtlE6OtR3CB8OGpSVhLx0D4JiC2Ey4yQyKTF8eQMf
SpUjYGTRKp4bcxzAzfQ0SNcVNvLqKgGvtux8WTgYc218o3QSAYHhjeccTpRBMFxV2D857Ttm4O3j
xgqI/8ti72mobGxVRKZN47bprKH+lweW+TIPtCQ6NMwLmNj1TOyUiO10PjXj1TCYeY7KcDIH8jEC
CeihDO7DvkXNE0IsqCXhhisEhOMPzWgdg5IRwcrALuhoxEYwgKG3wW8QhFQtQ7LqbJwxRuncjg6A
YPZ9ZFRS6JVmEO8IMdIOpgvohzYoojtQb5SUe4M49O1AFu4qMS1949YlK8EgiU9A3GviD/sRcREU
8REbNou4YL1uS708NL1u7SKZpuSfEQzBe9ISf43O8ipieYR0XBPNs/Kqyh8XtlRfEnNMQadhlHRV
Xiz6Oc17oesNMN8iZmuXT1M7LbQQ7LUdK0rhBhsbMwgMBKjE8k0uTrHCVt3nvjbB51ijeZOEDoFn
OZRgkt4J2NbYMVVKePfwD6cRDSog35X/009JvWAVZ6GzJgrJojwJpx8Ie/asx3l0I4K0vpQ1PLoW
YtYThZqbCI/Jxlcs5XyswE9ozaPlxgjf9WpcT6iGDlWXfh14LstYJ+UZvw0ZcqNFKJKQHXWwtrO3
fOrzTWa7ghWfgIAgadxbiXTrVq8Mi86QUMEysF0NopUyIwl0aEp8r7nyOiT7m8IeJ3OTUIz26hHC
1qxcjRVpjGmKhiyDjkPuW1P8qIKB8GAnxcxn853n+/eMc73Y4+hrn+M6hZDZxcOqSyP7W+fh3wpr
EK4FZmf06YCADE5e4ZZTjPlZlQlZa5EzIcrj/vNhcwLf/ZbSbd42apy+hVbl3ZZQoLMthD/nRNqY
fYxNVT/kaeNsxVTyorCxpjZueGApwt7yYThZhkqWJDhr7krkJvKAiZcWiIMFgwYFRqd9Hd3Qqb8k
+FLiaxt7FZ9YhNz6haULsJVs+/e14v4DY1Jwd0KvNewHu4Add8urSfK83VuB/lAFTlccQF3W3amN
RO0dMkSI6tlXwscyXwRdOmygckziFkxhS7S9ywKZbsqK+tlc2mp0wkXgaFZ7QSsvPDRt3FC878eS
RlPrZJ79HQqC5d82QRdQhdcAUDaYsNquc68R+zvZNL87Bq2ipqglvfg5UilE3tcO9jZVTlf3C5Gx
49yYDnkqt3agOzh+qNqV1fQ4eTNOwn54//T05tHwr8OMo5+fnmDxmHZEYQsXTLafLDqqZo7RmPbl
lazzj5DTv8pBfh6eOI0aHNnMX9rVBhVsVVVUs+zAx/fU3vHJ3qtqphqUuModqvXLPq2i3WSmlODD
7o6MkeOgYvr6iU2swfuX/9YhnNIOLEYomA71rtdnOZ+Wbmn0fGGS7jP6KvKkr3HmfFBDmo+7r4qH
8zW/GGQ+UL44MCoqGalpIf0QiSlnK3bnHCmORv/klP9imPlRvximtigU0hOeGexA6tOkWuVNv4a1
1a0qM/r0/o17q36DzM3WbY+DNzKM14PZqi+MAB3eco6NjNlcR4WxNvH51NptPn9C4m/vD/jmk/IE
JSPqzborzyaq43RaVg/UuQtNS/ulK4La27eEgHxNKO40l789msfsnJn2c9V3Vg6+vJdZDBg9B+iB
jabSWdOCzeCQYCZy+f39gd54/wj/lIbgjEQt7LwKRNp3xks3y/v6LLwo3X7Idl6fx8/1iFJuHbp6
f/f7I3KE8CRKSsfRz+slphGNueFAoxMV+UjZ8NiWDstsQj/Pz5z1+4O98dQ8x6OMrM91zV+EhQaS
E7SNZGORtOnsfFQbp4GO7k09pOYHBNk36kCeS/2HngBFNXTmrx+ZHvVj4UimP/f5Kat6tCcZcvoI
NfKidcsbVN0fXNxbzw5kLaVqNr2QTM8myWSkWRCYmHyJcV9z/LWOvdetjEzJnZnYH0yUNz4iHi0I
VJM4+iFhnl0emO2iC6H1LwpTry4SDNJA6zJ5+/7zOrskwYMii1nQXEYdZ+rn876OOy+vq8Ff5E1C
u5QYXNgm2VGEdFQaNuu/NxrtFOS5uDo95Ln2L7LHkKVf+jqPzKuy7UgZSAjAaEOU3gLVbFbvD3Z2
A0HJzoNJnSqoCWn8/E2rbQ8Dch8gqXTUVCx9LSd7xFal33xQ/Tyb838OxKSmLQV+nFv6eiKCxPSr
vGbOS+jQx9aAnRPao3mZ9PZvtgwYar4ksNVIkT3h2GeTAmxTF4F0IRUj4I1AlaJoptswBR7JUq8I
OCnZ8gzEfVh9M6oPbuj5XGFw5gnvLwu55L6eDe7EGl+ZYq4CteO2Jr1tQ5Q1pQPf26U1mUG/+/gY
TVLlxPEgDOf88VFVhMDcoNrMYOTcuvg9FnboNR/MyPP9yXxH0ZHraFbJu7YEOvFXH37BJjeNaUDM
wgqN6JYSZIlD5rfX33ktpm+j6z45ApeJKDVikXNqOraWLsY8um/gAP685n9HAFz/uUc4CyM4+9f/
SzbB/4PRA8bM9f7fTQAX/8rU15dRBT9//58WAMv4w4Oi7+mCrA+TV0v8xwIgxB+eMbcO6R3yKqBf
/8sCgDnAgiNNp4cGwc+4k78sABq/hr3PRTMpbEL8mMG/4wmYq/5/b/LYzzo2eQgY37Ge8mOeLz9N
oNi6NBrhP5G8H4oBFYwM4AWRUdyb2YnP0rduIBUbG3CzeHGP/j1LXua4uD/h6O8NPn+SXmz9ghhh
S2Bj8ctTJ+kPuiw75+ANaU58aCCeY5hv+1j6+dFGVADifAILq5CG9ey8VzXfinUr/f44pq65TiNT
OzSEg62CCk/M2ENcI7SJEkCbBaserQE78QLalBgsLrdzJEEpeoELdRy7dUBm4E1YxfHXjrAOwFZu
9sWlufc1t8zBfEhHsx6XhMPm+0nGer2pfBrc68jjDLQPB4KDMopC/TZSY2E/+hakgOMERNZZ2ujV
2Y6FfUXxJ8nhJjcgIJollcqCV5KzL2xaYcL871u6qztsdxa22ThPv9Su0c/qCnAZ9F+jm0q2BhK1
vj0mEbOGPxaaxqJ3UeUgH4X2lHganG5l7c2y1DZNXqItY6OYIehMCDILjfZExTInxm2iqFZmFvJN
UgPyBR3kaFk6Tr3WjKi2lzK0rKtKaRbMpGIP2w8lociu6rpbWLl3ECToWbL/RlTvthHh5zAoH+ji
IUNv0OeogwbkgDP/tkKzN4EZA4YHZSUmigAN0hiQcU2/2+2cZYN4NcZ01fjoUb3sgL/wDj0I6Gio
8exJPJmt/U6sJYdVBFdwxzV7naWz9E9cFI7xSRblBQXhY0wZw8Zlspqkukiy6ABslWqUu+IMjZoL
agMtD8E2XwX+fWbO3ux6rwSu10juOkX0ckRHxXf9vQQgnvbeOgrIhk2T7t4qe9DiJHCWxH0L9cmL
OiKZdLX2454Ayan+bkTDRTWKpWU91lB9KvyV9GhXMhBbs4dhTU54KG3sKWR1DRO1IlK+I4h+eDVm
BLqxn/+w1ljrOPA3lJUP1hBfamOOJK9YBHg5x8E5dFO4Vuktdlz+iLlNnWJFbWyr2dNhHOq7RIwb
AT0iBPWrk+OtEydmleGnpjd3fhNeZUx5pv0lEKjNHMzl2v2XnOBWYNCYRIp1l2Y412lrEWLjlOJx
QjBatghVwCKRmfddscHC71ugnW6WFYU9myafb8uD68nPQ/U9AQQXUhtoun47WizcEQ9GgzZR2ZdJ
1C9t6S2I1CZbD8AVsV1xnd+R2LWO2+5WDALkjSSGyjvVTnsN6n5Owd3R3b+Mcm8T4T/eV0aSfI2L
tr8Kwqkm+TubAevDzHdNlyb7vTGgiUa3qwekUI/miiSM22G01vRz7gygb6hmTUR8OeDwLNuEHXiZ
0SSnAjuNXYsbgEcbZGefIwMUSJ2qA8JhWiA6SkMRevkiFtrSrKrrZAi3Qwo3JPfQOWDm4YzQ2uGT
l4fxFRB+aDNme9lowdqay4JRuZ/duAPNybh0T12bcAdRnuagygzY9rxyrh4TF2vuLPWDp7DtsvtK
RbBrqi8pqNIiGq6TCZp+k2nQbIDi2cMDluAtoJyTwGxeRmD9RLCPiV6cUBsXdXXsfhLyHHFlU+ke
mLg9gey+Nn1NUfLmQbMZh2QVqJQwZ3cBkXMlGoqboEtYAC5oYmwKgmjMLkICbJwSI9gFbnHJTNe7
4NkutJUXNzcG/HymVL8crH5LrXltJcRYNCEpg2P0baB4PJe76O0E5M7Cpz4OsYHZIswU4vMC3CPw
1cor7ihK5Q95AN0daDycNNHfJgZw47BO+0Vjwl21Ke/zQiEVjpS5nmZYZyuY5kFrbqveJY0tmYwv
nNE81L1uj7ZcaSc8ydo6UYgphQifCTwHL9PSwAVAMuhy6aaZeUij1r30EuTh6EHH4iT8xiOJAuG7
kbEm5HbXHJJ+9Fgzci9G+ank59HN3acoqoEQ9IWFhi20t/1QhPfIDS/noG3i+2BEToZalxh2l7bj
P+UJVUeQ+eZ2GspvEYE2uFLdlTWgnLTCDsCTSRBMgSI8/Kw3wX6KnAta9be+7a88o+Pr4e5C4d6n
KBy9YOR7LR8TFe3VVH8CwYC+vbmj4n89pDjBYNM6Zu0hYU5uAVGeIFVmGDwyf6UZerhF/TDeD/l0
C/1mh+6sXgQt0bOTQSA9gcGG+TnXUHdrUQLTRZ5a5MtBVfSLQjTjYlLdtT95R5KG7yrbYf51W1/p
13zXkem210ZHMQ4B0O2cLVG2kDzIPNmFaTksLJvrCsYDtc4VkV6HuJ++Qf6g12vHOFmTe7LcHibl
PmmwSqjmxzeq7y+8OlwXdR8SdMKClIu9jX239aoOI0NN6Y2PSWF/ctr5M6v3l6yxclOU+rio7Kpd
dnp063TGBVkzfMTUM7Suk9NoLJIUfhzgTjt+sqeGrpaWNtfYEwlMo0PpVxaVOw9zTN/xXFREJqK8
GIvpidybUzaW2ypC6cVDUwHQemzId5NvfnUqXEtdSCRRPvZLaEXb2Jw+BznSK0c229wkY24wbqHW
uDAw0i/DWKHDl58lp0hkUx2NiCxfgS/7ITS5nRWs0H9vUniGFJznuXlZKd7OOrwgMm7FyYhAaPYV
d/MeclPlXrlqbcJDy7gNni08PtsEQOClJkT3JB1gr23RO9tE0R+RdCgXGoGCi0iQc9gCx9tret+v
MnSRuH+c7wKdzYZJYO9KSzP3UwztyTehBxgZDjfdAH/v0FnaFA4RcqoPLpue+BGvi6gBh0DNxlof
P2e5k302WGgTdORYzKHOlmOZnSDIgzf1nWBr9QapE6XpbsM8KW5rWgqfBt+ud5mPFQAGr3GMbfjp
DgxOnCd+czdEcf0lhFyNHsHsOe+Q4p0vEz2YtQ16B2ZbK6mzu74+A77GrbK1nDwKnNjasiPb8TRI
nA0V0YbrxlDRlmxZNgES4CYdeu5M10SreuwQUgWxMxyLyLe3GQER6yYb2X4YNZbzaEAyWjgD9Bes
QuycpWXuC9eqLiyt0e5H2BMomCsP/pQIrmn0sUkL3BA4lLC3tN59dPJlBBiYB2DDsIfpylbsMejr
/lJUkQoWWUcyLkwD46CbDiyDdkg3AinYNi1LooI0nWZJmQZiHUR58qw82Vyzl9a+GGZr7mu6ZctQ
2QVN7XEo1trA71aoz1cJe+SldHUoP2MFb7MJQZ6W3hAdeh90I/GfzZoWPWpnQxnbgITMXewkxnWY
0eUHt+gDuGxqAkdLcgASNI3mAI+pa+riUptS+iP6VA01W2/PuSIyscSo2hGUZeg+kZmkOhp3WunQ
Kizc6dRYrdqy0cLV4kyiMmgDVVIsIvLr1aqSNFN2Aw97U3S8uTGkZ8dQ/Z3RQgYHPOmpNPJhiMs2
i+8zdzTwyjjuqDXfy0iAk9m07tjmj1MSW4LHYFeudehtHJJyU3GtUqAJVcO4063aM65bmcOBSMxg
sJZT1bCg6ugZS1bDyQmPWs2WnPtCoX8XDA7qiCGcwva28QNgTivdm5T1hfgcL16puK8L9j2jYfd7
faR+DlBLmjS1FwARey1ZTcRlTfdIpHL5IHRQX3ehlWLQCdBGiJ1qB2sMQT23tbuWdVvQl+wyozs6
hV7mm8nzcFg1iAtpPYWKzcMP22lEf0C8EDTwWZSVAAzxW5cVplAs+DeR0VKYOHZTV2iPrm40T1aX
KIPpK9kOsR/qKILCyWm7xLnMVUnnMog7LdhoRA2LFdj3tD/QQjOGUydytAHTCHJh2dRVBPrZS1Cx
ZOmcr1H4IMfAA5tWf8U8CiHH65xXFrkLoeMKZguU5bGNZlcEt3xam6MVCSaQYGsNvyHJ1YJkMyAn
Im2KbCnk6Bg3TddC96gr21LoS0xwkyUmNyLiI09h83IjJz2EfS/Hq0A32PGa+ZyspZpOtPcOqChx
REIi8AQGU6RND1Opcc6Z3MoZwC5yHYc0lI3a4eNqjE+gm618k6OC8W4cb0RiSAkp8HdKCyLjfiLl
C1HgDNQ8RrXvx6doymnI9rE1ItxBky+uJTRZ4762yjTfGa3VEFdsm/GuSqrZSonNuFy0IsQbEkw/
ca795LYw4CGB70sHkN+S994gordyzJ42sqW739kSqPAbAYB9cIQnYKW3qgGaky/SUffCH0HbSQRc
DfWe8pkei7Q2Q5mx15mmBFZGMxmerX0y6EQ2+biAm9jO0ofY5o3usOyFaXRTQhZULO1ck7pCL2rL
TUzkEhBUhzjtpd1pI5BRKMHBzpANaGytouO1hbyKCI8DIuIFQ/ugnPW6FElRwkW7LHXqcMADqEmc
tbcU0k4oNqRKV7P+zbrvhbcYww+M5B8NclYy04DpaMPE19d1Ht2cve/grtrio1Ln62rjfy5F/Ky0
A+p25/rLixKHNblly5ceUGNE96yeLsbWPaVDfWkZ9ub9esrbF/TXUOcdEouobyegsbwo+r5AORGq
UwcUjFMrirXfHsql5cvOgggLakBnhZsEVhQ582hESYbEk9Pn3yqEjYsKfdP/baD59r64fUTPYPOV
DDRko6JoYdUOCT5mEfMB1Ii4/qAk9boZ8/Npvbqu+ddfDEc8RUiECU+rhaLjEyluEloT493VyYSp
je/vX9wvtTfwGC5lPyEME6+gdzaagxWmSC3WTSmAlxFviAfNAvM6Embgx+hYwouEndr7g/5M7XxV
dDsb9az9k1Q4UNIe/Keu92XMWQ5v0aJopxSaqgRDE0+uxmms68Hkeb2XJwsQb5EgCQ1j5UpPBvlN
i0XxgRz6jffEdenImmiUKZJaZzOqKLOxEuiD0WjwUXFvc99bSnVKnA+a2m/e8xfjnE0oIytxGM6B
9Rmb4pO0mEhTKgm8C4e1r5Cx84nnzgwIjZLut7qzf84u13NASrAnp4959lkTEn+ljVh2YTlNRyRh
WpIBlGd7x4nV739B6QMgZKe8i9h7Ljq/nMhQ8Ek5bJhaPlSkRM3F0+9Z8OP9qfTGvaSpbTrYIPB/
AKx5PYjmeaVhpx7zF5Wb3kPJCdpHpSk0msbebVkw7PRqrNMPhn3jOwc1x4XFQuOUAvbZbYzCiQmk
zY9QQxsl/EWKALKLPuKxzP2us/eE/p4h+WZL1AIzoOflLXRhhtUONutFHWVEJRT1SXf7D7pDZ1CI
n1OCQehd0gfDjzbnC78cJIoM3R1GXsa+SqlfV1XOWdntiUhmwxyoB+z1FAHzDhPV0iRY1VoSB5N/
DSl+9xyLnPTz+4/0jdfw5c9zTnSJkMr2tObm7+0gVqLQ1QmNHDWuCTN1RKf6g9f+rSk032LOjuym
bOtsnhap7LqptXDNZvEFkRxQH6e14shGOWPq1TqfLszk8f1rfPPB0vm2Z9TOzOJ4fc+zZpy3pozZ
ld6lS21D5On2/SHOXDr/fq60hhF+eHzY57Dpl891SCu3Q0yIZGy4yNSc7GuyOc6pR/erqfxWCmOf
OuaFXQQfzKg3X46/Bz7XmxDY1vjKZWCKBAvdB6BscC5rig9WkTfnCVQPesXIFngJX19fNXUmcQr8
1XYTE7ZmiGMBSZhkjmwROkSsvH87PxrtbMnqEtfPYsUbDxftaFT9OieKpOwR/KbJR6qnN28g7RPH
nV960zh7cl6U5amaF2U7KXArug+9JQ76YH0wQ96ahDPGR6f1h0NSnK13qqyNqZjPbJ5NQGxc7UfC
X96/a2+9W0JiEoPa49poMF4/ozotei2suWuW36/LmcJpaVRg9jM0wArJBNXwMjf37w86P/jXX02T
m4Z6ALEWFrHz2xdYSVlk89Z9HqzXIVBXV6EcLzzjam5n/IPBcJjagr4HfdKzWYiQ27TKmE807gIL
JAuERjkmoOrj6EBZs1ig616/P+Sv04PrezHk2VQUlau5k84aPukVG1+8JRY8luHh/VF+fXSvRzmb
hDD++q4BnA23wozvNE9cSE7psCueMAVcKb+4yTXroSXb44Pv8a9v2quBrTO5WtHmvFoh5g/0rldg
UhCKdngN2eYrFM/Jb3+sXo929iWuEKErIKic8xKNkvhzAEnfZf/1/s38qVz5ZU7+/czOFR8jhpw4
jvkmZio42fRRiqYm+C+9DdIcYGb8rzS0f5BIUSzI5tipgMADR7dJLBiIsPCu3/9p3nxBZrvwrGKb
tWyv30ottjuTzHpAG5N7gRVu1Zc19VKAP/WzYUar90d7e7r+PdrZdEVkY3nNvA5JL/3a9cmnxioO
pv7RPubXrxkPEl4gnxsLF8usZHi53NFzQ0M+vxXC+t5F3iILf8/uOy+o8wgcDdjvYdkX5yMMWaFJ
4NRAbANYvlrhndok0igcp9YOP0R4DTrL/uBZvX1Zfw86//qL46DptuMUQrpfUI4Q5pZzp99uMW7W
xvL9x/TmpHhxdWeTIutFZGkGj4kd0tYkVs4VG0LVd7asN4GzfX+wN99x2zUIKUd3KPWzwVovM0dd
Z4WL8J3xtqnqS+w9h5A53h/nzbvHYRNGn4A2eX48iG3ZqXwufej870UQyh5PR1R98EF+69Zxgp4P
jYIt5Lmt1S50vxvxoSy82t8ORr8zO2PRYOvIW7rq+ub9azoTWv05D9FazYQB6f16sPLJ0JFzPY14
B9TxQTpi73BMurDVnvSlozHqx1ZURA/pR3MkmEyH4RNCHK8d7+79H+WtxwhRDg8Dq6wp3LPH6LBB
D7yJjydVvNXcVEXHABEsX0NH+QcjgeaTFio2j3nz+jVgwesLzWekLAGDrmc0ZrWSxITaix69rFi9
P9pbnyxLQKygt4HC/fx45xl5ZLUj7wLyGcAyFa3DbAuq4h8Mw/7ORng7C0bPCw4T2lq9K+nx1xis
1mglqq3b4ykBblb+gxfu5VDzk3zxGWEmFYrCEnOGlAxkLiMqpMG9nNky79+6+Wt+vtBxUJU2UW9A
N87fuC5vwbQrduVdI26QE90htnkACn9vheKqztwNEK7ygzHfmoZ88PHVzTUs47wUmE7hhNuKrUpG
vsOhc8aDnvcEP9Q3MMO7D2biW3PD5uDPSDBsUaC/vpMuaRsgznj7hJiEdkjVFClC5Wjj4KOqCIF7
/36+9W1hf44PgmnIkGevmJl4kxU2LGuhwIsIYInmI5qgZRp84p38YA0w573Vq6eHmcMiTc1GnmqY
1ANeX1ydDAGqBL6XaeqhN6IJo9CvNNpwk8XGU1VY92brPwWjfqHMdFuRGKun7aVH+opPcCcdhGHh
NJG5aAttQxsJM6u7BMFy8/Oe/H8s7jR5jf53becCbWf2Uts5//Z/053/ALwHSIFCFEkOEh3lf6Sd
+h/gUqkaYaAxWWDZuZh/aTsN8w/ChFl5TRSX6O9nKA8tuyb87/+y/+BoAUgGWo9NEq4tfwv3zHr+
egl2WHTxSPFXUlpCb/2nAPPFl2f2H1e5FuH0D8YLGeHNHxSu6DR0p0vLr58iYWu7mj71ZYQd9rLF
Wxyl7q6zIm+PfPoeMQHSRvJkxEKvwH3kmTdgnbU+2WUQnCT1vouqRFqltVgm9do6+sN6mtBx/fxH
3ePWsO3kmPk6BgoQQBr/5zCCv79M/elfqPZyYr0a58C2cukRUHIkaENCROgeA+SK25//9vO/xxnK
qobS8VrOZMcqlU/gtgmFcg3yAXpiRbgHj73bX9JLBIw4RQTCG35J+nuNZii167VuDp/CKU5WboQA
LswNcDzenBkbVyclQca5XYXoAIrgReSrdp13Lsl8ys0v8EEWF21DHjcKpV04ROrC6YInOp711k/N
6BTqRQ5bKN4Cp4hOvQ8jf9BtYpxqEtBkTm9TFjOWX4XaKqW3vqyG6WZy0jnjvCXuUDeIqI2/joVU
9HKdQ9HBaez2aPAU5dWVrvrhGJn6QRut24YOPVlFbbYO5ZGSebOxuvhajuRINHTpDhQcPudVSMiq
QqGAzcm/L2sUXfaELAPjHrcMh7k/YjipSJJP/buczEfpN+UB/aRCWrrVRPeMU3Bdu74FXB75v4Tl
PKdkfWvYieCdQm/XiXCryuhHMQY7oKIgJ+yQ6BNiGMnLXGkD8smiq686afRP0xghLQq+x6X9g1iP
mzGTEAqyZyV10G+lWSHnq0ziSlS2bomiJj0X4xycuHqhQ0JxB8vbe42ztycyxuyJDmrcpGzHBVnS
LTGyRA6yjAtM1H6Z0vkq2oMWhk+6CdcyRRE55DXwuzLdW6X/3S+S6zipalz2Yb1IZLUjf+EUFqHa
SvdGicy8UJqGP9m4c8ag3FTKZsUuBJKH8FTb9UnaaCJNfCyl3xN74VpXXexsWn1H6pGxln3TbHKn
MS/QN16UctDYkcKB7Dt5+vkPyuZPGLTtJfHQSEoyaMrNheXEoCGD9KoNMou/3R33nvds1bGxMZ3g
0Qz76AI6eESK93Bb5x0B0lWTk4pSq9Uga7mQHY0arKoP9Mr9TVIE32WFTKVJ028ZHbO6nwD28BD1
crQJCybYJ6AEui5yYo5htXax+GHqiXsAqwQQEPKpBuEl10lhovcDEjALRrwnpFf0I2KMdi1K+SkD
HIFp1wIGWX5SeYZxHRf1XnBVlK0JyrKIOpa9DmyQ0D5NhqcBW2tZ6voBB1J0NPWSiDtRsH3OiAUX
DTeWfnK9Cu2q30ppf598FMLIwuOlClDypttwoqwpzRAgQ2E9xEPyyE/tgz/o+S+DdV/Qt19nxEJm
ypm2nZGQAteY/tEwfBQRNRFenZeuMsicqzZObqYhQ5jrmRiI43aBImhcViW2WkQSy77v0mWa4uxV
AyyOaMzQdN+3aKF7PQpOpda2V1ZLmp0DiAGiW71GkLFpZHafmdWhLU1zU8IyNuWTTipLizzVaPVi
a3vITuoKQYMTEMjU5cvSx3XbOVq+moqJ+uncciOii3GL4VqDiLMw/CyBC5w99ZZxSyZctkB486WJ
2HtrUCn1iPwYM61pwGpNuSHYukDrzqegICGjbtIMHEG+wDfkbVwSOpcAR/KtjlR4ZaUOw+sZ9B4F
z5DM3jALwwW5zsUCzkW7LMfAW2ZmstaTxN/Fhv1jwC69si1G7HLnkWKf3Lo0DJizBBsiJl8JhA95
22pLzdbkJi+MTSZjMmFr3s8I3O1ajebSCkvEk7F55BHFu8Eo947l34R9djIUqhHTLR5TiOfrWTMB
I/K6I7FplfmgBMJhG8cl+Xct6tgkBaFqmzlRWaZ92GRjgaIaTNE6FimpAxW/cBJhAdhDIdIzPH4c
/TIhzoW8eRtIK6guXUUKOz4wGkxkvCThzJTx8mVcEVucEt8i2/gxRqZCWlBAhhsiJZWCS4hJSfLV
EK6cUaNdYqRUdDo32ziEUXZxTHyvIBRoMpZdBhc3NNAZT02K5lEtWx9FY565wPeqZEcgyLiHenlD
N111P9pkuiiYoyrt/aXiQAJ6krjrWE77XIg7d/ThrDbIFSSKO6IKwSwPxzDzH6wKoadrT3c5pI78
4BOMEuWhcVcbuPZdi2jYAZXvMEkkypavbdz2m1sR1KdJdZtbBZlhdnDLSTpbUBhfjgRW6npx1Ycm
AYeGuk0Vi1TstBexo4WENyb4mKZllrk+mv/gMtLzHWYuc8FU22Pn6tG3haxsxSdRkkzIYtqvRnK1
DSJ4KwJUVyLF2C/aAXkRoWYHOCibHsXOxq67lS0G1OZkAHFzr4t+QopllBftYGT70EIwHpEPGvoz
PNJq9SNnN21RcATo+zzY16m2GfuyInN8GMhPKa8ip/yeO6axEj1pv9az31TI2RzAsFgej06rM2cm
yVMbh5MczG2PC/IUifhYDsVtjNiQ8GvsrVlXRitSf+t1Y/f3tHi7ZWA6zRobevIZ7tE2qaOVFqbf
0Qq0wGMJf4O96i2k1XkEdpVibcsAfScya9cN821kEhbLkSUPrWGDet1flIXYN7rhbI0GIEgUpA+d
AyIySq8Kk9C9gESxQGPWTx5NQhBH8VUERjatJvcmJI8AV3+qt8SDJ262nfqUokMdHQMi2XdT6Zs8
s+eyawvsDYRKoom9SCH8LFJ36XsuSWxJjW4yHG/JsWIz9pwOqdgo3XpWQWHvKTnfV3l+dDTnq2Mm
7arL7Iz21WURul9lEZyiwuzXvjONG2mTQ+cNLWQ+K0zWXm9tTCRdC6eGZzGY0Q2Co3HTOOUnQASA
ZMH7mpHrbGBOfCocnixkh896zdJgEvfHZBwLXtK2XMdEU5sELacWAm3ZF9uUtW5VxdW/vALHiaHS
hU4G3iV5ktRCpmRn+VO05lsH+xWiBkqr4JnkQ3s5WaR/Jh0YKjfUk309XrH7kUdL6tfwFaKbKYKQ
AoK724yuu40KQo1DyH9rS6C1Qk6GfFyljw4h8H1bJ+vITyvWpOy+iVve1qjfum5GhikZxAasT5uU
w8VYTd8Q730a0ln+GcsnfDLxxupLY2Vp+Q1QQfcUZST7hVKHO9Hfpb4ezCKrb3lqBFvJ2c5qwh7k
K7FL3UiAr5mjy3Xi/+HtzHob59bs/FeCvucB5yHobiCSqFmyLVm2yjdEucrmsDlucnP69XnkDoI+
DQRIboID+JS/qnJpIvc7rPWsvRx9hLTwttq8FiC5fCtM4+LAJ3qrSTCsEg9xkxgvsknfUTvoCy36
qFvO/yqZIEQ54QN+sx1F/SEeeejTgCdYCgKgUMkTcHmWJvXMLHTAtOl1VE6zdKt4E0XQXPpm0GDz
pRwQVk9v0CevSeefG99Bx6K7EDHrbN4FVakzY5xhPMOFrl1w3xqi9I3VkL0s1acxS2pjows9J0au
kMUvRpbyN4Z8OHmWuzTgkUS6U6+GOpZLbu5rntuxmlW6JTnc6piQYpZmU5x7oadz9lj9aRjpW1yS
cVNuvi+qSJ9R9z5z7zGfItVBryGysY66amE19hdgqGBXw40kZNd+iSS0J3Z+Cw9x2qLOutcm4NqE
olKtqKLcF6uBfqX5nCGdik+Jh+zTd5tHdbGCSHchJ+NUNNBTSHzfOevW0MyXIYYqpVr00lHEvUC+
lQT/vejAmoyoe/FV9DfDkxRFI8zISX0mqIDJXd61WWUR5ldXhwJ5yrJsmhuOhoMpiqNG2xRaEm05
1LSLLYQKfUTDIeiqNLSRDyZEpG9l8vCO9fxmgqYH9lfqh3IszuU0byK9oaYoSzhqg7+zIqdbYtlo
SGu28SQsSqrKFRf6VzvYz4i7JU2JtSQKDnATD2aT2/Kz0Lp8TzBAK9S0DwDVVLRGS1MF08ru4Ijr
6TyvXID1Y1JMZxP2XOjN3i4FhrK0arFTgJ8O4/jHV9Bnh7SmiXtEswqgLSiENRQniA1pDkpINaSR
imXyENPr9WWsSKeEp+Qtjb4FHAbYKCySXe8NyWJsC4cbXw5DbAYbL0DelJe01Y1T0g7wJbgbqr6W
VwAGN6Dy09/YfVYcteRMZ3+yIDLJY6ZYaCt9FegiDiGNgPSf9DYsH8GhYLQffG+XBEyzPgFOk7co
qXHSmmX70WBjcevSIPGd2R7yrnkjaVrPYEq7YwCkPx7z77ot+i0lgHtOes89Zz9fSP1a5BHhkoU1
/VK+lZ9/vkwJelATCn1IszudkxJ6jg2ff4FQWddMKH44bLS8zl5EkW/93rzwRqermnEWDYw3U8GU
AzmJzbF0h/e4SDY1Gu+qHVJGhEX9NDofsoqyNR3uvC00l6qPMEY5dfTGmfgeWbngph8+VVXHa/xs
vTRes9Q/5qI52AoFdgVuzcD4tZBNd46xkGBWMQOSGCrkKbV3d/Wx3uoOGFzbJod8dg9+xK6Li3CN
cHfZYN/aEC7drPgYZH16p8Bgr5MUa3eIXlOUyAtABYJ8DWdjeqHR1c5Laj7MSn65CJAw73j+IgoE
iKhuwOdYEgkykYE+VCMlMRh6YWQrWXlk4k4LMtf3qpxOIwr9BU6PnSt7giCcrAJ8ANe8LCLMCqDs
/Pox46OgJW/16Ntk/nHB1EKSsYEmctUUwdasDGcZgAHctsq+N/n05LnZtrb1YeeY8jZ0lE2j3q0s
4NxMfMyLXqp6Yebt3hdqacLb4UNFAGrdjdOya7qQRE0473r3rumc7utpatQar05N49uHftf+qTmu
D90czaFmeQtMun7J5YNppaKEa+9W9MI22EV/zh58XWAg6EY/XbU9JqRiGtY1ykaea2SFXcaCZGj5
iJPFC602PSgHH1BptR9SAHMdAKgVzQarpFi1BEKufSvDbBiMB0NkoR/kYp0Yc0Rv4G/ioAroa2Dy
G54tVmOpHaHypAutIJh0DGKE4TFHRmZJ/JguUR69oX+WTmUcm0iVKyOvyV1sBrkRcSBDVw3Zrnf1
v1M5FeuxkvEBewSyD65E0rf+tobjvQQRIZb2sLHdvt6SKAHWaDz3eksBC+5yifXkIJhABI24Uccn
XDk9rL14dHdd750V0X27SM552ObGAGAgPvuiDBa5qte4SpvV3F96UrdeCIIc6HbptaLGMZaAhcZF
YfPDz6qpiH7oL0XFVCJJjoWf3cqGQ26I8bgW8xQ6khdEdeJpqvRfSPy6XUDhEeotrU1SgpbHFAJM
CjBdErCpamf8Xq33QYL0tE0ryt1ougZWux+C307KH21qbrh+na+mvsWYl1nEbZrklxJrtCZhfVk4
4iMzhnktqpFEi5hzTZrfmZF8zD5ndvXZpo/SAuXMKvuss57ff8yZhzy6GRGwq6x6zY3pl2NER8xV
F7MY94lGyERQAzTNfHs7T3/8Th0Ae+5wDMN2tpkDpqon48JJQW1HmbbEvvlIDfKPQ9QQJ243ZPry
zseJcYTOOa6EApOJ7eAEIcbdaawSFiQRBxuib8djYc+/yhGtoq3HNI3zTK6F03svYk6f3eKkLEia
raSwmyNGQOlEqeBiA0O27qwnF9OfGpu3Gqcmmymq72xmfteQojBZaj9I21ssJzO7DK11oDAtwjQa
9xbVySLu0d4L/cYnRDN/VyjDVp7V3Uqpk8njGudebHNcFUD7s5eSRQOteFItHb28ThGmPly8lKNX
OPMMApd5hhepzHSoW3YOcwGN+2JgrAZhRUnyXarm+Ph0RlXxxtX05YzpsmdRrqjDXIdtpa64cqys
PzweQt93fzJvJfGvQoYzxo2pDR0WZVyn8/zt2TVMOv859afLhOUv7+P3xmEc02Ck7cv8FIvqmyDj
xysgP+XYXHNw1WqcngON/FDLqg8VsE18sXh0h7xdDON4YLVC8WY8TEjNymfOZ/ZFmDRfVm2hBYyk
tXI6/SsaLGJ0ybkB7kl+fTOLJYnVW2vKrDVNg7Fw9PbUNe3eTbyN3g/brPwzSeeNI2GDfDvaDpa8
DKN7LUiHf6+HhNJWtk+x3cqnSGvkurIFsUTyhaHisO0SamvS7vTJe2ZIcTKYYS4LW2t29kgqhkyN
57iq8nUR825XJYnZNN73KLG7szdhFZlqw7qxiW6Xml0t+iKozsSRvgOWppDRlb52mz5eV0NE/HnP
m5nl7zM/lHSs3iKuo+xPkVCnfjBvkQuZJIkITrZcEL45s2Yd8ds251QJ4l+kbjOOaOrDFHwLQPtG
Vtkkn/7J9cZ6crR+wzz291zq6daT0QXWqKHMdC+T/AxOjC6845o0DjKjqAmkq5a61V8C4s8aS1ab
1OwvI+NcTdRUOI/ZUDC4u8DWXmU+fItI4WTSVmNtfJiwTFZEXb1qFdPlsn3HC7OLjEcL4zOMiGLj
4FDORp1xMTrzg0gfCIaTwFLl0EKOaEPObqoOqjLn0CoDE+Onf1UzpbJkOOZUzGPGJDoOyOdA6ne/
Cn/X2ORClHN3KTJ8Orh/l2IA3yeCMeTjsGXFMK3juDzBK1gEUwz6r02XbV5SNMj6lJuztphyxgKJ
2ho9g/c27y5eFTHM0MaDySXR8ElbTDO9duYDCHjshgdt/pjHZ29QGJhtTp7+ALeWod0X9qV9GxVn
w/6llChWicHf6yrzUhUMqKBx1t01Zl5lwFBcZNLwF16Rr/G04VYb03JDf/5Xdy5105g0GfOTJoXB
5IYsXXvieXoPhOMUlMu0zm6is/6wiN3OY3qeB+Pb0tp9MZhXBrJhzBuSmYa+4hD/KBvzBqNXXzwS
FzBI7oPWdlbWBOJmNE807XLbjwPIBk8szaH56xs3+mJKXfd3JqHU6I/boXuNdI1bocqWnqqchdBM
kx5gbQa0VQ9yhxOrjdfE71pg30tixv2h2GSedbXn4dN/wFHzz9SG3+0W+sF1xpO3z/y7Jd7sxgeX
6iaXOQpYsOTVaTK5twrukItIFCSUpdOnboCgdZuNcv7GbGDgdEpy2mS25O04ttIM25oZko5o3mua
ZdwROS/N5tLq0fOMuv9xr1/FwrgN/fg5yJsysPdGJlPvKqvCwV5FpIUuUSsBI/Tvk59toYzfooZk
kERswY0v/IaTrov6A2j9Q4wdfklv91jN4kWOpg+twPHb5laYqHEvZnXJJs+kiyqTJQbEpcXs2sh9
qnI3v5QDaeixCDYBAJDFpJHM43XHuR32bU3gUT6ZLljn4uBm1bsBOxHkZ/SE7WnbMq5Y+Dm3hikV
594sOBjav1IPnkmZ3hmj9a618THTghdsPsRDOqSWdbb5muMhBqe4IAi5IsxofJ4LwnMcr9xGs+qX
IwJw38aD1CcWCxfzQ6np2uciCXu/4l4JsdMXT6bIH32Z7i5B5X76fr+b2WssamIPQJNUKT+mexkc
jK4quBoRW6LMPcxARXGDebsiddO15oy3FNKE3hQk3ndo5k3RGftmGHZ9q+2tPt4NEn6waAexLjCr
kQkEBoo7d8HwSNgmfjdu+ppbXbLcXNkNxs2y8665pj08zM5V2lCP4ZVidEMxqFR8kKO+zTRrVTiQ
TkxPoYCIymo5yPzKQOsyJ0aokjJfWo/Tnxj2FQkx18aPcXL68bImL60S6l7aBAbxgpnLeBQpFm25
tVVOUDjL1B1q69ArLRhmidIXoFU3oH8/XJ8aL6vgPI3zUyG4IAhM/zDgzSzzBIMv7sV9FYxbw/zd
GZbcVFpXhI3r/zHhx/NO0Vsk9mq2R5Ckk+jDvn0f1GPQnrjHwlCbrgWiZDwU+XDiF8pEmZ8yd69Z
GID5+DuDMw5gEYNLUIW2giJrPPW9eWMO2Q0G+wTd7Z5nwtDcFji53TEdCIaUWHIkzcuUsA149QrE
WFYchnREcRMbu6DUuxc9Wie29acri27nGqi2eAfpfzrmMjDX+5KptBcdTMUVD8X02xxSfW1089KX
o3FSRvl77nIT4IcFgF5lO3viJDQTW14SI7qXJcFtQxJScDNwyXgAgDGQrPfFh8RRuM1LkMQDfmvC
38yZazT/lQdDt3ZqoS8a1g8HIgrrXo779tkIUnvVT/q8tPOJuB9D0siwGFiY0KKxkHYwFHTmyMpi
fzJghIIpDsez114GTKtoMctbUvvZUcVCbVLlUKva7XGcs6PlUWjVMzqkiDwj5gwRTe2U++wXujU/
bs/brS/aJsjOUV3MIWBZxcCdPO+eFcMFhDxIB50uP+6K70zFF3catnUi7OdOY77mBTXg6Ihtjgfs
nUbV6jYzRGLVOuOnk9YMSoVkZe5oXMTa4yF3/sakZWGIET+xO+eBIGFa493HYh+UpybJtuwp69AB
Lrtsg/rAMX+Ahm8uMHwwX/cNPp19J7d6NtnrJPMWfeur98Gfin07svJqk+QmdSacRZ1HJ2qDOJyz
wdsqXOL3uRV4U3IqwVnVL4bGDbG1bUCuNhAWl2FcrliKW3kGc2L4CwNXns0iMRfNwE9WZjMe2i7a
5X1bHbuSSbBjUh0CRjlkRn4HNZqt28CbQpZsfxMzOPUdOAN9bjOYBs0zYibnoWhy9lWh015nDoRj
nLoq6WMKEWb/Zu47ey9P8g1UthOItXqf+BVgJgpqQibmEeqLQ1mbkjQ1+xXtbd7vfRDkJMXPGnb3
YkUGKA2glRnrio1xX/cab1ldrpugU6uERK+pFNaVBHsctiB51lFxKzWGSrMxLBwG/YkvprCY0kMz
kO1IGg1rnbb58PGfrDyjwtQasZ2E0U/GaImFfcD6SvuigQEqcmYXKROA8dm1pVyymp+XXZy/jloS
hGLsTnZQPvG2TGcI4nJFR+HwqVD0zlNTHGfd/xxIt1wERbSeS2cOiYTzwSghxGKoFCz7sXpXdfM5
5Xw8xz7Ga+N05rKu6IClI3GeC8HRNVjD1ol9BudUPPU8tsda2txLzYmZsP5gqTT1Wzxa9Fn18LsQ
S9J+kg0KWWvl1Y7H3NU5pe4T2231OuTjdeo1FrXOizHSdxMrkLO9JPoTP9IiyU1t3XTuZ9MwmB0G
qwmrtAImMvGRSZudTw/CzorJohTsqiUMmwJpAfdnKbp9baB+gC1Bid0xDKymbgPi/4iRC+iDBDs/
upUTmro42PC8aJfgFKRILTZVZT+RiJEdGtd7aVx9WJMIUkPkyK94nNW+FlMTgn8kI1BM7bapdTby
rE+TtHVWxm3SkmxPcnAAEmgVdxErJVGOeza071GURIyGp085t/JY5a+tijV2G2MImj1asGI9EJb9
Cxs7pVNdbByM4muygcWqzMdQL+JzMsTOYtbMOPRo7LQqZf8SgL3XvW/gLY/WGrSNWdlrGbjTPitd
hCww6YFLkDGQZCEycn1heTUNXOVWe4arJGFEFRENRLHPK03o1rbnvu+6Rb4ajNlgW9twETBaWGlt
B6ge5vKelnAI6Zw+Y9JX9z9fZJqbW8PQl9Kv4iWy1ZyLxgARMmjMheaZjMSaBDi3SJZMJ85d0vr7
ny9m17M4y5GeG+29Lpl2dqiFYY8W637Us4M9yuzgpTWzgp/vC7VtTAXyvSDfaRwNe9NRjyygjTkH
Y0CkkdXsnwdvJL1VLxHIWBwbksttEdsjtXPa+KvRzDcyGp2tpeAG+ay0XMp+8gyLTmkrtCDw7cvx
GXz6LXeMZl3n1a80OpnaSQgrZd5k5uvJEC3RgRVplZM+diuSVZx9o4/bqortjdEm/d56fKlMW/3H
FwJWqQB2rd5P28gy5n2kH0c46XuQAeU+x5knOODdQ8n4fcP0lPbWZRiw19h+7G0+MWFu+Io+EUAk
+hJwIEyX7NR906RxzSf3OA+Pfy9jzuh2iHxAJCMpkCvHYjZajwqLfW0cXRW44UPbSh8VrcZCf67l
RAlIE4KgpTgmbKN0OT1LO13PPvco2AeLOQbBViXyhZQlMGp5+zrYaFZm333z3KGg3kl58ZuHmslj
mT9Ve9MS6AcXaHBYqbjiEkuKcb326I1HzvmgeS4c+Tl38bgYzPHCNmYLruJqAJBkMTQdSBQYltnY
l3Q76aWW/gNZ1HArc3/rHcfbA95hIZKy3vLKvTWdtuZm+sVIxWLnH0smZF+BRkfPKgtidAUxxDD/
+hVrHNzDz8S9PKMgXVoJMP2UjcNUVE+K3Q43BfAEhfanTZNd7nUNaK3gV8Q+gV112q0RPZ483/rr
ayyUHF3cRuW/B+z9fe1zaHOqqcDZNJVPGMHIykPbG5r4nVvVToy8nl6afVtUvYUIXqgab/pYoXOL
ow424M+IJtpVXv0WpQ1XAfspBJjpAtbGs2bUT6WiuvPgfeRlssl89ogOmxNGUCOBzUQvV1sVW+yE
BZVvHoGLGIynMZjvVLt66/0ZBeoZyTL/ITQgzZjQaUwFz5YlkM/kt6IGjyReLKqkhdW6b7oGxLZM
+ISUXA2o5ff+QKaoXvSEQpGPoYZ7ByZ+CPQrrng2X8GqS76rEjAbVw4juF0J4UEEwakrg9+xwc7B
0fxDc0TJ89b6zb6oMp4BJWtoBnQviXcvGkcuUqtyt7YmPs9zXR+EQKvl+iyAKg6lqXqyAlrybHJC
Jyb2RPCcNdDjSEnwyvVbIsfKnA6tdEDTTlaxqkcxhhOJzHmXI9MaSctQ1puXEg87xtaiIbM7HNTU
L5JT6g/dMrrqvf2djfFuemBYfXQb6Hhmqh42Eo3NzJMR0Efkx1SqWmRvounZ7SO1xCL7mvXoEmWV
XJy0cEIZaAfsCDuLzQ8vOwnBHW+O4Vo8l4xLzNKnVd4weKmGdtXUXPr/X9Wxf8b/TmL3JNM46f79
dF2//us/wVD//Z+/hbn6v2S7q9/d73/6JsSQ1ZFt/CWny1er8u7f/5WfHX9Vjz/5f/ub/+3r56e8
TvXXv/3LHzzH3eOnxSi5/rMeFs3p/1k9+z/y+EumX//1L/yHftYAjcpcCWG1zv8BpOZHEcjb/du/
aP4/XHylcP1htSOj/bFhgmV/iGQt7x9w1EGpkvZiOg6E+v+tnzX8fwSujteEXHn8AyC6/1/QqMht
Uen+J0m2Zz4eluPzT6Fsx/Hm/heDWlPzv7lO9lYc/0V3teVmcCk8DjWtUC1AwyY/d0HHEabIkC2D
aVEOslvjHK/WymVQFPhUUKgf0cxN7BBA5B1jcXXNojpzC67OcW2tVeLkB7KAohVpIzqE3oow7Zwg
GRRnZ80D4jmpB1UsIpjGb032npFa6TQ/Sw7Wx0QsO/D6/U3Ic9j4dhOc9CiW20RWHxmzrlNGWI6p
z2FBXt8yRexyNswohwvGONSzAVgbJJWc5yLd5E7+GXVER/RGPSAOKQjqyOszySe7nEJ+H2cNaa/B
e85dCap8u8+ciZVDiwEYQWdzTmQKNKw3OyZ51Ew6E8q6HHZQu/2N1dXDOSlskk9qF2RYJcdTo24x
M7tdPxpns7NXau7RBhXUA3gKxvPPF18F4xlhEsgqbMjryDRPhU/pajeVMgn3YRg8zCYFqNt/J7EX
b/vHy1qQ3nL++VVsNu0abB1x52bFsGjmRco6xnJsL3gpklK6/DaQu17vEGbUlRaKQBNn6d2iuE9P
5DSn55+XPlItwSwN45BctCrMLbaBTte7J7NGLvTz5efbmggTRhTiqBfCg0B+Ix1LOzWAbhAZGrDR
aoeq6+c/isfvYM6l1U2NY1fNxXmcJrhxBVVX1bb2vjfELoWxdrLY+Z1+fmU8flXHio1pNdOn50xm
k0k7ETqnnX5+9fNFj4jt8J1hhbIrDjtvcuZFX8POClT+N9M49y1dyR2qGobrP0/QE7zyfOhgvUK+
PwHCjGA/8mXksyFKK0b5xeNFk0Nh2VhiE0nzISfRUMUlrmjD//g+5vmxl2ZUauXlbyWD/K7JEnVV
Oo4vE6HU64AJ43KK2LV1MjLII0mjDdK27sk3OuSaeQI8gt0fm/QHqErrUmagCIkLshMWSFQCq2ix
IonkkDBACnXWXHtWi+SKD11wVaTmPFiAxclN43Kf+nW0sRKAc3Vk35poKlYFS4L3Tlhfbu32X5r9
F9RrG1Odi02ZgV0YvPIzGQdBAGA6hAFUefLTA1L3KNov5CN6oVs29ql0waoVeZQvc/YUO4Mw5hPx
y1iJ3CC+jlFG40u4+K8yvWi9OieG/SMKQUv2eB6JFj1nBVBJalDi1oqgXvuR8IByioCxDMm1UyaS
/TxhoVE0+3avpqd0bBTY47h5GTTzFLvFY90TVH8CJtvBeFVOyQJIRd0lLbXstfHavW0jUhJNBI+N
Te7GQtdTxYKo+aBwT3Io3HDK9HTXBg5K/TiKl2nWVJ9MRUPub+V3V5XPfhm/J84YvdCpzxCt9Ppl
iqpm09o6hJrHf/ON1j/qDcJB9q7ftYV81Rp77xjNjLkYG3vbqairtVmX1xhT3bUnc4C56YfvlP43
uuLryBj4NWjTzRhX/RI3hfas+/qyBdQaNlMwn1Mb2ZrVDn9SM5p2JIMl55qbWAgIq7xZTH4XfjdF
19axiCJ/dMWeK7/NPHllO9Xc4xQ55QNKygBh2JWWPaKHxdTj3EvmZxvF6CJP3XjFgn1CBpd+J5lO
TCGfBd/r/qRFPe77CFVE4CVgnmWy1crooLRpvnegpcPa99xjuZtEGR0lK1HqO3P6gLy3klmXv/VZ
++oUdGKIGt0XI+iqXdwlz9kcVytMDePN04nAzCIwSk3cHSe3v1r0/s/W6D2BHHO2OSA4WhDpr7Cb
q51WvyIC+BWUhTxESffcYyp78Z3+NHn6klEAavvmpRyEvoJIK3Y1VN97lt1m7zPVdOfWss0+FujR
FWRbKE7TXc/0cUWxC/JU0tsXxlkqbogrAsese0V85rqbqo9qNPikc9EgG7nOs72ekbev6rjODmXZ
T296wHc97wm8/3THfT3Z6XOWhDKHCTNk3CiCcXBPflrKm8GExGqR5De1qeFuqFBd5NCRfx5OQIW+
iPVyMU1o4sbejTeo7fxVZ2ZbLw/asM7teVmZKfuarMaynRUT6nCU90mi+3cjl3+LARwg8piG1Ygf
gdAsrz9PBs5fwmuePZciIgnR68a7LaY3C8jRS6pl/la2UBFJcrwJVml3ncHJemj6ZNPXlnHvhX4h
kvR5oKA+VoXUntyYbZwwuQyJwqqPVHUnTr9iNfTs76xeDsuijbR3EpIXdVoYXMQkmhpT2x/ZqddL
ZfrxzXectSE6teSFCQ6z603venCu0IVvmj4w1kOgol2Z0cQO7L8xA6fDJpbVTEtSOafZdM0ns00u
OpMp7EYDYgailyZsOjuBpWGhjf6XU9fTHQOQYqigiY1dEpeWwMV87bSZzUri3iVTENOxYIZL0Hy5
I7q7HXAYR3k1n0vd6zeQjXsmC9OmCXQN1uscsCCphtDtb6QRT/egGv6woKmfm642IOb4wy6W86lK
4/6lzaxXVwLr7flVaLaf2KPye62KL7Ie1OEhuyXI1b6kuvOUceu6m15vLi29fB0tdMrW4+GPFhM9
oJUvXDHbREnr5JXpbfI6dbeGttzUDpEGSNoCRA1GfFKp8ztq5+G57Ib6YtAvNIH4ZmfjbUWWfAQy
/ks7Bq28Zlikm+prKtTwYs9bs9U+Om8otpqpqQUJx/OL6PtDjibj51FHYwvXPPbWga8G7ta5eZdR
8pudifUMGXwt/DQ4B6l8dttY3mdtiDZGQX/bzVhUhsD03v18Rn3cSBwEeXFHpuQ8RRWaYR4sZd5H
MvEHDactCSBuUeaaDooAv6LrI9K8Iot3HbXWun5cPUnAEqmu/JModGLnSp6cN8n8pRm6t8o96GnQ
vJtylo/XvVmrFCohEksVzhb7rrqQVIIj52kBTG0XRPuJf+E+szA7ggLLlhAZ03ujkSYxTsXbCJGe
QWPlE+jI5yRrgxtMPmGV1VuvRW7oThW2itK82siHl6US9t7ytYgrZzLCn5+c9D97huxvQsbWhiA0
7QZPexmh5b7nugh20DYx+NQ4jlCkvpPJi0oF4C34N2dfsth43MVKvc/f017bz0S97yolfU7AJL9H
WYYCicept7qLhMYujlXSiqU3+ccRRd5FUjSj+af6GKPpex4cdSS2lqvU97QV0cE0sbju0yDPXl0l
rz7r/5dAK1Cp9hwXRdkdyf9kIA8Nb6Vx8rJa1wdUZvBgjXhyDlg4ED6Q7HEoGE9VjLDeLX/T2Ynz
pg0HluPZqbUGMjT15pAJA32uPSNXlr6/KnSQ9TaSN2LXmhvG1lXsWUBRG/equaTDD5mFT2/2d05R
NSvd5QYgglKsjbop7tJ8ODsSzkgOxeAAlBZEP2R9Mgd5VVw1720Gz8uxI4qgr1tjTxJmvIq0gtDR
KHM3NMVw56ds44gouo7kMS7LwevJn+0+Mt3O7n1qtRs/r4r1ACE9ceMU0nXdMz7nGkwst3v32LoL
0z4ELPFhqRXpiSU/C0BuPe8Np1g4C49RbXCNUEC+EZb61x4zEhWlXt6Csl/2TvCGFc56HigaD5bj
T8wxH819GqehIERyYRR1tjJSq9ibyD0Xtp9OR+S4+4y10oVzmvtyrzMP5abTMMlaOXbp7PmAzEvX
DPp3rnheTloPklBypvqP90Yzv2wXtdu4LoTZvLXma/lQo3CXDM0Upx9rRbxCjyMEhRdnQk51U2Sj
XOuRCNamPr2yUwqe8cxjMbRFeq6YTPjN+zSFsfKHY9u0+qLj0DwT6IgwFpsLpHFuBEBDyRduazI1
JZ6ToGw8Ms/sbFVkoP01g2F835Ix6VDUBGkmjtIzrUXCiRkN/jtmKZtKX//SWGGhb0TZ/QCJuOO5
axmeJZV4cprm01ARN3sb4coEzZmqoBYLQycmuweuHBpzIbdqcthSmW7LIlwFIUoEcze1bEtjtkQx
Nxb8S+KWZMYxc/rkwNrky2CMsnU0K1qlaIY3k4Xpz0ZAz9a9Y+GYs4WAaq0sGco6SGG8E/oqdP5k
e2o8q74kU3lkdjacur5Yqcb640Nffi8LInadiKEgZOwlVOOPpO3I8x34ULLQEQwu4UlZfmNt9dl9
q2pv2o0B4rcWRJ89KLj+XhQGlY1Dy8voirBoawIxliusQ1mPdzziD1mILLTrz5fEGz/cMtKOQOlH
lInoN6autELdskkLMCbtqkeVf2QI/5thk3bFy+eRaRB/mp6WgqWXKIViA9tcyizQcKpDoKVzCEtg
lSNzXBECY/1Prs5ruXFl27JfhAj4BF5J0Ht51Quidu068C5hMoGv70Gd7ugb9wUhaptSiSBymTHn
ZHko02Peiqs5MtfCgXlD5xEfu55/qbeXXU2ft0oHTkJARuw5T3banlvXKdn7VNlvji94PqDRbEaN
CHWHUbiUq7pv0981exTGf+676bTlrjDNXeY4rAXasfvltQvFqSkJsC1+2bVh0qJnNtLSwVo7Q/9V
TCY7W3c1e0888pUpHeoYFwQP6mHXTKW785nMP5yie0d1wBy4VVgkVtzJOfhUIk9d022B5HwoRqzG
kaUxDOUtGGD8spBk8nbweMYROFyLbJ8XF5/US1yS3DOKw+XAHvtlSIGowa5fci+8MyUG7qymN5tW
5P5zmaqElR25W+tMssDL6jy8QROF2yl2ITPIJd15teGvQ7ydXyBlixfPhWcq8lrxNoKQL4FTbRnN
B3eEnUP+zl83Zql6DiTsaGtYe9LV/tUe0cYGRUwsRp7lfmav+nHhwdMV+uEGeLEP0CaHjvjojRQR
6FS/7pVzwi/efgAN0x/5jAr8lbcM9nsd+wFELZIDj7G0wsD4XGfWENmLmKJGwqI7rAODLg5WvTXE
awZiG5nU6YFVINn2xrUb8+beZt3H4NegxZ7HB/L5fo4N6sdZ6I+gAUtpJakRmAWTYD2XA17a6mRW
HTbeEkqzs0rgn3rS93Bqv7eDqqeHzdIFKDZhrKoN4pp9DqQ8XJMcaq7TtJLRMHfG6f9fWpfIxdhS
kLrAR8Yc3/hbhJuKD8UeW3ARWR6rhWWSO1eo+Y08Fc2KckfcTbg1HYWA7plJocx/S+lj1TxtRiy/
TnovrWR4CU2YiwmOd2nwXae/g5OYsrQ7diOWRD8XSOr2WCQSWrzCYmdu+vEwtPtWXOI6e51ar4rK
TF6R6K684U3Qhh7tcSBEpQKCPc5V3R5N5XgIc9nAMKRjgx/pWEE4Gop8scUn4Td7Npilc5Ke3rCt
/+i0CDdWBjaLViqW9bjOJxqg/rnO64LvrGDVyZZ8NtovR/NUXSrM1HLRugdwdTTAKFR3Zsgzc86z
18Ac/gpMwXlcWfi/CPeW4dLO9IwNmCowecvQRiN9sgtON5ZCapl2I/6K/y5DXbLfnq1XfFC9nYn+
l1kXaoPOgb2wnDfKAiD4xPxT9R5IVN+qhw6sv74uiBhK9LszZfSuQTy/eOX4GDF0jjv7ktZz/7Hk
+GUkonHeDIbqW8dQ87ENeDaVfG6GAVCiFvavuszTt7L2T2PcNF843/SbMfdDEvuS7AoCgiCxrSf6
X/Np/T+snXggaA/62R48tABB/hnkLACZrMlLGWPTtwg426Sy5VdZFkh9IQKHLBsec1N/V0xb340R
Bwv8cXeua+VnaaeEVbu1WiUeYSm8Ca7hvRdWYNzm9O/UDZd4lOMf+qPfhFboN38yg61UCUBSow5F
3cmoAKZeSRSiK3aEBsuzurzOw3JVz7bAhWFckRYJA89QEq2f6UcMIDpGLJbYsh0SqyyUah92TALM
zIYUeNIGYfqiKIvH3AzXusuOxHLVO57wwaq0DAvpl/psW9y9TdM5lxORBgaRki9eJ4+VmRxIh+Jz
TybKcQr8P8BtSJKpCIOlDl5z5RAuXFpZJPpwy7oncp8DHdXk8f6pyE2Xybk2Rc8iUUqWz57/Z+5L
+45nvLEOdYZ8qIMfHii1UhX8hVuh9GDQ8F6gpy3rE0Cav2lrt1/7cd/gVu/Ts3TOJW/Mk5rJfAkg
YzcluQCXnsXOIOn5rZphpOe/DGhw2A06UOnVP1PesnbtAwErNjsn4u7P4LD/JqmYXsrA/EgyW+yH
QZhRikk4kB0zztgYX3WlPkV8aGOhtzTvaB3NgFls4u1difw/qDIkL+FAOELIhqtAE8CMoMjFwWy9
+0ye3b2Ii/cEd4Joih0bhR2uCjRlXtEtN+Vx2lhqimyiEWY0IjfK1r+UofmWfsGI6m446ar2oypG
oFBkcJU0Y945dQQuEHW7wckMZ/e5voXkaIhy0Qe39HcWzirX2vbeGumXnKn1d6n9bZq28t4hYF/n
ns4jHAoO8FrVdZhQgpGBQLwUiR9GSDY8GIa/6UTx4oI6nHy/PCytCDYwjsbKLIwPDlNxzaR6tYvm
IgOQoHEeSBbrmf9aw8Xuy0/3mRmecePFuZ3ss9j94un90eAota1l00bWYKl1kowfnMHxYcmgOPvW
ube5iqho6tPIpJyZHNhaRUCw22sJlRm+MqZlhcrtwIn9R+hJA24OMJTxVF3i9t9asMeQDUhdlxbD
E3qAzYCg35lg6Av4AHPiJ9DKWMdg7194zp3vMGkHkyzje9Y1PZgoqM4Iwhi3MPDIYAFu2Yomv3VH
8NfEXKpysUTo7O41y32WcQWnqpUZx3ChIHHqfO85Z4Pqft9Lq0WR5TMRJFtBDLsJLct2LAOXCTWe
HS4w2362l78+ZUai8qsLxF064i+By8m2ytjXF1BMDDvzZKNZN2NMxzNejEm7tirt7nQYz1ejt+MV
atWj29vTVsTpZ+g3r/C68/mQWx71Jw+SyKlHm+DXQ6icdM93KHC8er6n5c2Dzzq3dvBuFhYw3ZzR
upVVeGudfwYRD7e+XcZIjk677rrl6rVl+tphAHMLmmbj6KXeIoDt1hlP5FsZm+r285Xb4odgFMUt
lG67ymMxX3gP2an2+UjhGYbHJSzjo05K3E/9gJydq510gp2zgQRT9/spqBBoQDgA2Bjjfy+Bj4Yh
AI0m9gaAIK7yZueN3b1w468siEpp/+lp+bYdGPnJ7mVyttXScPx0WUSCXHuS8MZT3C3svNV/kMUF
NztH2Jd1qtwyZ8lOoed9JPwudwXo+H5O3vhPT+hl1iT6Jgc05w7HovLEB79SbxMswWoh5WPl12W1
llP9yLI5RqGMGjlkFnOMy+y1qmhGHWSulUyOhIY1MPd03jlcw8YQkz6OT8AnDf7fV0wS5l1leJeY
UParnnD3rZt6I4E9zz/fKpEdZUM7H5tejltmbQ92xwfEOBlKZucAcWZd22FkG9WFGQ9RfFvq58sg
pWAiUaFF4Ozy8nn5+QcpK/GVQ27FVhhrdF3IoTt8MhhIeztZ5Cb1r006Q2rmHzHU1ymfP5gTgLyk
KdS1IZFyNFYk0xBPgd7iH3dHmEtkbGJ6A+ojL0oQNFfhS363/Pom3WVAyu1voMu4C/OnPzRDOPb2
zYBvGS9tHynVgAx+tUxY4mkjt9/iJm+hf/+CLxXrohD2h8PnE9zV6zaSk+w+tP6xbPXrsHhowdO/
fRm/jKPzT6/d5NOxa1hymApMX7YD4Oy27EgdG4WLE4AmJ8+wmPl7CQ4bVKddV9NRDKe+Nz48xFBz
bdVvC/aAEfqS+T7VqHcHL+suMm7dfWZSXYLpHnIPxbJD0pU1uf5ZaXePvkWslD+0mE7/R1H5rHs9
v9OO+fy9rX9YH2aHwVd71IQUEX3+nZi5pH1OxZoP5bDCRuivEoTOTbL+j9U0FDnLYKxIm8Q5AdCE
LAy32qeluZlGL2I/FO/GOASXSkc0NuI767JrOjB9TF0gLUK1/+k/yEJvN4Aa5aGpU2bcbWLtoNBw
MWiG9NpXxPs5nrkl2w1NwbJQ8ebD0XxSDcrCVcL9sPkL37Qo/pAIOQpjBqax2Geh/bz5edzcBsSl
aJM/kzrf6Zx4EoQB72PuOrefiyUyGsLmzjF8QGU2R/Dm9g1sDmkULc5K7aTXmfesBgjSjU+ac1hV
19BgxGea060MnebcudOuz3u9kyFkR5/M6to0LZsXA8eTHzwer5NDIrpXR6T2jTmY9d9Lymx8a6PG
pYjqotbwaAIJSrDZy3VqHfpEZ+X2dz40w8pTOBOw1ai3qGqY7xi+eapD8QJ5KRidZ3y4Tvj0hLgX
hOxIAnsvUkir2L4OFD5RL/H94/mQ9yK45XZR338uXRrHvFEItFzHwjlVsmElZ2bX+75ArSPNW1MW
n0k3GoefVz+XVtvmbXlK5hlbnzPIxNnSJl6U4Y3HeYHBTZ9udY8aveFPRM1To7Wz9C1Xnb4FU+5f
mhoTwmCpwDDpjuLRlHdCn+TdMFvjqoiWQVaEK0jjOlsyl5jJ9L23Ftq8eKrClM6tSQzUVzwUyKIa
Qo9wJCYVcgwIIvLmp9NQszWN2bs7HXWIFwREMdaxd4egwYtEC3tT+6m8Wgr0xbKBnGFB20l8zY09
nMAt/+fl53tFnZFdlVn20R5yqoa5fBSBlb6URXyPTapx1N4PtryAiQ12yQNeKBGbkICG1K+/RinA
UkU9XLWo1DuOYmvXrJuveokqpyyOIsjxyYIy/GqDBMI4t+KjRaX5FfSAfmNuvGfm2MH7t/8koc1t
+MSTE4cQHy9szB0FBy+F/nRxsr9T1+agnT/bt5Mwpf/iY/lxQLFiRSG+oV9GUHfrkcfB6efl4v3y
qI6P3RASc4av+RX3tR58fE6+iEustkW7dDsm+smXNFEzpY53g9uES7cm/8idscn6NP4cdelgNzJ5
64XdymeHpj1CRyEOHtmr99nJzolXF8dgnI5ikgFMB8TJBR4ZoQ5z6Ch5BnwSp8s+bu4le+MaQTUO
PwX7HxZTzy9LQsgwYFmwCSvSVzlZ1m5GfLBHgS7eDbu+ET9dbi37GXfUKaha253u3qLtE7SmAJ9K
JzR7XDpmBmtEdesAm+QT92d3b2N6a4tf7D9Vnl6MMJk+oEHnnRqsCkK4LDcakhL5mRqPiQ8EWQmN
/0zjJtuglvY10PanDirznW3ZcFoG96Cz9H2qhuWd/O/5pvBA+Hll9lN6CKB7oQapOtp6Tg+WW1Is
TzHbdA9sQbnjevEZUsghNKgFewAvtNUXMVlyn4/hcBpsgkpNNCibpDXDhWWm6x4JgHePMQfkqsIN
7BCU+vbTBfdi/BKy4UdDhE6B7K+nsM+P2F3Ud6cXuMik2Ua0cfeBaB32rzXx4RHMD52s+p02aKgW
N35j9WlE2WQBDCfTWnqliujDBE9pMWxrm2PRYWMYhP5bGaT4qrneaysx8xka4rQItllxgOi16TYm
Qx7/Yng+k5fpo5h3tSHzMyUFg4u5/dPEpXdm0W6spqV/xSCBUWLL4VG+sZaEkF5SRpTWna4Uc4rs
Gamgq38xxFC8QTwa+zzBStgsIsfO0ZailO75368Zi6s9TUKA8gpvqdj030mPCpHBy3IzF8O/IYNw
htt1cEpt54F++roUSXEWkMcRHulspiTC9idE4fsBVn/aWfZxYGJlskaAZz4wtCQs1ZKvYYyCR7NQ
30yTLM/aVv06y9xuW5fKYkNerYCvgj1tcLsOUvb8AAzYZz8vgO3yYI4VSFD71Ao2EKVTty18Hkra
dT9YtE8bxcbTMK1/RMCjDLnxiPp9OFp5+U/X2NZR2oZzr1X9mYTOAa8V9zwECx9YuKZCuOa+NRIE
iRvRhd2l8YlKCeqny19YLPQ80Bkohq8DOtBV6Lc2i7wn3PeEdcbWx4yqxDGvEN7ai5kcSP1c+Zfq
FyFn1XqKK+AWPa6CxsM7Ah6JNdtmLL38d+zUEcC0g0Bw+G48YznarfhIPoVpHAIOv6gJke0NBomu
Tc52YYa79IfkCGfFg32KelBeEEONJR+//8Qe/q3tZLlPXyKJCmUo/tPpjzsrtW34fG4qq46wnphW
VV8fhWQgVzlpv068gnUeHjAYar+YIeGJHh3+KmWXpVLnTeMpF6mY/m6Ie+SuphIR+wkOZkwmI+HO
xZF+YROipMw8PLdkR51vFYRTovlj2II0GuT0a4A03nfG4m3KeE42WVnQt6Fi34SFpMcNc7qndEJB
h1GFeDpfFGOfvdjC3DyNUtn84ztazBhG1kN1z1iGIDtT2ET64irM1Nl0XfmfYiMgqVeE6/ToWVEE
2mUWVS72H+BgmJNa7Or4YKb6ktQB8voSBUI20LD2qNFzFBHrpGK/0FH+lRODKi8FFtHNF3Vb8Kqz
au1bD+Q4yUuT2KRIWylrIflnyJLuADfECikngG9xU2avfnJCxKFGK9sW00tXjeOWZRCDf46gKTGw
hTcZFC0rRvRk2TB7Pgep9egxyiGOxR8PfTvcvSlgMpXP/qrU/bNfEG+iqN9hheyTGWOSRMrqw3fe
ZsHuUhKxti26rtl0Dgsd9nbGNbbLyBisyGA0JtoWRGMIzkOX1ludxEzQZ3Od83xed+xfSd6JmYVJ
8wDWdDaKerj5DrJjjkS7c+yH5Szy6nnVC9uxDTkfZpvcu7QrjxldVrRAOADzQ7A7dfddstbfBq30
TsRHYuphAQE4pGjHuKnr5B05hdpbWfwf/DPMA9Nk7BCsoDr4KfKHaqpXY40vSycBToxui6KCfGaZ
U1RNcbbLYGi2Vtr/0xrzV9mMy14meWRnRcIGejSxMXRORetgv1fTfC+hbCKhuVE93nXmprhfJq++
chqMMW2QRqxUVy0Jqh9qmlbsYTDGNPL4XnUlcQsd3kEZlpynCvZ51gQ9ANRtTRsXM4n51lhPQDfo
+8YsT7cCkdTKt1pzX/bGBjUZBXGVXR0OiaO9ZN9yDM1tqfrdrObvrBmqG6KDqM8BKkzmXG3+28IJ
58z6X67THtow9pMpmrNeHi3/LxYE7pm7NrLhgnYdkmaWJDBNvcfeUJrO1uKxB3vt47mX4ZkZV+I9
Wfr+KGvvA1qSFoX2t8oHYGaM6JjqwUgi3eyMb/Q1sKJT/Ye0T46adHnxBu815W/sV+0bj3fy42ZE
hfZtSLPmRfIkmNs7CmuxrrgLttp56jZ1Ua0ak9u3GdW1k2hIsiLFi28qXsfkM2tti+Vgieeh+5+2
s8NjNQpwQmhCq0xI4VI51fHCkMbvqx1Ui4NWz5TkHY/gneyodhCpXa1PAUmd0dBc/CCjnbUyzN/s
/qMvTJ6MHfh12k1bItR39CIId+pxXHvCsLZTEg6b3iaXxvB+l8zKuzmaZ2hRbfakF3K623EVn6ZE
Xb0Ay0XJWVjL9EoeZMdwT64S+zkAFB7iW/Oc9sFnOYuYyQ/uEEh/Mj9kzo5lKN6IRNfmacDPPy4s
RbtfcjIiw2nryE/6x5CRblgFLjP12aXst5yVLMJqH2vaptqzDvlTJBuXi9wg/AJxX65hioaV+yrH
kZGRDb9YE0PCTTumUV4jx3bsEaOfcpjfcZnxAoU0xSGnnGMgBqv1Q33rhgyzB/ZUu1zjENEP+9Dy
YflQe/zCie/YGCZiYpJUVsgE4PdszgOHE5afUXwMgm1Ez3vdBWg87JQtNyUrllnlSTj1VcIywjHk
azfsAmj/ch/XGm1h9W8eirNc6mM4j/sWVjLKkxwasn8xlinbdn7+PWfVS190R1+5BtsI6pykppSs
uG8uXmj+8ZmnFkF4c/zunCYlW5hyV3fqDEnLLrcp8Zkpz3Pw4SQTGhov/7tsn9dkGifmQ1a6Nkiz
3+JNivedgVAXQcDGCY+4zeiNW1n5CmXYDbfi0TDPSVdd01gdlOAXHOCcyx+W//Jj+zlRky/L4kDH
2AgSLKs+M5BUzcyQ3zCLjWmyQl6Ybyaa3DOzYblvYl5kmWPk5U58wO8SEwBc/cyOIJzFLp4idxVj
KeAdCHxFf4dPC06l3Oy9gwp+hAamEwQgBh1mHLL1SqSqKihRGlQl1SsKpUoxOvZ42w0E2aFLdnOF
ZSxeyumHGUzVM+tjaznsfHUDkDbbjc+wlGwashiMR/+86BGLPHCk7Bhm1q8K4Aswmxgi+N1uW/Gk
vYWom/eLVTjYbUy6xsSmtM9Gg7GO6p/2Ekx2VoGjPSzR2iXix6p2wpPtmwwDfVgqnOjG2m3fLEIo
7xYrLQcXxGToaD1Ny7v/fOWG/rbx2vny80rVs7jlHo9xHGBQ+14BZv1zmmvuxLwE1PG1Z21zRKR3
Vwl+w5xTyGuze5V9aNmkRxXofGcpmW1TM/1LVLqxs1Kkw30/yLM9Nt+F7eGfMYODlmnoIncZ0YYJ
RZ68a7uPxGGiuUzmrtc6BQdk4BnkcctKMNsbz5Va8gz8mSAQ3trAPpKRNvMbt8g3iaW/9/rq7Jfe
NjGwVAgT591Uenhl/7ZeqBUqwbRieloWNUGaRzgAs6fWaG+H1LZv+KXoVdwX1R4LEaq2nMW8mLxg
EyvaIdlqYxUHLpH3T99naEPwwuDWFpV3ZzXmrlUXp1jyVeVG0nJD5OI0YPF4NH110jQ5J9g1LGY1
xrhAsetBl+VtHqwP5eV6GwTyBbM25PTiUQV1uKNNZ+1LdX6bu5a59kCa+Ryn6rFYDA8KOwl3nlzm
b52fMl9GTT7nX2Qcfw2dOOe+VGfJGI8oNfDg5q22ujLK84wSiOdH1MwgRawwiyPj3mjC+OwTnlGe
R12z4XqaZ+j6ItTZjQt6HcLtpxECTTEyfYq941v/vKiecG03g0/rkNBvjZ7HlXhKHLohqK/WMP41
gzjBvdQ3boadPrJymTZ5aPVopUwKRcJeP/xndUhqDABHvtRqp9sxJARl6E/wFP2J8IH+NDtPBX5R
bMckZilgNK9+jtjSFvmlbmWyZRT5IGo8PGds/yTL9wikYdmPxH5v+6Z5n0Hh12XHjZPPVrd3cqb6
RHbgJlyzE+/jE0O0PDiCqTo7r3cT3r1pOeW48B6TgNu2LtSvjtDmD6OP7ROMyuJ14y4Op+948D/9
qg/fjMn9UnaMARzqOVnHYOVjwmLMItM+juNPmJTkVqTj+GZX9rb0pYNFbJDuaMWSW/C80IYFUeNU
RYSjJmHMijOIrGT1lsTL3ufmuf+84qNMzqvnc7akzdZzkvHqPC8/X/1cVJtfCz8rj62EOxvMBuJI
YGdWs/uFEbPHM5oFgxjyYsHecQxvVj8vB6cBSnJDs3pDN5VsYnhv9BF0AaEVfzaohG2PY0m3hsm2
2bEuzrwPddx9W3NycEiseRdPDtiq9cqeMBTsF2+XF8NjAlNwDFd+EltF4056u0DMiVTdLt4qBWqV
+mV7gMoq3mRZ3uEAGtYczX2ohTrEzZReU0NDqxn9V+mJ+ZgyLTvOzMiOsrCDTepizGm2il9CWI7X
NqzntQ0hBuoo+kMSBL9DnOHe+IPKKCwFAjL6nms1dK9tWWP6oCk8el+al8kd4ps51HDE27lagDC9
pKXD0fFVBflwTksc4jEEx8fQRMeGRj4C2iYjUeT+muUJ5gdzfkJ65+NJ0j4Og22r3y1W6EMydqd6
DKlA8Aron7CG7y7m3U+GG0RwvDM7kGfXUukt7Kp070keZikd96sJV9FgqjKrM5me5kn6sCjGXARM
vtA8A+Gg1g3wzTyVBuLpn68EhMFBIz7uiwRx//MCT6VPSKXLqM4wk1gae83iPn5YFQWJCvETtPL+
UXu9fBRj/iuXfEJq4SaXcF0xlzh1mUQaw/aUhhCnPY79jHp8XE5TigNkE9vYKY0jOfTBgtp+MQ5d
Raa67ykft0+7fAJAZ2n2/QW56ffADO0kn5efr34u9J/Tc//Er5C++p2DtLk0IY+dsNnUiQIhYGrZ
U9e282pabcYK4NcPcgSyrZmoU4CVryrVHwrg7qy8Qr/aA6YdPOkin5Zqi0pp+BgwSEkwpVtraJ9D
X7vyUeXYsug8zPdVPU3p+ud1YnCTF33KrLUYSvRacrwOHoTW8xUmuR9lN7fNuvys+35BHpSSpjAw
RjQHTovy+b2ffzCFyRzV1hJEoXaKrUFse9RjT42Dp/GYhkadtTVdfWnJh+u4lFKWh7e1Hz7qrvlj
muV4N63xnrTaOfIQco5e443b0V5QoNvSebF8Ee+6hBkcbzXeTK5FrziBALJl8GrzkofMEAweObju
OqDjClswT+ryYnB6YLiX/GEYUFxSOqOV0cOwBWKXZV5yC81bNk36hN9B+YCSRbMP94zvjROcsfu3
d2mJZXGQddbBAu5cCaXNozeSAh8IoV6etxvWcs5dzLefIwUQ3bnEld7blnNziiX8mGi39xQ6eKGk
gPTAsNdWdM2t6nDsqAL/+N9Xqg+vTo+9hjKPIgt1RenghJGG/cJEO5QPMxcVhdG6K3yUDqH7wo4G
AfrErwgReHIp0OVf2mWRW2oiziySXm4/FwsDj+jnMjL9XntwtEQkmuFFyQKPdkT2fOqf1Rdx9Hvd
U1t65izxqsv6axH3/VXAjeUzszDp9xriffgZMmSHn5/VrDzzGARWtvFmzBaZiy1M6VyQwFRdR3yk
WdbU9L9YyusLIZDWSuSvoYkE0Gay2K/amhVky4mHfelMcx1sfS2rA7Ny71SNRn8o8IXokFFwOg43
2k3WrkG7SFAKgubrFmKnwb+70eNrqKcMw/4nvc+ZxqiyIzOh04zmAuZ9i2zbfz2FxVTWlMdyUOCk
k3pPpnnNqsy8mIbvIh3q7C33O861ePKxeCQA8YzBa6TZVX95BCfsxYDUxxmbC+439rF+Xn6+aue9
MQr9CO1av3Qxkmgmt/f4eZdMWAKsnNkItznd7xa2809jjFZUxLLbcOfq1WKifrNKnOaykvT5HtcX
3Ga/CLvr3iwkZe9L/Kn6TUFA27EyWqDwGnuOSRRYtblyP2O3wCoWgeWAOmOV4im7zmldI5wAxYV3
XVxs26fBNuY/oi9BlI08/4WYuG089RpAbGeZmb/4qKjmrnt0QF/7uE1B5/x4jobFwrJh6NAv1KDf
Po6nzBjUtKmqQr3wKSoAvjvMJefiacKQJwcjUerFxB96w8DhCiJkXOIgvwYlC3kUcvU7KlI2XI3f
7oRuf7duMANjmcsjpXPOY9PBJ0zvCom+y0uxm4BExDp2/sYb5VJmnU6Ie/3t6+aGasn61JXA3DNl
llYLpiJDp16zpbaBkI1+NxVBuk1qKT4xmnRzeVdJM/9qGbbhaJ1uFn+2r3amsrsejatX7A2jUt+m
wOMpTWr1Pdm4r+ruoycQ+NVMEb7lrIBy3VRvP6WDoD+y2jZAA8tEUFMZnZ+Lq31SykvojzcGiSgP
tUyuc2wk1yUeFDESctl1Mw3F1Nstvdsk9s1kmDgS+8N+MDDS0jBMe9hF7Oyxjd/gB9qBde8aKsFt
OtBVgmT9tnhMENhAREscFM1a4rsBg+q90iqc24qI7zS9MzEJ4URd+TTZL28BGS5bPC9xbOHdzeHm
lJnhITMH13wJ2AQpeQQpB4uarB1VT/tC5fj0uxpeBnOqfoPJhAiSBmyGiL9JGeXfAjPFHtpR9Ul+
pK5vfS5B8z6MA87EXhqzSFD6tcsVMyXtP9MUGsFM3YeHEmF+dMpYPPeEjJzzBdtgaV0ZiFs0fBmM
cLiT2vd+O5IWxQd/PGXsdja2k4FdKzlECZu5I92wzXiuD9Ywzv+3EId2QQJgqxcM45mAQPvuaQYo
MArnEQ6z+S0bxj2T5ZuYAJtLxDYzR1Mkm8vIzwfnVAb3VIc3QN9mR5yFh7cs2sxKLNCmjfERVKG7
BxmOEpt5crc4w7WU499xcBnQ5PGKA+y/74RjihOqqr8qZNA0YpR7DDIhH545ycf/+h4fV3VxJ+OB
tF+ZGAAwheouaPSmlxnp40q6xcN0pvycFR7GKTlJJgXTGLb+TLn73EuxXeuDi+F+WXPqH5kuHhio
d5QdlGPjhFuU52rmxIXdbK14QQGW8hDNy/pTMz4mQVDdUhy+8irDuXZuBdxXjGdb3Pr4TKcvbt+K
zwUbnX3g8dmFyM2gENv6aKMGXbWhG14NrfTvoq6vvSrye4NHDOpma8KpJriQAkA97g3+Soqg3eLB
gLPms4hzR/0JoCROHubD+zIpDE4o9htDRsXo6ep5zH0XQ+/irhZWL7Fhfw2zTnfPjRhnJPFN+EEu
O7Ze6tQRA3yqSlRFotDB7qcLy7sc+xMtflvKrvdlsNDGZyJiWYIRXsFfZ2ERXpUyuRPGke9dpW22
vkT8jGzDXQHoge8SkrzK2aUW8HliWfqsQtyGgZo4shQAryk2+DhvdIhVdu2b+wZDGmb/fI4lhBcH
uecfx2xhbbxttVgerotnbuLAqNAvk0yBlQVFdn6snrlrQ/Kvga92xOoRw7QZuV7GHJIhFjOl7Fde
o5CM/ci09/4o9pxnp7jE20W2+J/GTPEi/u2NM3kYv5ZSbrx8xoXr/xB1Hs2N69wW/UWoYg5T5WQ5
W5YnrG73NXMECZD89W/R3+BNXJZu920FEjg4Z++1fXMvwil9yjrtvVpR85EZyVnQRkMd8xC2dfmI
2gDBAFxu0yQLCVl5TMd4AElRhRlJKUP3AAJKrWx6qUgnmTE7/eKx9UNgJ7Qro/HfmMDma9vcfKn9
OaGuqzimMGsPJ2szS3+bBtwCGKYD2uHN0VA2vc8iaLeD32Q7hu0t79z7L0+scT8FbveMahinYOn1
X2HenBXmxB82s51FLKkhqkere2H1tDmtNchq0106Bd7WZkr/adrGHvxA891FsDTzOiNzZ7a8nYA8
GKNfXifiB0t7fzBGwM3IGRAQd/6DgYL4QrhqdM4LhsTZE5Xkzqd6sS9BHDrw+rkdUzmkfzwj9VZT
XwLgmkKJlIl3YdDdoO7JxYGT/Jod4ZymzN0mRgAVoUQJ2YFfiDoizj8YosVPsuAno1Z7q5ajx7Fg
TcNAVlQEd1gz8Euq5haCIxft/FqYhn/ychKi0j4QKybU8gjPDDBy3TJhLrxxb3BpboZFAoWYvz3h
W8N37a6KtNmZyyymA8FWLLkblg1mzBHvcc8ML09Sh5osjYn0oS9q2R5ZAMqL/qnaNQ6i8cIrB+pm
7SGD2o5db1xcMggZ+fabuhwbvOetBGGUxefaHf9jzPcZ5AkHSZmU756A9eZNm3Q0oNBLm83RLeFm
xRAVBjlcgBjiIx5ygr7UZVz2Rpwu+Qke7nM21y8txfKZk0BG5Yl0RlTzf2Vp1C85nd0mUotmr93S
eP7DtJWkJyYm/pS9d0W0k2UcgiDUxjouoKWJ1KyXBSxbj9CMDeX/LWLP27RlcQkKNA1zO+W7pulC
7jW25qQbjoXHnk/Lcj2W4V4rA803cRZRG70S0alpnlrRmg8BybO+iqYTOzfCYt0l3q5taiI1TO9r
mLG6d3FtnaLJ83aeEANC5k0Uh5chBV2qo5TxspK4lBiLT/AcYYs9IRN8qhQDlW6q1a6yiWFITebr
sqV2y3VbreHofWY5Mx46V28itkE6dlJvrVC/+grBXBL8bXJMfCg4VsIHcUwY1AmzzyMG23TTj4P6
IB+PlCWl9Vnxp4ij0lAY+N5WhpF5X3mv/nVOy7Xl0blC0/23AvCbo2jcxS0INxyopNcRTyUEbEY/
aQ4URjgbJXkHGIzXSa4vZoJstWmTnp1X7wqZkrKnkEQrKo4a1aYeCrC1yAmNgbt4Wn50P5WXvmYS
VLxVNPLS6we7EVjNJnOJD5LqC/TnfjY+uxZQlh5gaLVBSgZnrpp35UfoI50diiz9gWrmybIctgaQ
KtfEiMxjMZTRvkihU8WUrmtrehms1jp51m8DHJE2Ym1mHXN6TDvIgiaTpSXLz9zRsxrR6U0PwUyo
E26wVxPkCSoDg7SF4sN2kvhMJ25az6lwbhxe6YXjBDsQeebcOj95VTAQMeJ0PbYLI9j2rrsXqefe
sjHRrPYBySRz5d0YZvckBjVXUHzd1stJKxg46dmYN3aT4nyWjsW3pnv1Uva6x1XCJzvZ5ouhyKCq
mrl4mB3m7139b4IB8QgIgIEt5lY9J+kmCh/QKaT7uFlEgTpkEtPDDhjoOq69gOYb9cFG44oGSAqc
k6i0I9LDV0UK2QYT/itEymwLrgShK0R/bwigRfiwgkeHruCkEY/22WsRBAwr5mBpgxBegKwwpw9X
ucexrjMEGyyfyAKpsrptpdCJGlNIUt74JtlerkoK+5L6ep/mLFs4y44tUjhSNqyPdPBbbBwpyIZR
hafY2AWIMA/ab3ExIXRD24K7NSvH2zh9EQj8V9caA08crIZS+rwYciEMpv8wm5t/jo9IJnAKE6m4
kz0zwXEvxmCsVKlRGvOhXLxFc2kX9bnps/CCzp8VAYzmzpzy9jrOhC30XTqsSLd+rODqszL/yXz2
uQSKaleTZFoimIB6FjQPyfwQp84IDDCZLoE32FuNkmQF96M/J3MKHoJ8i7yfrBNG1gD9Yk07OI/b
lVmqLcVPdXKszrtAXoS6ZnkmWjkxU2e1B+Y50753OdFytjn//mCX5LeW9gTaq3MBoAsM9DLH/GcW
VXjNMY9uzQE3X2m09sUsOCMOVhls7d4ViFFLcTaG58wwhlNat9UZ+1l0Ip8+dpPtWEzkbpl2tuer
+mYrDs6TmoIzmqLO8vRREGMVO+6pL5R7ssoQ3vZQLdECvDY7RpXjkV62SeiMg1B39z0epqNnqo+S
8vO59EP9xEoE96F7tpxKHGWQ/GSepR79mXU7b8edqvFll+bG00V3SSeCN39/VJw1aFl2zarTMj0D
dPpK0OLtEjvLaJb534nhMO7Sg0/QSNcQY7gcm1M9oXtockkHPXE3SAARoNMDZwqI6MOu/vU+0RvD
FP8biVAskA3TfcxuPoPHJAj3A+wvFP8F/CIB5kUBL8XysmYCZDG/BTQXSWj9DQj6po68J638IzAa
2PNOjnV5znCaoVvaN4ZJWg/qt8Lrh1NLDb6ybkljoj0fxBmW43yJbR9xNafntZ//h38Er8I0HZ1S
xmDefdJEXGdhotdbSgKi+0D/x0mDViG0CKsL4BnI9tlUCmFLzoFmHhCk5qz8DEDsN+K09Kpz02Dd
imdStWmaqfohxLJLp2ywTmGZlduJGCegACSlmjo7+VWTnE2OitcsWI+Oi5vKxdCVVqn14JO9OCft
I0OBHWwADlKOS0djuWWkk6XX9nsY+OqIS7impDnup7E293WTPeT+jDOxVDPiBxCjqOMN08+3GvZI
WCNx5lZxtn6GaIhjZUITeUSpu8TOOEqvekJ/9rTj4Sim/fSIRzHZAmwjqs0kLWtKoivnhenYm/LZ
a1i1EwmKxnOliz96+DOZoJtU3nz3ngR6umChTNnl19/fjDb7mtpZHdLu4BWRQ3wAVEqcCJcqmOxd
PmP+zgxcVwVrms/HirbPJKrRl3JDpMjKoU90Ahl5wI3hXDykwU77mM8CDkcW3Hif0Jkz/8RF86GN
GK3HiFgWVLVxUpYBUWtXjPWvmQHCcFQccykRi4QTpQrO7K6K0wOmt0sOXApBBW1xQoZYeeT0aUH7
d6HTHeOB6K1WQdCZepoJ2ir3fdH+hMxRV+PUf3t5B3aVQ4jipLBC8YFA1A0eq1i9xmLJhEKzuQ/M
ao/D+iV3GTAvUrgsGI6AR9ztiHLQbVMAeNz1mNrpBNd8Oyt29+fBiqpr1G4cpzZ3QTtdQJ5FK+TK
0ETb3+7Qdgj+iQoU65QQhJcVYl/V2JFTIY1Dss10dwQMRfqmGUUYoLrVNUReeexTBgqt9Q2ii4RM
A9if6SB518zQwbyMhyhHoe4mcm83Sy8bvhv5GvQ+xGg99VPM0UbaYMLr4JmQiw1YCKTuRomvrwjR
gaTzm1uZ6dFu5D0Bkmy7yb8hk+A0I4/0CTRumzjyMNSuZRI/KuTptJ05S3vNM4IJagSYy0wWRdWK
vx1e/lLOB7PpzOeYci22jgA4dmZfuICeSCG1zHwCzSkbuowvcZ55f0xBSxaOVM58YLUctZnVdk+1
NsZVO9LCmJCXr7rzMIzqcTI4uAvhkqPDzH4mFfMxp7tO4CnOygDfkrLZFSx0w8paAikN5snuwI00
xI+Rn7krSVAU7KhbZ0XOrvLvPdXe3J8snSD5pFv9ZPhGcc7TgPBap1+FnQUVW8gLbA0mtJilUfox
r6UxAKt2frX0zSyS/hF09FZz5Z6CovwvcT37VHdLIeLYZ2VwlynGsNuIId4mdTxq7mnaFWmZvYoU
T52R3dO+io6sqQrkOQG+YM+mL5q2u9afkEYzWSJbGaZu5zA096Ia1+BBRXn2isKEqagv3rArwMKB
g7xrnfZbhq3e5Qxx2Ak5Ng4azONc7Acr7GBlGAzrmuTJFPJp6pAK9qmkNaOQzSBLjjehwB1rmT59
qt82cpUtgqUl+7Nb9rm598AB2wlPNmOA/KJ6xAvENNYr4o3ZmMs0bhF3OnTUB6ffOp2Ehxm3dHvz
YKSN5xA2EdvhNVpWWVXFNVSC5G+kRuwJcFO9iTICMb1AZkRuJ4yIbFt0vjr6YfwcCaRZmV2+1QgV
cPH393YgisSxemzQy49AMO7OIA0h0XTXVYA4xiWHbDXGHbqQmnIvqKpnqL3WiywNuj7GJ+O9YtuH
8dEsC/NSh1GzqSxiHE2G/Bsv9Bh7gcV7rgocirqou80kxbF2kuYNP9mOrzi48NmtO809rpfDzhTc
cDMCPC9C88nyQbznXUkjYEIbO5mROpmODM92E77m0Ck9dqxjKtg7yN0djpkL7IQmyZWUWoz2AKV8
y2rgajvdmy7Vc5oXGPl1oDijll+BaQ04CTFAu0jkkOgyVsPkuJbOwDzFNCgnAShuaVj8DISpnXF2
y1de5KXKmZOYKYpF7xVMJ0sR4LdswfVFdNP7KDyBKP1E6LqHTYbhHaSHK4GMZaYcdmHEfUdwmPWI
K+vHplPCHByLZIQ30SJyiqgZnJ9Oaj+PjtfTSzXzTVTFa2AX+aMgz2cdN6gyrR5I1jByeSCzXEmj
N55cevMbRp2cAANFdM/BqQlydJQiGW3u8qOkR79GLtsXWXaEKfM9NoBAkLQR+KDY55NUDJshgIMo
a0kuCfvpOvZYVhrzVkU3O/JAZEdz/CAX/iu8RGdbGOrQO3G9r7EW1A1xiN3UEHwphu6SCGAX0JPD
jYPB/JR79WFsmJxrmP2bsQNxUVXyaBnG28x5fTMbmiAelDzrSfckmS3Rk0ovkbMFio8soFccDSZw
MJs4BZaWc6SrLQDgdTKp9D0R6etog32hBInAaCHFLpsuOlDz9Gvl2dZOO1Rw5rIPp+5aLQ4EA2Xo
yTGrK/3SAsvV+BSponxcVEs73jctLMlEj4EtVGZZmmQUhUysyqQnJyz5HJUdb4c5x/3NOjgGAauW
4ezQya173ZnbusBQVYY9E2XHesNvtYY+i2MdEeYDYW/oMj1UDJzpV3aYOedhOkdqgr7s+Q+zTt4o
1l8YHr45BWX9MAYscKGzc4Vo136YJJy8W2NtCBcwNh5ZrloPsUOVy+jqELc5+qhKa/evyzFsMobj
DPXPjKHa6gw5Q+QK8gZJ+dy6tuY0Xlrvv7VwUfK6ScCtF0Qn1amK6Be0oI1bmNre0hFHfZd/jNj3
Crrna09tPSyRB6Pm4NtGiLxd+thDbRcIS+3bN7rk5lqUCbnvkzwNuuNtau9UcxET++5ul9cBTe0/
v51AeSrrUukallvZ0H8KEvbio4zhqGsGihyQQIUtAbnRPM/vKkd6gnoPq6s3eCTAB1gvzXg+xU7A
iAHfk+/oDYen5CnQ/SsBJ0hY2yU1NFxK4Ny7NvbbPFHOOi2Mpzj1C26L+Ab2H8FpApmpc8Yj5jX3
gA2JwykWKELn51eRU7rFCjWWTpgU0S8hjISP/c3WLpXRGJwSh2UWSlUPUAiCTcFyuUXaMh2BDp59
3zMfu0wQKpoWB27TBwgF7VdLPDPS8IWpE0zfsDW9XY/cDqNM/xqYQ3Lsw8l/wNKzldXQHQtHkBLU
jdY+NWpzOza+T/4P7JSBDwTsfnBOSl/BXG7pmgdwjoRz0pCN9mY7oB0U8d+huXdi+K+ZnfzNqd29
q4j3xn505nCXHCTkA1Ij8Oa0RYqPh7b8k0GHeaJTcO6dNFzNTMKTorS//I624rSquyRB5orGCfb1
oSiARA81S3MPvYri0nsz8Agx/g8+UJmGSG3xFbrNqYNQ8FVhV0vr9NRauv4vTdQlnOs9oCb11GPh
fGSx/evO9jUjHOUqBthSMrcILMEnbw6sw0K2P7Nw5FX1xRuEQBKI3JeBprYcPYyysCM3v6dEjehC
zGnw4Jb/ubr233tBrJxbjVB6HNaabvDKh5yQXOSS9XAjGeCNnlNy8gpohtp4qkcfrD46MLD1BNQA
vKg5g9Tgg3x0TwQHzu+y6lASAUCCVNBCNkFbjYHU3YlgLN7cOt5xdH8PJkEFYOVAxZtWPDL0OvtZ
9k1PUT33AOpRblGlsN3okPFqkCT/MRP78BFGvDNYNA9uxvyacHZ8v1ksD80w9i+E8WxyxZZC3xYI
N2KtnWZOabJ/VHVrcBihXaAc3W8jY+CcSSPgNJc5CR9JP9GkqQKs6FUpT78/YunScfv9tUZPdgo6
p9mViiZWT7bmOsZIgdq5pI2JDlfIRQPbeqo5/T6uGZsesMPs7GaO0NYa8VbVnMh//03pT3A1ln99
ihDByxo8HJ5URBsIxn9/w1eEOvT3sXb73MA1yH/637NdQ4yIEyPlz6xYIGrjh0tswWHEVD46lndK
CDic2XuPTtB75IYpbIbxGK87pNYnK/ZRX0jdcd0tj39/azrL2RNZsqdjoE+0u8hFWn77/QG0MyvJ
qTNxDflLdhgkOjqgx7Yzoo9Q9NU1RYKwcibp3hyc+Ls0RooAXT7APYkMH2qyhAyO+NUpo/JGX9TF
mH1LKh0/CL9Ztu3Uv1nKwcPck9KMVmvvl11w82ogJlFrP0rdx5d2hAqTqYhme2vc8oDxQtt5f6qk
ydYkYJk3w7UYtTgpXZLlYesEPz6dv8c2VeWbbyFlqv6MWHZuLo3JCwZ4FsvlYUl7bdclUcc64ls3
ejrZCunqUY66PNtJJD+y7OO3J1koxwLejM3mt2PZzXGInSgmgqEZ5/99AFFm/wTDkpeap0v6DAW0
VP9NsZve2M/M61zhgynwDXWDrZ6czKEg6WlfJm2Z3VzwN9s2desD5ZiH34wYMMY+NK9Du18ObEBq
8Np9ZPrt99NOc2zqs48x5vehjUFpi67I2OMZSI1G3WhJ/4M7Pz6qwqjfm4WatTRMxQgvCSBZuAV/
1q8DjxNKzoQN/4g9bKaqtI44DLJPp4uB3aFQ022dPlE6/g0HFT1IwVmym6DgqgCZqbuYPB0X/o3v
lelj3XbBmx+i21uet2gCaHdkKEWnYEMsdvk52yOmuaSU59+HKa1MY7Y/Etm32wqHzRqAA6k2jfA/
MeRACOkz98R80vksmPHwLDkaiHxUvJc+7grd1ezRujjShEqumArxDiPNunP2P80t+VKoTu79Epuj
DW8ibgyUxIjjfD0k/Rkvl/E62NlEVCd0Ki/rg09yuoyNKewAIIkXfOL9r6Rj3Lyk1OdUkyvFED78
FOgU1m2V2hcXtOEaGYFF6VMf8rRB40bAUDgP1jHxtXsY85jQIeQGa87jrDtDM+/AiR/bGTZT7HvN
k+UUf6zFHKsDn5NOl34FigA15N7xVxpWNF6s9LNMrQMmySeqpmmLboZvPVHpPaUlvh5KmuHOSIsz
7s/A4Ip1gE0WOoxHYDmXK/7ZXRJO1YFGA82VHl5Crf6TIpObmui60wzfBvFU5F1pXmNq0+0pUpX9
2ZYBbaKMiUlmu9an2QbffT3haeY1vmSefIkHLd6hYm2GIqPaM2mNWha5x4OdE0aapAYHakTJjKm3
XDGvJOhOV8j7DGwjAyQSGqt8gvWck7HNZx3PjtzMuH9wjfKwjDZd3xQvUleP1NLdJeiJOG1C13mL
CMztmCZCZgq9Y+tx4/pIjX2Rh3dsEnI9peOCfQ1pwbbxS0Bi6Ityl/upLfQVy0r1gmXoHSvCdE9m
bgfivEiQ0MSa2aIXn+xmazljLipSkEOsBIz+l+fbVsAFsQjVMeq4/IhG53/PJ1Zi7DtS8HqbRSHP
Zfs5E3e+zHp8mB8fSJjKiytquf59Z2ZHyZ45TXIxHdv/oK2NuAg5dzkmt0a8pIaMtoJ1/GBDur9r
NIZe1/qnIPzNGApfez/HITvpkA5t5N0t4oEoZbk3U6NtXiIj+Ph9vreEQ1VhVqfE7qpbiSMsRgt4
N0jaUgkjmthphm08Two0WEkkBkO8nSqHY+o28ftA3/pMAES4Tpe/xDCAcaJsvLOS+UNmq+rFiqIH
H77+Om5d42wpjj86iNUBq+R4r3GCC3uLZT56l6XrHATtUPxnyXwn1euJe6RCaOQCLWnsl3RS/2ZO
2xZl9+TUTDWSKF8FAQf2YX6ZJHAm5gIECU26+USwPACYRIHG+mOvxdDSjfC6d3nrIP5/Fig80NrT
OG4rFs+I283FdwG12Rj2nT281gVjZJ/WPKOrqX6pYIwa1ySbX00Phb4HEXNTGW1/CjyWKzO7tiIG
82Znw3Pes9AHifWcdyzaapT/IA6795yemS357kjgGU5jVRnsxMR6BRXngxSXJCv4zmhREEgVvdBo
6YHlgdwZli9PLWPjYQ4lcZqx94xL7C5BU+2NZS+1G65x21nUOZA42PWCeyZ+4r4uPonXmY+DYZLB
tzxtJMNTVbTDK6iTADZOBc+//kOTNb1HU9Gs7ZHZYkyG+HvBy7OaObmHibuFxhJu42DEEaVCOkbx
wSkGGPEMdFg2/PmYDZO5MaFyfaL4xsmxfPaWhTjDXGxQLdvm6HAwJ1MHSE0sPke6e4eon8QWfkqE
v374TDIaffPgjU+Jnfyby/6RRjbDakQtsNaARGDzg93SENen+W0XGtC6oAiQVSjqextjEZ9zBoCl
M9Z3QQhNabrtS691ciJqFfdx7h1QGlOcWFx1CegoO+gOhjCru3ax3IgLfBva8W1LCNVUv7YSTtxE
jEliJtjNZTjfpyF6jOy8fe2HTj20zODXYavmO+0L6IaqQnyJfeXVhrL6++dr3V9FqpMNi9mmSGjA
tvikWf8+9YpWtwkHAX9ZMeUGsZ0V/YfAMD6xgRPYzFBLpebZ8u3gUFdcv2EYHN3xVNq0gFKbO3lo
5byxRw0Z07X/VFjGgAAvY0zuHJFgGR7qj1Z/KB+cQc189IRwbuQ+d/t7OKDmpMQCSfOniV1kA0bh
LHaeN6lKzkeZN207+Aa0CK27qFKqbMgfv39yUu5rXLRQqIO3Uhl/swpwy4Q2vU47tRtFfuY0gBgg
nf5NWbKZfS8nrplZt+gpspPiXFsRgn9d32y3HImmk/02JTJi5dEOo1yDWKns9h5MM+2EzPEPIBK+
0xS1QlyYr8zRuZNln507l63ByUjO0whHoV0y1vUO4yTUNmYvc2eTd55hzUi5nYuWKDzkZPa2gXJG
R4ky3C8YkSYhx+VQ1tiyEP+sU7ioa0qpatV0GC9EECwxmiHWF/yRig83qMPgDIrVfvPs+fR7R/k5
fqwgiP42KkRDW+b7Mqqyo5DOTA96a6Kdxvlwnd0Ro+MckP7kRm+E/gGgJfqGbSSl62375zRv35tK
9i9BsYxrTU7pxmia9yhsnrO44hoLfSLqUc0uiCzN4fhgSu/DG9AiMoSnYiGhdey6o0N1i64h9g4F
r0gv0wPHStQ2nfyXaXLWVUeCe0engVNfKre6G8eVG+Xn2PGZAMOBIML9paZXHfRjfoH5+8G9vkfX
dsPWeQNZMaO/QoQVVrO8RmBWVv1A5VN2I1RDpv2VYXfrtMlpwU8s0Ux73qNakP0hfijxIBMFLdtk
QNddu8BEcb+Brmjlu500G0kkz2vv1NybBgOEgTjXAnMqYBm720+Gke+z1pBbhDnswH275wStmQ6S
2VlOQFsllTFHbaz4js4A4eTRFwe5K1Y68jm8ccKU0Vyd3C2PuYl4d/mMA5kW965I/ybYBfC+FydE
Pw9Oj6mDu/qUzRiR/RxlhBtsaEDi7wJYDQvQQ4O//HXn0pX4QyPStVqkxevUejd7Qekt3FMcoSvP
g8F50A00QhzYOaheDrM24ZM+33m0tDJCOd4aHdXbyM54H6DLb4kPC5uvKqf2PSROl69SrW5gxNE1
VxDgYvyK3LDLkKUWuUK3CUhCshq5i0NhfExmbgOHmAqabpVgS2VZtJjjfjmuiQdnMW1PLJ6zJzKm
V1AQpPnOgN7exRIaKN0j7x6IJSLXf86UyJ4Qk1UPiUdFnhlV+NWb5kec5xWpFJxcDJbxLaQEYq7s
4tDbrWIJCMZN5TWfnWlIdjK7eLD4fkSG6DCZ6Y25A6USBmCyQQTpyzKs8TSwGAWy/HF7wcHEKrpD
kakOv7CBwcHJCc8byKRVBnUhXeAr3/WFwRG8UXfGDHUNOR8ifiB5GFFMsJuJa1xL4LpXAnl+SmDK
J9F7bzF+5eeGD3nlR+RomqxFvpb2OWhr5wzzXS556acWzPFXSFjetjOm9GSmuTyyRVUbAvjWYZO0
q7Qc26dSecF2ch9owqgDaKrudfH5s3R7OmmulhLcEQCoDp1TttTylkd+pTxjgJA7I3srK4SuXnJu
Qh9ek/tFD2SCwbHEbQ/XKAJMG9Er30dzSibQR19oxaXZYZKta+uhXkxmPn/jwdTsADoW32GUbIrK
mvZcf9OKYsxYN0mWbg3+B2jzX2HtHaKkTC+TjfGOeBTykdg8ZQKOI2rI76JcXw3BoI6ZM/wwctVw
PnwPQIFk6lsfQqr4tQbzsEoGYj/ayGTNMr7ZItbCZYxWSJTEQ3KYDWrbkPHBqlFlQs+8+INjtH9E
bwjHWBlviyAtXWqJAbFePxcYxzhfzpFTfc2Dsa585v+lx5YwKaBeYyJPjRGyOFt0n2AjiZo+p9Nx
EBsUCxRoUcLgPDIQl88hFP8yjuo7pvbgLAbElGMVrru2AqYhgvwPgKoDo23I2ECAQb9VOfXCUBzY
RU4miUhgzyKI/eIFzLa6doEcVoLTAVhNVAjT/OK10nxoVWyhLOM37USgszZqCUW1OQg8zgIXpl2l
LtN1tnnG5kxiSO5V5hhtTCRLdP4EbvzEK+9BghIGS2l9EGl/k4UV7nyLF5QySa4deXSEKd/Itek3
qeifKfrlTtN0w1MDI3ZAhStT/cea9SKLOIk8tmGBTf/V0WZiqnw3IwC7NGsSpgxEnPDvcdlig+Bk
3JJiOsdZvRGEzm9MZqYPLX5FzMTINBvQVw9Voqu97apqC4IW+RqFumDgssffiKRY5y+/7y5EK7gs
kHal9FnkI/BLjxmN7Rs9dOMW/UphvpCJBmuziXE2L0st7TtgwN2aDCp1DlTFRR3QWPj9J3BCPfe2
vQ6E6J/yefKepsb47kjNvtsEb9BYWgWhnR3HQhNAQVla47/mkCcoKpeDuQU4e/V77v7/I2KOOuxs
ZHO0pkwp2+YINyXdhhnF/1BLvfFh0N3HlmhFBEXutesWMnCMUm25rAwTgaQuqbANUxf70WriuxuL
M8yv+VUzPMVZE1X7KsUq/VtYQTw/lAKJ+eC6qD9M6DAJ0Lg4OHFfRw9u8TRVeNnHMTI3mdoYojzT
qfO3ofIuVPmoq/t6gyHOPDh9Ve+bzr/0LJ/nMeABL+uohu+0YsrBqjms4sThGrUFbiSEk7DfBwQi
tf/rLEXTUpCwmPYDiVBgRuqB54VPECEHsIFRxSmuJi4Ik3ZPnSB7jZL22vvZD5Q+5uENfQgSol9m
pR18Fv9FNB8O5BLtpqnv170F23ogE8PNGWrFYQdkS9EgZl9Ku2iN9T5dDx1K2DCqf/IlmI8mxWpC
oLRPElHtGarhYo4JMoRSGCyyrIqWgOr5qFQYoNO0eUiLi28ccTC07XLrjMUMp3A7B7azy6v87uUp
piPGcisylh2qNu+51X68Bo51x1EuThEinq58nTPJ9cdQi04WH5lo0Ae5HmteP/I/yijq/MSXh04U
Hcot2iGVh9EzF2a/S/mQD4AUMnPiJsDlBgykQzpv+B6jLrZbD2/UBlAur6FA4cMuZSODnoNLB5iF
YUhN0I9fccya62PVT/u6J6vTzAJIa9HL2DibcQB9MxQ6PLMbvMO7xl5jThSzFUkxbsqRFNTSNqZL
dbfBkFUti7VVTCg4wEyvQflsAvdRaNIRszZudo0Ysal4n8g4Xsa62hg51A3X0vkmOca5hxCEAfic
J4yUrOFhXiZBRklwcBw0DYLhfp19BX0EDqVyquUoizTWQhWVLRMzJHkJdca6IMZn9aXQN+IAtJi3
Js077hZtK1rnwUmH7h8Fco7i1T8w9J+1/+rEMwqDZQpW2/ViMHVXYSMPY5k9qXx+xo33QeG9MZY8
yL7+chxszHUcPagpP3bDA52lbUswSmDCoXQKzjZj/o0VEsIH8djEOOyDgeDQ1spMGnf440vuXAM8
aIgcc2UVBR7R9inq/pJWUO0HY6Ql6dqnoO4PaOfKrT26004mDCdCztM6QqhJMk5owCZ2226nC+xy
qv8OKrSH1Wj/QQv+b2T3bewMnRJ2SKYoT1V2BstfH5Osv9lI8fd8hfAw2a/RM5PWVbZnskYVuq4Q
UUxPI056/XhqOWZzY0ABNstpulTVeExNPi030vYxGelaZ9jlIHgaJN6jsl5PFuU672FcNb2/dYPh
XMO5nW2ze8iqFC2/wJRgFsXOKdRLaTJuIn9s3aQpkGfamKtGh1tlJ8vLMrZFq5ASzhCr4LS4bbj0
L/zP0Sn+OrN3wdhMS058UkEOqrbgWEx/WCjlqkfjtIGoMK6YnX46SBuRTsVbgHMzF3Odsl3aa1/T
LDSw4zDvqQnPmveWdPaWr2tE0FxMsPYoMOW4ifVEb9yLTIZnuKRR15L3NTfRrrPKB0WW0cmG58ly
iZiZ9RUNOq/eaxokosuXHKMT7zhMDJ6HGtybjyN5gASlPces82LMfkoXWD5KyBPC4w87NSOacoxi
Ynb14Y5voFu301+dCoDcueQSJVMgd62t7OOfPv0/9s5kuXWk286v4vDY+AOJBBLAwBP2PSmqPZog
pHNU6PseT+8PrHtd9zocdnjuQSEIkkcqSWBi595rfSuj0x2M9hJ4EiWeE7ykno+4EzXMRuVk7aIM
HxFnTU9FGL/0fbbpQENvzZr2cSeRhdEY1JZ6o5UUv1vAsc+FO4QbkwbrKm+wgk2UcdHZ7wQNNjyb
g0oOXUJcWO80J/ZiYEYdnbYewrNV2EB58kqbNdRABu/hWnRHR2cYTDRsknPfsmgXC6272fQItnVZ
/lS2Vi1jHyQNcUpNoSMZrZhbRFSxk3IR7TZnACIrgroYKKhskSnzNwFd1SKqfphpgnMSoJCcoXxz
PWsrlVxSgb44evZV24SbmPIbpFmrnwgGdkuJHtIcrI2l61StcAtXek12WRPsjQp9fFj8ttGeoCvF
leqNWBw8be+W+lPuAg/xGbCbVJx2Kl8rMDIMwY+FM77EOAQsriKuYO4pXQpEOKpTl8GRHsHxSkEX
muMbIDcniT4Ki8pQ9AJMW4gQ32m+0r7O2a1mBTIH88fSAsin1qIQurYx6CIswfAfSznt/SlYh3xx
GqiouLixF0tIjM70J/Gt52QY/+CerBYEzG8kWmtspvDrae3/luRLLXaF7VCaQiBgVqkuLeBNJ0sC
fomYS0poQwsU92NEX5TOF8UAiXksHgHG94m54PQ9SutX4rZfMcg70/N/tC7lKwn0x6HkR+lerQGv
BDoOuQJvjMV5+pSKZd+ch5vwJ5j55FuTYfvJVTYhQIhlG60uAOzn/lr3v1GLlAAGcNTC3TIXVht8
AnXjZhYJrm6mta3RYmyd0hXdkHojewe+wBvtp2VougWaYBynInC5DMt6qxPavZ1UeigMBUXNdu8k
RSxTogKXLfQlS1TWapy8q2/NPVfHvesp7WeHyTt3yV6WywYJTXozYqzrnZrJTBuyCw9B5/xmwnQt
nKw+07Ib90kqjnzokMzThLeKP7wD7hwM+sDYTDU2qMKJIJhTYbLSfQ+5Mexq8HWdodpFyKeSja3m
nYJ47fgI3kfHT1dmDI7JcWgZ5L12ihIMTykiYqYtGbmtK35DeNA0EuQw0qSaM+6kIpkggmLc+Nlv
MsOT1VPgELv4/zN+/y8Zv8J0/k8pv6fwe/z5Txm/j3/wd8qvYf1LSGGZNOkdNMmu+J8pv+6/iNci
qVcIAe2KV3mFTewj5Ff+SyhXF7pQhrSkJdQ/Ib/uvyziQaRr2qbp2Lgr/19CfqXS+S7/MeSX/zch
bOm6Nt9NtxRf778Uv78IyfTr//5fxX9z6FVEnmpC2vkTY3vcjCjy9OepMJrEIONHxT9x3jQHzRXN
IZTu2ShsQmn8fV1aHQTqAVMAeU3P4XxAZ75vhpBt2gDLV7Vu/B4l3AhNYV2oN55H0jqeIGBfUmIH
V3o1yE3iJ9YBYD9VqXXFJ51cRaiAQhZWD8nC+dZlL+lCx/S7O8obvfiBAJ28YIlhyqujWWLft6tk
Oh0+PBwGS8cg2BZG+9Ihxmkc6ONORPO9WF0loBW0v3KoRC8M8NQy9Tx/28Hm494m6IgEJWVN4Nxw
DJ5MlWUnI26/WKTEoWa7mRcBiev0g4grNgUZogK/0OiOm0Lii8DtCtQPyvm6Jcj3aXK9Zp8SX0xr
VllLQ+XGRnO97knHiv6kz1utcBr0rT5Rd8Ym0witYvjZREb+MQkSEy2ppk/fTK52RiZDRIDWVnHb
XUF/H3Cq+vW+rVSzJytXraSPN5N5zlvmkr9JLh5ECBt5nVUT/hKPTrLpKqVuqdkbGGkR8VQdehsn
rZeY3/XvJoVmI/LPMUrLD5N1lOohWSGvS45Z7UJSabIvJEt/IMtmt9hAm9/UxjochPc7H3C5+Yol
FZSBOMg8Kq+JGeMSMUvGSfqpUUjcM9vbZdxrV2EZ4xx0Iw06KtxxOohIt9LiDqAqO8A/RaCVYDGa
2GKsSmHjZIsZFSTI5h1T+7Eg4bz0BfMyTHx32q7XKIfyyRCVIDHo/E996lQblAHaMqIiyKFyHoLE
on5J6YyjQIXq1oHmRFdgriPYhNx8s1PUq+5L+fsy9z+d3ppOOhEtaNKMdIe4vdmTmviOl7BY6wEp
B3mu5L3GFocL0rlk18YyxndnxAUyBdfBsp5bpKTPaY1NEw4BacPmXEMb3N5NH2popclFFEsLOKuv
TmY+kt/QeTcH/dwh6iWK7BQsYtvXyYaIQLU2sCwHCfBFs3XcVWGiwKoJFxiaoN8HoB17+BxYKj2a
60ba0kYyBMXvmL1rhlpzP7c/fXgkRbDSkMDeJv5jbqqTYdUq4lT78lc9x3cyNWxvUWCLm5cWPxiV
KbzAJuDODHRy79znfPiC197sGerlKCUunU6GhKf7xqpiFiEN507scL3LheltXXx4DCXvbRkHd6cO
PtFTBIcezdjFVmN3AeOGxz8Xl9Y3/xBMH96nAqMqKlAb6nYN3KPAWKbDNb7F+ADcrv/qmrC5G/Bd
bnn8Y6QBfpjcfTHlgLolL+tD7OuwIKroENV+95JlTGy1UQzwrs2jgDw5+2/r4z84rawBO9amTJT8
kE5fi3TNisebx9ADEQCPqpidLUN84OQ9jqKO3dLjgI0pOupproHjbynfAYAeUwiRgFUtuTQDo8bT
4dfXMKi6wxx1J/WFEcThRiXA4YqE/tvGyFEzCJgnj+csL7nl0qUHK9vgOfPoO+CDsw6P08piw5Az
F1xUkS12gwZOXbPoNOYY4XM9MF/y0pizrIibc2WKz7gszEvt00Ic9ey1DVDxoL7H9yFAeh9lnb60
j1PP7OTZpI/RWsSch5gv2kHmiCV6F3CoCy5114X9EWd3cnaaOsF4ySMxHx6Pao06g5I/J36FxZYo
KoDPtRc2x5zWskHO68nV0faTBJ6wi/fIdENu9idvGcfLVkVb9BjeMbA5QN16jgqzvgqfXBdUTSn2
uEKRuskeb5CVOMG6Ij2FCGRUwp189Wl9o2l5w17svhA0Dh5l0NV3bXYbxuCvNqOXHYz9+FQgTtlL
u7wAj2hW8dRa+CrKfKmKRp50NnZLWmLJUimLrlTbdRff79P9NPlvjzN8/u3OsWlDPS4OraHAMi1E
SMgS4pUNp3dDSm31DBuTQTGlGTAgnXFpH0zHivSABZx8NiR83XpMg1s7H+TovveNCWqGzuTZIAsN
wo311Ol5uBoUEx19cMynx6HvBBV8wxAIrYy3qDPd26aBrd3SCgd732L6a8WA52J+zgqROA0Dgw0h
merTZ08PvW6PzxVm6cHtfVKcONOtMOcXYRRb06ANXGjoVveTYRxS+pQ0lviEzjAm2yrUZkj5kpT8
Ds26JqblHsOg7EPUM46zrpO+IN9hdFdl24/rwYkUcmzzr6YkqfzxCWBe3+77IH5xEjs4MeKW/caJ
Zk2REyUoe72M1kACk62UHeDldrSJowm8/djm9zFlEPr3NzSnHGZIpxWLv/FUDoyTdU5zwUPcvemC
2L75SOtWdHriF5cUnqWJV/Q9zCbSuAdz/JIje161dW3HvT0OaLe9W5Df8MnClJyfNorz2E3ZSfqV
gyAPN1pTFF/9YJHfk4KnPpVKBfWtnyKXYkGSXyQaA1u1+btNG/viGrKlTO/Ft+wgJmVckitohtqb
r4ikEibC9cdp6/pkbNUuA4351cQYiQy11r503JONP/15jAjjdbC+IRSc11yuZBJ76h5QQC6qZWtg
JTG1u8nNcmnR1Dl4ufUC2WG4Jp0Wv7mGuyOAXT09zqqRpKhSZS8R3tHXyNo8nk3SSIPxMMLhie6N
71vfYQ6yoLZzMJxJmh7COvTB6dnxr6QDmRgN5reZlCCXUQBdBfqKE8t7u3r80/KkK3/87ghVpNvh
lifNYg9Z+OgxNKKUwTresoJbRBBrw4veee4it/X+V2JYH/A1gh+4ZCsyxfikhHgOwjAadnZXgzxN
+rvZu/VL43juPq8IuYfy2n2JBB3p1H3mfdFv/KpRu9ab+hOzTECe2rAy/Wr8EE7RAE2i01jRuvio
AT+whfJNMF+ieS3ccVUQr2Y2+XSAGURMLuhOGArzw8chzePsVAFpOwSkGQyIYsO1yitzaQlrWv99
PomSWnUYsm08xxblMbhScpf9H4BqzaLP83KNxsb/mIiaaKx2JPapG+5oFE9YDbX3qhuSferG5ioY
dLxgFg0zwyb8YHL05M0O/sKHsNKYG948rsFno87tletqHanDDW7HgdoDI+VN8sdG+TQkP3ZbsNrF
U7FMQ7fDRtlzjdK2Kz23vT0OVVh0txIa5MIfZLR7PCdRL21xvE5LTTd/Sz+ZrpbXtq98qhdGGst3
ZXhkQeAzXT5OW5LN1hlKjm1iDPJ9Kqbfuur+t//Ipp/B/eHDxjf1S/nixc507bdZeMeydZO/QA2v
oUzgjyaxFIApjJUFBQAaNtyDinBuonQJsTOqDVIn78ceSMXyA8n4p7MxRHD392JgdoFLwjAw5a1W
dtZb3g74h9r0Oy7qbBmCV7m4Y9yfVZOo5eMFt8NHiifgvfDPVmNLnAsE4xm9X75C4ySU3CSR7XGa
13F18fr843FGUkp1K+IIvgRvhb0P4g36F5yrGMUJ86aAFiiD4sdRAcMjaA86GldOfMT5WJ/sWPzb
4e/3/IdzSJEH5U58uHkfovVXEpXGNfKn17wZi4T82MJfQ12Da5Qa1tWE7Hp9PErS+A+0OOa8YaCu
xXwQ0KMW8eSK+c+XsUZ346drJLuqL/03fWyxcPhEtAnbHz+dINv1RGa9dqHk+ZpWHeqL8TOu453E
mIh0Vxk7y5bhfqqSbAOPrvwadqqtki/E0UxwLOnuHGHnb3GMm2J+mZ1gsoqNKT3hdsMXFmnhoppf
qMYUnAp6xJttNtOZRKwb04m3CMfqh4V8fdkUbgEyjylZ/GpUYfdcSP8Ey3d2FSXhLi5CcPeELDG2
aMRvgtjONHHz9xqO/EbDFzD14E/5HLM7UPShRmjmq7oN+BiKKFubvRPcciQWm6CHC/I4/TdqLy/o
XX53PY8QtPltj0NV6dreikPEGP/+FADfraqQZsGFhBHUCesNfXG6r4I8X5UQ096A+SnallG0fbyq
c4NeGmVgH9gs3wxvNlMb8EGQjwywpasYAo+ERpAGwHWmMA/uWTDU1xJLA0NjcNxaE+zAfzoIp3Sd
ykPr6kVkt3m11ksso9wNatKSD2kTat6ichMi3ohZ2v19rglc76FoYfHCClwIdPz7dCzYBYn4DOa6
vvIDZbfHgUQ3xHbaWK/wOHjHBMMlNrq2hwYxROcunvGyiVhWjZscH0/98/zjkTb7vvyqwJJb4hzT
ios0c7ADEey5/ajMT8ZS9lXNVy4BkWtCvPP6F6DxbAMfZzq6jAmPj0cYYcDNeqVJ8zOUq//lhcdb
HgdLlDgbI3tYj4MTIx2IK7wSwfRG5ACjzCwdzo9Han70OE2w7e6MSvz9jsf7qzJEsh7K4dmvaanX
IGF26J5ZbnMrxSrTktZmesRuoDyZ2fDxtXbK4VkP85sfo/AhiLegkZon7zikMAvXlTpbiJ3fOyTC
KqQ0JYxrfApN//J4lySx/liOc2FjLcnUct7jsg+WgRcaL8YM76grO34ivz7ehFnvnQUbo6WaqO7t
JAsgDrTZx0AM0KKCvntiVNu893hX5qcRlKjjIFHhPU5V66GoD8ljsE07+yiJCmCBjFcFJeuWaHvz
pW4+66hL36Ccxfd6gsc6nyFqM66q8F8eZwR2EhwyIjwbfOESvhEaG7ZB7LGSTiw1cl836rFPqDtQ
M8B53xuAg6s+xNEftRWpG9DnMkWxxbzSi64Va/wjN9Bi/3NT2b1rW7kqGNN+V95qKhL1HY6kIKBp
9c8G973LqDRyHjNK+1J0S62PiIJtIpodzBTkOssdrCJAoYP5YHpJfZWyHnexh+v+cRoUSPKyLpfY
pjzQbI/cHj3xcbVP0S0lKO+uEcOECGyq90VM/BKY1e4ymQbJOZwVYSUWHaZ8dtVxfO6Zlp4L2X0B
wp62fBLj8z/PBy3T3jqbvLUP854s2nCBnZ9Cdex+Wi147h2n+JImU2JfK6cXEx22Z8DfqALd3j4C
nNLJeIfwoxMJw0VYCn2XTlJ7jzPD3qPfIHJsznWq+8ZYijkEqm1zwcaPkWs1+8dw0kAkcUK6dTNM
j48Sd8q/jWU8ejw3VvahL4r0gIP5p2RWd+BvJO4wvrCaBA2ElFGPTqmanh4/1+MnRADX7Oy8fn78
9P88/3iUEl5h+Cl5qL0uBpw6KF2F68e7jPtVtHRk8GxkXnuI0wF4wDDeR8jll1QNR7OzhvvjUOQ2
FgaceWu/LI2t2fruwh19IrezAi1PUaLxa2s9uDwOpLykDP57bZNyuZ8fB03OzI4Ail0iIrJ3XatF
uG0Oa+EqHceFtx4FO/JyRp/aInevbd5qWyLbsck/3mG7M+0BVzu+kaE9W2d0z8U5Ltzm3KBkhfMD
SgDDOA/RpO0zOfiHxzsLMY8Uy2br23QX7JmCUirN/vvwONXTqEcR5mVfUHcAh/3ntzzeXLfwZ8ye
O4E5w4+hw4RoL/L74wyIJQOQx8MW4X81mejK57fRQui3Ef5nZOKEgTd20Bwsp5veA1Uc7dbo74bR
i7vKBY2XcHr3PFaxCT3e8nFqIFRdtbNKwIzdD+wxWInQeGzCDmX94zQPtO7shP5HCDT7hdTE9KXp
ma+1bXQ3arkzUxuYuY6MOC2Z6emZ8F80ppe7wWdU7CCEovMK2rGjxhgXqI8l0/Fv1r8JjNNvlA3p
C/ogoLUVKSYI7qO3LjHKXVXBcJBEY72Ndapt9BalcV9r/j4LQWoZhPwwcBfoymWxqdIDszn9kjkx
deLgftj2hzME6YJRa7Im+/YXvy90bLPpjD1vefSVNSwl6hhUY4gQEy9gA98QBFfVaoO0M19o5eig
mYjm5rOf3zCFgt4ZImMf1b23jxG6oEFcjNidFkjB5QpCwYi1sqienIwtTJz0/QGuGtHhuTpHO0w5
5rnEZjZh0tnKyHhLcRQtUruwd4YkPL7MZEbmCLSOQXNPWCz5xpMllq05fuim9xdIbm9JbuonMT60
ogkH8h2xK7sMLHyQWossl9tC0ScwOhwPGUXdQhITjVwLzH9NCtVxgJ2NccPeNtAdCahKXsOoSPY2
mw8ibLyT28hfhWFhCLCAAUxEQJ579zsDAPNqFT+orNIPRLflkd0/Cp2a/TWU4PrQmE6/0RtTbG2R
wvVK0+GY0veL4vdGUv9WRlxtKz9eEeesjoFzibPWvlCI/oXMmLtQSzj6FLCFrXvJP2rflTBfbWsM
9wSsrC2kHZcg/xMSOncJXAQ8XY3znQZqcuMPnBLWAPRpKuOavb23shUuiLoqr+HMq41c01gOynjr
heGum6pa2YXWoY9ykkNDK3IBm7fKAPzSHajWdYvBKGwuhJoNs/7iIlO+aFmWpyI3n63CmLZpyP4y
TIDQGA1mfpRfzyi63/DrhLfKktrGLW2WJ9Nd+uTK7ujkxluUvGfMrXRhB0hNRU0XsBUOkPPhC6u2
9WSZUcRMNXnCZ4Fi2H0vE5pffdydKqc0b5HmMuHv3/Q412mOeeMBBQabDX3w6BmQN1oOyQn7Lq0o
FLkQnBHgp2Ry+7l70V0zWjtIbLjooQ25BTMb70f2RrjXYx3fGcQTzW5JgJvY2eU1d1BsQZsU/r/r
6nuBDGDf6wkrLPN0E1EJERTwFkoI/nn5y7TVn1SivgHksPPCeNjibXCwcbur1DP6jVfjFhrLFzTb
hDgrPb30iXxK6zAF1GZHy6Rq3uIIPYQRlRtDaSH2aztZTFQbe24PeFZdedXyn3KoHUJQ8ze6iIu+
IJ2850bFfrwC3+Dav9IGKELnI7macm9YqbxMLuxViBoG9SK2qYyYsSxbdxLX2kzia6eTiZOmxP1M
/aoaw2NE/YGoMgAOkEDQIWw8pYLJsp1qgjXbyHplJMo7kvJFIw+5Tc1S0MXRtYGHQ5MmR4ZfhPlr
b/bfHuPfhRtNR8YMPhMhDzl5pO8wYDQn9BLGYgzVL5/MGvwEfrUUxDuItmbCHBCQg/M8X9a9tqqg
5S5zh7qHpu+Z7ssuZkaNCQWipAqhkhDH3mTWMSRouidNaA8sim/LlBwAR7mnqcDMx+93XcBvzC3j
J2Z92iajCitJIN4UtCXgnM2qUfwufVR+1x1FYUVEwUveT690w+NLDBD9RQsrHaKQuTL0MN7Foh8u
emTcTObirDL5KRmeaJ5uJcxR06vDJzHlwVJmDNDMONtTHR6k15RnB0PrzcLYTTIz+GPGYlbDlcVY
k35Dg1cuys/RUP8iiSDko4BGYqCJHTr2LbXQ14lC27Y4CEKlyMeuxL0Z9noBpb5t8k1VTVRT5L6K
Qf2V6IS76og4sMro1d5hDNdViB4MxYct7JdeXIot8di1Lihme9+nbIL2NvlafUgpivm41w4GDLlh
PibXcH2OQau6uxU13AxTu92TFllsich0cL2Yz0MdD9fJNWeuIR6X3E1XJUmD9DCFQePXfzIxIwW+
WtM0fME7jwpidDda7olNUow+8H9tqQx6EtSLX8EALyCTJe4fo1y68Pw2DW70bR8u0Hx1T9IjvCKi
vCii5N0NdXSryke01/V7FdrdOWIIumFD413b8pcegptWUymfB/OlxPt/gF+kr5rOF+85TNwpBiIO
mNeO0cGRByh2ELpfe59cGmNSYtULolUQn+iHuHZHkEzTptUM7xdlEekdJQYZBMdklD4ZVaUd+8Zm
cDpiSVLtUz7BsQM6O+21EaBY6VuUwaQ4SUcc+a1edVMfkL0F7opsl2TDLcUDqOJuoqz6TKb5jtHW
7gGeutgWNZFOPbarTF17oIKGVY33IqE0RUi8LFNhoIlrp1U5KJwAlv4EGz7Zt65CBfmCs/1bcN9d
NB0rc0SKcdpYvyYaGilaK2iyhbed7zk+yccJJvldP4chx5mwUacX2oIrQ0fAGf9luux6vN746XuU
omQIqaVPYsOi9vxfrkfo8tB2u2yOYQ4j8e3NwcxO3r92I1l94fhXp4hulmRtLPxE7vQ51tkg3xku
egrUONkHOtHPpYdevGYYfmZ6iEVxjogeTcKihzk22mSyUZEjzVDF8ccS73WM2ouk6XCOnI7Insb0
0R5jOKyreg6mViRUp3NUtWFkH2Q++u9NK7/Bn95dQq0nZCExKddYHcExEHudwS9Yw/3VSSixjbeR
8JGlMfz0hD3vIWgZL+McoV3PYdpC9dXWnwO25Ry1TXpGvwvnU6+NBcu9Wpfc1rkQMoLcCesGmxCu
R1gOW9R83UsXYQEj2ztAPYvzGr7WHPuNDhgXM0HgVUEkeDi+uQzPj/UcFm7RO2P8FumkJlTWNp9D
xe2YeHGlISd1ho0/B4+nczY5IaeSFXYinJwUZX35eBIa0fyxdsNdPr9HzMHmViH30EahArJaaqaF
/5kQ9AA732E2nNNgdS7sispTSma61w+6XCSadQ7nUPVmDlr356D1xyNvDl/HsBCvB5OAyb4esCDP
EP45rB07D8rF8NkZUzB+NoHuY8qcBxnSk9MU6XKsGPDak7PQYzApCK/fIhRG6Fd1lmnwHwRNumSZ
5M+MUYwdejDQgJ18Y/QeHhFnJRvDzxFNccVec6f5q3LiaV2STi8soziqObCeSStFgR9CF8g7KI4+
mO9BTL8BSTiF82G2JXImB7287pHJNGrtUjdZGv3caI+Pg1Vr7TFCTrvIB3SvbqABc9XUdTwZErpU
j7NtMeIHPGQ+wbh5zZ8Xn2i6Cj0bLCpECQLF4itVAr1/qfXXR5f88aihccpFBiXbK1CHqFpezSIJ
notyupQtd++qmADU2R5mSsR6MSHZ8QgBYorn0bvhvNKRG08A5kMrGxllc/U5vQwQ7u6NrDWeeKYG
j0uY4M520Kc6ipAkL3g3ISVtRhduRDui8u70ka5MQeRI6uAtC1R/cH3PAHWC79EZKGEo1wjItCIy
PqX942MVj/0ez6yNqH76yel5Mmut7aWhQbEiiCwEl19vAeR/Avbexti0l3yqhl3SnqzUj3YW9jBd
Wh4T6orVH9CgIt3wOU3iow3Om5k8Vv+PwiZ/dSg7Kh5JNnXAYCzUEBfSMVsNxVNbuekxEv4lsuRt
0nCshAYRxb4Nep0Q46XufUex1W4ddPPLMvLqNQQ0fWW3Clmx+h2FaXouHYbXXVANaO6a37LXiZHz
y3Ps28/53LfxkPDaYqDr6E/O0uN+ccSRR97qaNzG0Kby11ySXas3wul6IJo5UDA56Zth0HjK/MCN
7O9CW3tC04mQIYjea9GcZQibIgDgVzp9sRZxfi7T9lkCSYePrb0BAdLALAtnbalkLyuZHDGx3buK
lQXdKAHTINXFYIvNwDCaJTVML2mn7UILIXLha7MJsqhu8aA2XZH9ykc9WUedfLGIEbrIRG07Qjj2
TEVXgTaCCbfsnZ8VjN7s4XWEyXWC/h4vEy8H7czGcZWWzbG3LPYzhgn1vbd/BqP3rmJI0QN0q84i
e9GMy+naa6h6jRhzAIuQmRP8WRvhK/7Y9MZg84aGR+3rnOIEpBDG7iKnc4mnAd2mCzRHm+ROwRne
1AY3qBxz2kZX+z7t312tfdYT0sBIagcd4RtEpcYz2n0Y3yBWdHcWkT9s4E5cv/KoeupjW4TIfKzo
200MnGGmuCOq53+gBy1A4BVQfPZVeXFm6yvpU8uUZRz/FtXEGf3ZRmGwvCc22Uq2Q6BRMyZHHVq+
Z42vWN2HdSKtH9twIOzGbBssBs8A4Tz020rcZGT+FiMpOj3LNX6BRF68+dZK53vn+zFt+yqcvTsb
OyUgAIOxzU7Itp9tw3gboBPRlTR/156JvrapUegjZIgJwCK6XL/PI7Kt44qTaEuXNlL9HgtNkArP
Cgp4K9s2yj8YeedSKmvvZGE8hRZpz3WrH4dG+CtyfXtw1HMnSLb2Rk80+l4BmimywfolwLaU6Db2
9USOARvAkD/6WXJhbYapjl99EcH4RIBcVqsuJqu7xIZIYeNsHGyQL5Y9frlt1f5uS5TJwY9uDNpV
QWAIu4tGthC3xaxflAZmSmlCXLAda4vJi2RFVIKvOB5+1WHYUKnj7YqTmAGQUX2MNsMY2pjVSSBt
PttRzS7Bid5FY5XHNAhOBns4hL/NMg30GdWSdXtN79NVLHysd5FyUbqoet14ef5BEUX4QYQO3DY+
ywbxforNJXcK+2JoPcDJsdI3msrlC9FvKLmysX5zS+NMLijWhfaJ5LrxDq9tXFv+gLA3tpF6i5+p
LvqnpEafT5mh/wYgvx47gcu4lET4NEvDN5DFZSNLoRzFM38nOiZBnPzpAMTqYSFONRFdy4A4wk0X
x9WezKRySdCL3AvbvBqOQKTtIX7BmvUDheR5ciNn1UNo2obA47Yhi/d+TD1az4PXLgat+AihNi0C
Zh156fwqZ7cLfwS3Atmoy+CkA/8hZgEvQejPFvO1gqONIa1bltpQ0hojgqUxQCG6IAOrnh0SS48e
99aW/Vx+oPJj659oIj9k86EJXnBCQJgqLlWmI0RGzU7b1Q6Q4NrN3sNciSsshbYxw5NQi6UwKluQ
Sn8/pLcZUsSCgtDB/5TCb+49wx69OBZ0aypgL0av/4m6MTpPEuu9GbibcubmqWFDPuT4Ah+/2uoW
IjMN11xSiBHXPxWlN3pXbrEwoWU7p0jiIhxLDY3Nvx8a2yci0bD1JRhed9mqLQt3vrY039+LsHSo
97LuaW7g/VJZN9yKOakNCC6tv5QMO8IJGGLMgJcS4y1kGOqynPH1NNrDW5Pba3ILy09hQV+oFdDz
PCzfijbKb6AVLzmbGotx3d5kc1QJiiIngzdmYHdgW5+cxGRDhC8UXUk6m5C2PdqZBqwGmyxn0Snj
dVymcaetGVMVayR9xpMTW5RK1Eyav1a9alji3HxPwHazsFU3QL2UQGNxxC1cm5GsN7HAW260aXr5
h7TpnV1Z9pOLYesU8Ccn4sHae5VwbnimU+412KejKOt3bDX5BZRDfHcYp91ZaUilZQK0baH4LrvB
cTdBFrnXoIK5YqINXrap36MuTNXtccjT7gUxKEoHy72Z2nivAxLFu3C4KyQNezdVp9piDBfG5xTQ
RKeXR8RLFDfsNaHLokbV8QvqtAyzpk6xsiMlgREAZNOvjjVtApOOOUVHf05AsRpY861W658yQm62
HhuqLcr4LT2h8uqU8TNCTH7cCN3Gji4/MgVGCSEN0JXINP0QOfGnl+nVxSxQgc1/z0CScRLp+pa2
K7QiVzdfU8FUrC6CL232PFeEcwdjZhwxYxhIAa3PnIjkr9wEjyBgHVROc/RdrUeG8x1FBsl+wp22
2N1Wbd/NZSTteie3/5Kxe+m82fqiAnNVFE61cthqBWEBkq4pj/jNhkXmC27dOKWXdMcjprLRd2Y3
9lZonvasT+ILjb5zysWoPU80CdaoV+U6lA452IQBLa3M006+PXx2nuGQl/UTTBFku+EjVrEkQzBO
wXXUnyHShFUJAVDFbHNNk19/RTsT5hxwfXtEJqbeDKeUu2zAv58XIl5E/Rht/RrDUZH62KNxKmqm
9z/YO7PdxpUt2/5Kod55EEEy2BTq3gf1vSxbsjPzhchus+97fv0dVNat3ZzCPj9QSEBIirIsUyQj
Yq05x1TLNC1vdt1kH01pfK87dP2i7M/+mJ0KmzAljFBivlj1jBVhgZKvbw2oC19kAmOzShqPWi8h
8IPBVCSYeKVJ6MBKSMvYQfb8SSRZcPQRLBe6Hj+0xGSAdYBa5tpi0DvWI37rrkMdWUUzKlYdLNTR
zTA+CKHiNYna8WJoW3uZmXF7Fi13U7Msv9HXpuNZa9+LyRouLNMWcrh5PusXCvqf6YG3hIn3Rxda
As1bDGdT0RwnuD6EX3BTyWrSHDMqHFz4JTUbbpFV3W21zLqruREcVf2aiv4jcYiesoyivGQwfi6S
3MFNfuwoXWH2gYtBddH6FBgtDYDJl5fYoP9jqy5e0FK0FoGejVfuBTSsFQZmfMpqsJvLYKXNhaYT
LJO0OtcsBg9+qFfM4NtumcnIZFW5o2LJLD/IBenR3AvKdjzb6bhyW8xMllN1KzNhPJGD9jmEd7YM
ncK4hJbm6kgadQxfyrc2bfs+MHzWw9Qu61bibgFjOWbfQJ42KBfMRTUa+gk+ENHBMq02Lbr+xSyx
Z6Xhia8hsfC7Tq8EErLpS8cd7tcWVvHxLIq3UhTmMicQaT13gXs9OE6xvY4/Rj0cL7o1mZep9MyL
PWs+B8zB2CcD4he58DGwoKxOVfTGcooKd19xjaoeop9n3xrNYjpHvMGCuiE1AashcaSxEa2ObrsX
hvkh8zS+2PVQnDJuNqDWxBYuklzQBt2kNGnR+wUzYbv97Af1byItum1g6NgEq4agFDKib06FQQxF
To9Jap9pNM4LM67WLAF8hq3iGE3cTOL6ATqm2aH+bN4dHybrqMpPykP9Wo18srKm5UttrDm0RQM1
mLz1m6YnxqHGVW8SdY5kBQN4xKzk2JZJtbAr2q1MSs06lVvHj6cl6NhkGTbhl1iLyzeDO6IdVNsU
INuhg2J3Zm6FZbwpnEfhANOeVFT81tNNAYdlMuptXJ3OaxNav9lVWb3j2nRWIoF10UAAjKSBJc/M
nHWe6rdGGM2WaVpLK2gA9qB9HYFGfEmkTg0YuZgJhOLGre9rYDCF9LN4vBBDWKwIPGvPOfEERiXM
bQDbbK/qaLrkqAdWM+nqQ/OGXcM0VZiwvBKvtY+Wg0N5KsSKXKy4x7/IV2seNCf4oY1UwgygKr3r
w8uouuIYME7MApC+Xq7MzIvuRqhnK9fkBoySuF5wCWZHzR6i+6BcADeOxl9V6LOzmZLehAR7lbaE
Sk+d8xqXycvEzclkpXSNwsrfR16DuHgwVihQzVtht1Bte1CMJG5ka2U2XzwWGaHnDhdwJjsfjOQ6
hV9G38Vo3trsWIicYDdFR0kZX2R5E20xvqkmkrdAyJUeJsMdIQyAOyIoN0XsLDLPetGp7hhVE10a
M7TfJDPqlaHsaMtKMDyEHAua75ZxbIG9In6d5ZSa91KQ+3rzfaRMugO6LbAvOYVh4mvTbSn6F+42
Jl3GBa5NaDrghyMjTI9arWtvTE44a5G/LZWPJmeqHBaIib+1qeauhw6ytMOEfBQVjKKI6iGI61c/
z5s7SgYryLs3VCrEHRX9lzGrEZ1YdMTMEIytBea0ay+x4+UvtBxOhUg+D6F96+eDZ4SmfW8cI8Za
4DgrrC/23bW1/qCb9lpoyadR1od5Cn5VGnHFLdq8vlb30dXMO5a505AIF8ENuN7KBE3sgoLPB9DJ
VR2U2wTae4G09M1wRnfLNdB7OvO3nhsr59xbalbpsUZVtaDt97mMdGOFI9jFFNiMD2R5ZLr3Swqg
sPnnl1O2heI/n2wA4GmsMpwcXBVqG8Ll5cpUn+gPIt4QVr1ikrqyKsu4pKH9sPtj0VMKcYrI2zEz
zM8kS6KPZs06ea1P/Kde3ZuaNl7qBZRZyFW6W0VaHM2KCV4+UV/m3svSiY58n+bNvjIjf5FHexv9
dbP0hcYaq9Mp1WU7lTrGPvRrmAaK7BSQzXpu32OdNRxh9BXJ5zYa1o1mjt0ycovpPrYR4V1FhDaQ
LaSQ9LYJoFuB7fFCcX8+TJRwWKb05Dgum9qVNAwdf5V0SLV1TTHE2gSexW1JjlIMEzPOIWBh63/L
3LE/6xkkjDEBEVTH5xiQ+LoEJraxmQi9NdoPZO71qyTefmnhQ92PXckV/j5Vo3txUcXdqTgkJMG2
vyU5jAuJxZWa/V13LTC55WADRuRjhzE4FzDETPfjfDXaIJj1+TN53bvPGm0zCWjI9PAyAJB2xuSO
5EciopuheZvC73qfcTTsstn0qqhvtaOLC4kMZzO46igs6CI15YbU+K9GGaZ31nKKuQcHEdRKcnf8
Wf5O6OtSzrSKwKXYyqgBDM4/y5akhcwL1D4Vk4YCdACJgoNi17iZfh6T7odvleFNiXCv8HW9kL+5
a3DTr7pkII4e3AXixvTe2dpOJtNpsvr2wvj2mbHDPgchgHTDcF+sfhofVXOFjXWo0ONe+yZr73HJ
LAC9M+sdZ2rv2SAjbsIYtkxXX4Wzf0QlLJ75NvGpsubSgMNakZxeM71epbmh7dRI+QcHVvfiZdMu
7fP6MoaSpGFjuJNPQV8oL34LMuA/OKKPNQk/V2q7B7MN6L5DL4qJ8kPwW6e7Iml5KklfUCa0V8um
PS8YQ8hngdP03FmBWmwbRf3GgaON8V/dpWE06G6wOzhpqu6W6Yy7MUB1YYlArLjNMRrLcjgheCSD
Zf4Jz59ekz77lmsVrdIJASNDjHZXQ21da8ZdBKGbSHc0wsNi7S3AQYLE5v58QNi/1gh4vfmqblcR
mpqtbTInColvJC3RfyQMnjSo+Fr8HJM/ivjpodMXBIGeN0zxSWGcn5qMmnnVQNtKNtMnU++dU22R
I571yd5saIKjCE8fpgWkkIhYY2Y3Q62an4uBueL6Dn+CRnxrgoDiaAZ5pnBsRvauDRnNnQvCf/ES
hFSBa4BcpvMZI4xPOhsPVjatYsw6r8+/0LSSW5KBhigB2U1pLPjDO8BxrQy3VQORB4xLemAq6T8I
2pYr6OswIRLfXAh/IqJK+t7KCR3mj6R1rVTLUqiqe38nWsdY5Fl/zAJH3E3mZNTiWQJW4yCXU+AT
5pp25XEUxdmfZYEpV05TDFQ/wty9RXjRKQrjYitg8aJnt66lrl/14TS28UimA7WXHJOvG6KNLZlp
rjLO3W3oGWu7m5ml3VQ/6qA9GdpQcVb6zQM/3CPBP3yx/aZ5BAVi64BY+/PzpW2Kp7grZ7rP/FoL
4RjcTrs5PPfGyjeXRKohE5l/1p//Us9R2vb5xqXrlWvKc8B/5r0U1PONMbLgf/5s1+ewfso0WD/f
OcpAldDXzzAI8BETEnT2aVLQlJ1/bygb51APYGWfmw4exJNmEWTyfHHJMHG2Hf37rw8l7eJqyfLX
3+oWrfeSePr+10dKWXUObjBnKTQPnJf9nQaNBpdgWFYRko6ivj93NVzCHnXV1+dWQGEnCDLr5fkL
Ui96Mwc7uT63jNL44bWB+HW8sEaQUdw2yen5g2YFsFVPAfg+DwHmXQQSRdbvnz/qyZSaOHXG3fMQ
dGESrVPDImJtPgQzKhkUAw61594+srWNR8Ds+vnOJfSsnQBpvHq+s94UVDNMsurRkLwjL2mIqjf8
XVUCkeXO2OMWKOQsV4i3Q1937wPtMsI9RrVH/znn0oBRRCuQ0ASvSuRSU/twOtZJRLPtqX7rGyz7
2J2IQFhaIcTc5+bACnuBnsY5eh56z0AM9Aj47Lg+/fQktLp7SEZRgI4eReJ50yhd5qeKUNViGNcj
6sPXvNe+NvZwDOooOvy6lUlIz72d+1APua4bpjUYTO5ZVNPAKrp7TmL2Fe4jIhKD8NQcRd6jT+By
ZhNnV+Vn2iu+0NVkUPdIc+jWJuEUN5Iud65TBWvZgD7KWRkHFA9WwRQjNmgQFwZpnW9FhZq2T3RB
KnlXrDM40FDBLflA6FvTWAq2E5V2KrXuBxSF9h4EfGlIPooFUx1wPMyr35VFqc33K2373OT15pIh
d65PRTfo+eM1Srie53BXd0Ia/utk6Ll4JGKxbTB/+3kFwbARyanRKGKUcjDXsht/alC1Foh1WdZU
Ax01E9aeaXc/xcCAieZ5KbogPQDj1R+S4sEyYdpwmJKeQnWDbxum5M9MZLTrZsmrkilFkiJLj/5M
KkG/HSynxiyPbkaRjpLMV21mAjhuXG97uyWtoAbjlxGC2Je8viu/OGSjEWcAAIL6iXscNaqXjYnP
joI0akZwh1Rf1KOElVI4ZCmEPRzSlhN4EXajd2mPUo9WnJNEGRXOPVMGQS+dya22rxB9A8Vi9Kaf
28i9Ptm71GkRZZaUExnU3t1UqMs4qe+OQwbC6A9qMSQQ7U3CMcOa35/qYlw0hVmexsxt9m7CGd+U
hfcIIatvR7gtqlJnBE5nOEf+55Ds0cEmdIa6nmA6i1w/yCGMFZOuL0ciIeOWyVLhl/7ani8oZo4D
VHsP0XRCm7Xud/Vgo/qUQ7+ASOitwATGy2KMfnNmyunQsB5tB/CmqcY9nzzI8F2aQMU8jyEu6KLf
XICJJN9ZaBpmwngTGS2LaP0wWjjrSFr/5MAjR4LunUYx3Qt+14hW41YwpeVXPbig3Eutj9d6oC4K
UdnUouwVRionGCoKxGPI9kKg31HsELTemsBgHaPbDnG3M2jMPSCUOzfphtsis+HLWN1bElbhObHK
nt5pv5MuGcBaPoyryYJalyKpClz1G06T+B00Qb7HBOLRKDHjd8cqo3UQy2NsNGRtaknybhWi2owx
DhFjvkaqsY/WbU46Tsy0dDaMQu4bUIQ4VCjJCWvSdzrRkM+qj4kzusFAu7MbLbilqtkVLdyTsU3z
c6pED3c6BPTqDD+w3NqhIOtCOl+9aqCJOP9mVrnnsoK59vzFgARWaYSVJECPuq19KNZ5s/AiyG0Y
gMUqsyHeAee3d73l8VXQ73aAp8mC2BAnwhwWwtcYGf+68r2szfGCXvebZco1cWEfAfbWc0NA+lFB
WGQCsxD21L/3YLKzGDA94plopc9PNaYOJLFlXIebnB6ggjbLNhmnddUMzNcytB3hfANH+GatXcex
Nj6N/XctdBskT9Cv4bDk74ZbfXZ6vBA15VunT19hnfQPAPPfp1pa5yqcyP2KRu0S04z0anIsPKe7
uj4Yz5EzhI6BhRT33TJseuSNd+3moSFFk3GOSoAEYaO17x4+RUYVlhcIOg1KN6q7T31kvqCh2o6K
sIX/hYb8S2iI+3fQkPPXH1/9r3X8tfr3f/uZ4WAf9z/gbZj80C9wiBL/MB0X0aWOM8CGytH/rJv/
8++m8Q+dBojrSJ05obCF8d/UEE3Kf7jKtZmGK5xBNlWc/8aGaHBIlCuFoLUoBPcgkCb/9z+/D//h
/8xfAML7JOb+ZfvfsjZ9yUNaCnwu3ukP1BDIxoY0SY7kwyn65Y4l/kwN6TvpVo2Pf9qfeuBg8KTj
U4WdItGdnxMyzmXZZqwHPPfnLPDba0zr0BiCaatdogoGQBND+VK1qKOx7n4D4/uHY/lfn/dPnw9A
yl8+n2lJZYHHQedLn/svVBPDi1htxwj9epshBwYh1Vy33ugFHaHZi26FNThEkVwsU/8xNZQRwvGD
YeM9H9oDCWtoZZjwh5Ejfl0JfzqSf/xk6p+PnGkpU9r8c11dOfLPR04hmPcpVAPJiIxpy4KedTLt
6sBIMzjUYucMZbNCFEdnSbIa9ZF26WWDYq80Q8aPOthBLAXD7U6ruoV3ZYrERoAp7mmsv4cYwSAP
/Swz+YCb3i6kNG9Q5m7wZWMmTwJqt8rIMKFjhoIjXggz+Z7JM5J8eNYqtDHjQT0yKK/nAgPfUNpw
laxvUvroZUuaIkZPfBZqxoXrCH2tpPHwJOxJ14gwBBY+69CBvrnLqNr24OSFZp8iMAAkSubYmzXj
DIKyWfXDBNzMeZkY25Z//9W7XAB/+eqVMKHncGYCydH/CrRxURgAJ+PULAJlgGbWBIWFaTfWXXuK
+FKbctSuI8DHRU2kVKw732QRdmiWqc60ozVzqsPjMEqEfo1cGO2YUEL3vV1P0cZFtlLYYmd0Dn+u
opKa+vq5yG4D0Z1Lw7FmqrVGwVxo+dKdzOkgXer9Mf2BjVMykbUUzQ0NvzJLLEqNrKs2rW5WF8jH
MFgbBtLEX/vCAUzujOfW6MBMEIe2lJM37cnoO8ZTF61HzOEknKsYJ8b4EZg6hSN7wjOJAGPU1HiZ
Med9193DLit3vUeqUZmPl7Hbo+9G0KcbEPWQTi9BNwBXM5KLqkdxqmIEmFHGiagLxvrKovFkh0G/
dkYLoN8EwNyYxWGWX5+GVL76UZDfMt160fqEMFk81nSZkm+E4Jj8jU689YF7FSLSto5pfWJtjDrL
Hg8GGgHyMXv/ZJrZNZuS4eXvTwH9fzoFbIMmmMsZbUh73v8HplHCmgdOwUB4ZucnFKJJRsMocTHK
ezUjySrNrtesg/JUk3vyxB8UPo6TX96IaipWblXFQPrSNb2uBoE56V9aaRAl2EM9tnXzkrT5vnY6
4N1a9i9OXh2w1F9PXok+QymdO5dtWfPd4w+fHKK6o0UGxWZWxyff16195ubWlsZHNkfELUQyGUSm
I9KUwpyzg2gkZ7F7nLAW5gMRV106MItn3YSbB8eICw44gohk4RpZlWVvruI8WMVqugtS5xcYjtDn
2AiH7dg9x8AslhWz5N3ffx9yvtv+GlTmQW0eLSBI2I4QhtB1KDHz3foPf5WpySHTI84mM0enr3K8
TDGqsihHt9NSO7K6Ew3Az1lOKfVgaQAV5FRinXKbA9o96EK6/i8GCGMeoP78kRgNGVdtxwCpLf96
G+YD4zjDD7ckHqRi+moOCEwm/D/hgsF3OnWE7nKb/EEQgDV3vGBuRHgHCvM0BDDlKeKppRQtsruo
P5BABKdVzxukqd5x0k2CGyLToe5OEhS0uW0UIFwzSstDJjxeGkIyOR75qvfJ28Wr/6+O9z+dRSYa
DoY/S6AXdpX4y1lktcMAz9ZldJY2NqewvFOcZdlFflcYuUhiaP9ZESrEKGZZAy+GdinJutX4PTBN
exlzM0fvTPAv81QTf6wvi2H99+eE+09fAOcDhVj0EHxCxsG/zCBiTBBI6/At+BH+UOHoj9ipuyVJ
aDehJqLWGwwlWtYT5CfJhRWiHg8aCt1NW8dYPYAdo/lQt6Qw63NZZD4CRlUBEGmhZRuJvNlzDKim
36SKsURpOKeBZu7yQIq3WPQ2hbjydXLcOThTth+VFapTLWX6niL2WQqUsIcRhfhGKU6E0La+Da2b
oRMpokVZWmhS257MvmHkAJEN5wv3M+LvQ9YVULXGwtz4rcM4akA48DD0cciTmhCxVrA+oHHhGoT9
FtYVviU5RaV/kpRmsxw7W2BA9TH7La6PW1SHMFsrBG8p+h/NwYl5QDXon2uEbtynj9R3MfuM1oqa
BFk0LEno4GRvZkqeXZXQ14oss15YVnvRGz3YJE4SXZwx6pe4XqJtmZn11qGF3xgWFTtaclJVNhGx
2VYX8HgxFm3+/ktHEaj/5bpzbFsx/XE4P6WhILL/+VbgC6Dnnh8wT6jsJeRsPznnqlULOokAZ6rY
Jli8sQ9hrBMNlBRftU4QVTk/n/ghtuxkCmhVMZKBzKdN6RTVW13bwbG18wZgW/HixDruhMqk6ZGP
zec0NOWiqO2CKEjdfK0L9/Z83vORIbW+NeyMzG8/O9nPBj3FRxBHDFBRzxRM1vjnx17bQyQd1mog
OTkkROXhiJpVXogohbJB/aAlpbakmqHbH6YKgoMNNEHlc34Qe0UhuoNH8XpZy7y4VXk9l+fVizVo
gHRd6zVNEusVaz7Q4Krt18/nqmiwXq1sXAx0DG/PV5DLhlBSgJl67nw+uGH2krpddybkhUudtfHG
BFN7wcodX2hxbHvEjKgG5iTz+eG587mZDC1wBl9QWRTTFzuZkK/y6Uk2nRFVaqZVlZ7unvy8S9Zu
yvAZ9Z5xztsJO+fzv3TzXipPgtxVtb9WpGg8ZGd3W6gTPkUt1Fq/b07ww3d5BSeGWDi1SjzYQKoo
wD24/SoFefOoIjEe6xSF5+gRRj1N9mcmWCwqktnWNtsSbY9OGdftp3jE8leKkKQFKU9tGMqTM41o
sYwKevBUWy9Tme405AUbPwFn1UcM1ws1VNGxGZDWa3r1nT47LZjJSnZOkCCayqBDhwSuXpklt+uU
8iBXQx+s02m+bXcFNb3Oh78c/fD8Rr57KXS7DoyIRF/9Ds5FO6UeLUlj3gyzrKAvbscrdJdvdheW
p4w+4g0TNmDjSqP7ylAHwkfDY9WFgshDSjC3BD/PXjTzfL4daCdquJY8pKlvoELVKSHCTU569zZi
nXyLI/nJAu5Ge4AtJ5RiG4TYioz5FSI163XCgm09kQYeCfX2fAhGDZ/eII39c1NXQtsNNpNUYWfq
bYji/I3XD5FCUmDKV6av1UMyk7CNuKInJKuH5lX0e/P89txnm9GrF5vF9bk1NMZPzc6683NLYG1X
lUC+rGN4s+NAOz8ffNxEZ6estHNDGeXUNjMsPbQJn3IpnzAD4YXKxcKbQYDaPl/9+w+7814DrE3U
11+twJWXOufwhHV06nTJ4ZGkoFKEnDZaqBuPdKKnYU+scooAHJqtArpKTWZeetC6l0Z8BMj24cDw
TJVPX2hoaLTRbPvSVQXZTaivVtiq5onImAD6C/NXOFP6ppqQqKEfCWjBkUrJHOsiAvrtv29Chqup
1vGgjccK1+IpRt/866HD57YMSL9YotWjxTcqBOTP3V44mQW9cm5Olix2TeXT6aoiDdaWxCv6HMjs
Ci11ZAQgY6LQIna81/eiNozzr02lIw8Z6tvztb47Fhe7z7bWPATakdBvvq38o+liI0mzTYnF4NHG
trrIvP7oao5YPW8ZbD33KZFYz331/Mrnvla0v/b9Dz837/Om3FzqQaBvqW6PtwA1NGaMBJb0vPl8
KGO+jKYiSiSCX/TrOeTFPhZixLO/P4cpP6cbhqCv6SJkOBO3yHgMLt6EZ3neej7o8P6IWYmQcAA5
25tdPS4qafc3Y3AviQgmSE5sNfNDWVRbJTqGv9IHzZziyywpMSNFAza+hGs1HzoYNP2tyEPtWrJA
em5Zmu6fCS8++Z01XHVIZI0sesyGvhHf+u4bCw37OkRQAZY5uKq2Fck5lVV8K/kNlRLTORZtu7FD
bS7DR+mVSEECuY1Ey/ZBaX4Zwza9MknSTy1ynjSZvCPATu1otGraI8feel4uNgEyqGU+Oc2L0Q3N
Szr/zz9mXV28/P7sxEKRuKSw2zxf9Nyh0evArOu+PX/k9+eVIR44m83D8/nnS5XsxIbeHdkm4Uzw
qMLq4ASl85aHIR3Y2Ls8t0aoXKuSPumGWpb9lmBBOAmv/C3vFRqTcDLWFgPzS1HpzludDESUoPPf
sjb8SsPfOdNNMKDX41qaImd8ALNIkYWWoMLzbny4Ya5v01zBBp03Y7rnu3L0gdvNLzbVuEMxr+2N
1MhOSOcJ9wixqfhFZ08USewTnVqa/awxgTo6R+KI2qOOFuk66DmByYq5Ox2Ly/MpGLtqbWBuXrkC
p60b9WpvzITRRmTtpokNINRu0KNn8spjO5Bf8dyb+466kUuDaICdSKO6u54XR1VO6vp86vluQz69
pGnlLqeqmB3llQUED6PwaZr/18r6yM1lOid5sAsbyFtV6lZveqJjMEmVvy7Lon5rKmXeRsxhz63n
Kxyd6F+PmsCu4z3e1Dw0SC3/9HzF86khGH5Y4LdOz6d8BIg7Kwa6+txZNPVPL+XT1oO6We1oYHbz
QbHgyLjErUNbja3nQ9zTuU8qJoq2Vv3Xcxqi5qUdpN3u9+cMHR68SqKXMk9YL9McRtfJuocqlYN5
JSvvrTWPU13047nltlN5V/qKmDNy2eb9Q0BzBgQwCiuHWkdX8kfHXSPfzDqHexlLLLbzlL1AyrgP
wcnCjg/kWzQ/ZNFXwcrVcOEuhOCZsMMEfE+oWPuN6ppsUTdDSHpqVZxtn7TyLLw8n3Fyyz8WGN1V
qds3Up0PXaQYDOYt1Uz6S1i/PzdaT9viJ9fOjucV59YklLhMEu4eNLFXyhqHre8ScRErhZWmPIC4
NT8nhBiEZTUcgNGHoEkhggulzlqdqLOsDfJVmXyt8RER4jc/PP9XcYc+Nfyklxsm/kiuuNqX2Hah
GCOF+WS75c8ugmmK0gdwejyk9Y1OIGIrWAh7a0ZTLX/fVhH+NN3na3fCzD5EksRy7Ab+BwRizJOu
324id/A/qmLolg6aGzoxzD5GHVtYXCjsB4gfD8Do0XYZpbcN5xmJRbrpm0Cn9FJo9aaUqIAQGxEm
bvYd5kH0bhaD7GsimyU1ObYkuXalpzlc3hG64WmQ657Ej3NVFuN5GM2HizN4hQgPU1GjDa8N+Ioh
pK9sGz3eF1IMqtYBYJvJV5AD4z7zjWgNBwHKVNrfIj7FBRVvtU5FqBPq5ranqptjzq0S0aSs1np8
QOGavYxpOL7gPAz2pttsJA7TdcLHR3vHJHUO8sjL6OqHcpwDnVuHRnYAGtotkF8PWT8t3bEi7g8m
A1OX4mul++inoIPta7ghqzaGQ+KnCnFGEUVnM50mJFFNusstV8P5On9lddO3JwKokkXfhMEVpsvV
gyVcLyhNYys2US44dXFDs+TscO01Z+9pSCJ/EkNM92EJYs8yclLQYyTBpgzQJ2m9ZVxV/+MJbaOI
gTyhI82Y23J/gMqyjdBjb4QynT36aHWjYdYtAqsiR6XhcBtSDajEwGow7FdpUTzYsFKoRd3k5ofn
AaMihsxqFJxCUt0TQHKvZkkjb95CoSPvxs7uhxWoDuuGIUnevdok981Ny1No1BmrXIpn+6yb82fc
6Nqm3Tlzi+yOXXdcVqA6t8jxzRd3iAEyaxmFVGbs5zr1P6aw0Na4R9BLWp/81iYCJkM/GBLdd6Rm
wHo6C6KRuRLnFxoNk9DGCTu8KJlzxsbBN6fqpJk0lFM3PNtgZa9+bxF4ERmPYLwPOfVLb2RaBqAu
2A4JQy+KX724pHpWrkll046lRxCgzY0ubmi4bZWHCDgH9WIPTnoP6EmvW/o5W5F2UKJ4W2YQKw0L
zRsE4oiveDFWzsVr+wlPthG+6kiaKMSF/qWx8g+weMHFTdBn95ON17I3ds+P7Obk+KD3T3HfTOEK
V1R4wJ1s7rgzA3Gd+GMKrwjPLHP01Vi3m65G/ljkmyyPur3wtOguav9D5bJfu26jdt0oo80I5mZb
t0Xx4ec1tSiznE5YNaLlkPL3uVHETTWnr6AsaYI6MtbPSc+oMYJYzfiKiInJUjxN4pBFww9wE/UJ
fu5N+IF8lVmY0dnEEvzcxC7XkshHwENEa2LU++jlOUtLQXzv4s6issi6KVsyfX6gh8+2EPM+KkN3
r7qq3CvOCwokYV0vn5vPHR7qvL3v1t+LrFDNlig1BiQsQKsAKco2TYjOSDSCXTMXWG0vc/m5r6xd
kRtQStL6Mzjl4YjCGHUVy4oTQ7Sz6HjLD2Yq0dbIJ22N3Sb+kCTxQreBIAkd9qGXauJePwjoi36/
HhRcdk9l9RUz2kWQP/fWi3yO4MDOVcEi1kJkLLJL7Fe3/hDQje+KEM638tCUrnasaPdGfhnt0fbM
ZxYPuRngZxkhVrRawkSx401M0YFGNg2CZkrNvBluqW6yEAUMAz+j9cNzBRIo1DxV0O595XvI4FVw
RfccXmUd4sHSGXwNDV479cDvsIDsfU/UGrG9rJQD/yd+taaz6g9w4rukMsSpqKqPnF4J4ZyKyg8d
aqpkaARwGqzIbqGyMiUrkZOr2IcxKk6nOnl2Up+e/4sZaJc+RTI62PXnHKvZiw1efoESQ6xdi8oz
1DLUuka+4xLpF1E+GOsGfcippyF+4or86WMLJK0oRmVjZNJd64gEF0hD6UmJROzoLkKyySQo4nHa
hcbo40aTLQqxmigpSSacMMwSv4Gt1l7lcmuaD1LTJBirWKCx1s3qTdxN3qHAyzAvfZMVXodg06Q9
N3pEQmnal+94Q7+FEOIWhemNa5iixjFlupHD/kOlY38Z9THdN2PfnNB1cQbP87RYb87JRLmw0DuQ
NizPeioVSjvga1EsG2nNCLentFKbxEQ29QoPcrIgGBJ+jF9E1zhFh15V7UtJs2dhokagwhrnW2XI
fRYxE6h7N707lcdUPEIBGjdxBQBZR/lVBW9pNg4nZdmzOpBD+fsmuY4nPQkL3ivWtlOonYlB738M
//8/fuH+embe5ZP1t5EEBa7RVgwvddtMjKQdIVyNf69003gZBflGipzNrUcnZWXB/lmKImGos/kO
cMbmUGA8lqGkvN67QNprTzXikBKMSJhBjpsFMYJG3WTWAv+GEfiVlbQ4GQ1u+aLUq21WuuibWlgt
ri6Tt1org5vJqinD0ULVs6ihbGPfK7saAbXgAo+T4eB43VzOa/wjMkW5DzWda5gExTL+XlcJ4bTU
14/MbpCkR3r5bpVBsMPK3Z+fD7lVDGeNqMxlSD15lWjptlE9mkuV5C8DTPAXGA1fDT049E7EbFHm
iNOUMS1Nu0QamIEewE1tr/Th/zF2XsuRK1mW/ZWxfkc14HAos+4xm9CaQU3mCyzJZEJrwCG+fhYi
81beqoeeeYEhgkEVAeHnnL3XDpjJFJq2pnZpj2Fo+1jrXcjIOqzTACrAyo5yeR7d0TxPmmsyyWNq
SgNBpRFkAbxcFr599EOEOzG1ORdZkB6Ig3aWYwvBJsiq7iBQpHPc1s+F0c2uBKdTX1hPypOBbX8X
czDjUrGTbV037sG1YBdgi8Z2Y7hH07PnUF1SruJO/qzruFnHBb1+t8KJQnhf6Zg/qaaQqlU0GC3L
eI49N9qFIUCTsS8cTjBdW+YVSkD4ORMnqPcWluk7VoXqCP/34vW+cSq6/gtHdP7GHO1Mb/muVALm
hseNxqwL/b5JvOQSFcPD6NQbNCWvOUl3h0HK6spYAguq9B6QF67hLVbvsuyMLd8LJzwzjHOWctHp
Q/R8aeW9YeCuN9o0DPukHbtL1YYrOVICLOoix5REuV+Ro31Gp03AqNs8ZD8mULUP+pBdQ6QuZ6PV
IaVT0MI5+4HSbtg6Jv5NLErF3hHE3qYSmRwniIZyCj4V8OdwP9bVeIXmU0bZXddDZJiopI7WiOMc
AHFzvW1UU52DxHO++aF4o+Hy4Vd2fUSSNy4EMoKt1kPOquEnHDuSEA+N3eMQmAHKSchAbhyycc9i
fh/gAtj3oxWh9sXvMzrDm9aX404hO10DJsevoeS0c5gH8rHlrxrH6VZ4IdpvF3+HzOcqynfNC0GM
8lJNxGdb76PnIxODhs3SBWvwwsiaaZkQ5HwOPBcUyRBczaEOjkxPBoq/rngiobZY5FaSvTLU54Px
8L4xubawoNyLCZ41XUwbMoDYh22KgRUgX91mP2sM5BVhEJNlHRmJRjPZt3URNYYG+UiNzNVpTDJq
qzJYZb1ikcbf9OZ1dzKC72KlCquRBhFjeRtu1JnGrajrPPyWjbsyitRampD7L9VYnBxhkSEXgUrQ
sLWLedOI8BVFFc3HIDE4IZNu3SJ73PUmaVqu3yLSjzKWlD2eBa3qms+epG8F6H0ZaZqxE4bFieMF
T+W84R3+NgxKO0Wqz3e/loeeJGAPcTrFturAuMHcOfllZ21d27SPjXzBDhSeSXmGnSH07H1wtWSh
5d61rz0soYLul6j7aj9azkeH+vB421SjkjscCztfTtHdbVOBKmskCzNiFAp6G1Cx0pIwb/JHejCT
zp0cMm8rGk/n7q+stdNJIrMmH16wbQZf9PRp1kVHkCj5ShiGd9Zk+0Atx/1Ft/xrZnTpQtCmW4X+
qA5FXqmDqzvqkOoGI38KyGUeGy59bL1+jKtyS5cqWRLmVuxU3dtrIO+ScX7bIQIJ35NGJJu0JkdX
jsCO6YLjAmqsbEMvlYLQig51q99JzAyHwsV9jR5GbapGbELgSJfQhmOuF3haJTmpYggR6XiM/+IK
7kwO+/qQ2PmGrHkGxg7O8cRq7LPeZAnHSFucJuZpb+S0FBLaNus1Ia1oN6gYSiY8ux1GnGNe1gnh
wVSkRofF0jK3seU4CBQU4aSaiZIlRBnEnSiH/BtHe6j1DD2DEdKgbNFse8ljNsLglxnGJTnZRL9m
1iLFpn7oJpSjxawuGcnXW4SI6xYxibl4DqvvRIDaXQc/PqNGHDmLGIOSpdZ48lj3AVZrP9GI/IqX
tl+dzd7QCC/q8EPoabG2W7JXfcWAXq+9ndUwjC6sysCREBoHVY+7aaAEpBR3DkXEIMQtjAeHhdJh
rAlg1FuSL+HWnj2Xk5NK56C66YGcxXsHXzi59qMLsx9yUhSmZ88qH5m12gcrbGCo56RM9mT7qsFf
BMSnbdK0SPaGhSvdLKFtOQgTHYtVV4kTNLVrwYqR/yMAk7ZI7KbexMGgPTRx0d9nPnmlERnweYXg
EUjQaz8xkVFR8oD7h+l67J2rqovvdJtCl/ZnQLeVdq9fAkKCcEl14yO1ryw8pf28680oO1SMvBkg
aKZAase4bbW7oa9B7BXxFhCQ5G5US+KVjYHjdwh2WDV0vJ2oaeTUlA/dLJ4lKFNhTowwkHtY+tNR
Z/06k7CjMeU90Mi8z/XpbZRO8jHv9BXgChNp7TIvaItMQak/uB4q5bB7ctykt4kg7K+ZThU948aZ
BG1BfXdHlXb9UgCA52xrqs1QadFTjaz0iKz/NW+Hd66uBaIkjrUKydcimEOl0lu+FHm97nZ0i7fU
dxgqxOaT3vZzWhOZegR+hBedPNIjuO6KIYEBqg81woJcHTxeapjkY1/Fxi5ooYpDxtXPFnnu8B4b
RO9UJsvx5ne0sXtlZrsYilk+ng2YsaKR1s8IkU1vi/ooueLGCmwNkV31Xkklng0jhg+SpQLHTDns
tJiYgCCbuk2X53Lj+xPEbngwgFM+G4mfgLakfpUNQqCi82Ff+UzzgjFM7nwHp3BYO6vBNcerIoGw
mcxhpbthctaHY09i74sZ+5/Io7gt1+nsm6PXl5KUcxgjTV8UmrOFXpHxCVdLh8PxTFIPmWABXm6/
zZctA7iFmhNtx9jAzKbKFck7yDMazYauiMmzUfh37YzYqC5Ky8VEYsOmbGNSj1pSgcnWXsTgq3ei
3MvaLUHH+eG6S6qj0xqk0xBJWA/GtUu5qelR/uIlNYhEt//wwjO6HPXBcfwxVIV8qnl/t0B/Azh4
jtqnfRSsiiz77H2qtMSOyUqZN63D/B8XyTnKNuShOu9BTrxSQQAIC5Ry/DY1eG1y8VJr+lLjhn2S
BjMyRUjIkxUxCOiaiHVF4z1lXiE3OSrQJRbMe9Fp2Xf8BNCXZdyc88lhZqA449JAt5+CJE6XxVj0
dwGj0U1cT/1dGL3bhLHdw7fAytHm4MFudf4g8g1s9RK9UzA8Jj5RnLibjwUEhWUaT1fipJzvJCmn
C8pF7TXSs2xZF3X9hNUNl5Rjh/edzlGq2+3xVkLWICeJoS0SpElJfiVrK1nmSrIKaE2ZkLBofdZt
5VwzMcXnBlhpHBohJNpsa/iy++DWjfK9YswPPAzbb1UfuMsEO87UidYanKdUJQEJETB9bbBKnwlu
C74YHkYKg/fQHYyVpUNabib/oZ9a7aTH7XvIyo3mGXPCdJ7C3DZmborVQBtxyUKsPqW1HZwaiChG
/8PUAu8xJAgT8jVsDGton5GiZFtFUOdLZ33dQjNAQ48nm+sJC2J/WohA88+9JCSUUJXsIgiwPMsp
hNk2J60Y7YNn28131aPG4KazcUwOIsgdOX/rm1JWduLzRsmmUuRhgYu3LqhLqEEYkk1/3NVF9NmX
qrjYXQsIQJn9DnX4shom1CANQRlE9vJBRgatiRpPOnn29Vl/dQkxuS8GDPSjldXvcxsPOqFipK1+
GJHmLh2rxEYCo2QcYu4E6RLHJKSi06Ahxi9VLd/9dMSZYLJG97phBMboQPU1VtPw3Bmx9VJhLQA+
TFsPTEp3AcAILWMKqVZHP97qbqHvPKvHMoeiEz1YvSxFF9xD+6keQDNz6jQwpsQOUdO0bO1weo88
/Q6zor5vhS/XtgOWSFlecOzdYXzT3TX/EXYlcxzolhnQ0Ws6C5LVq7ATfwtMzDglTeSwGOSDa4D4
L/Sost8NlTB6bmvxHo7UACm5V4WWWm9eCH1j0j6HmAk+fg51pUmv7wPF8ejXefHU2MgRYEeTSyXi
8B6yyHlKLffFDTkfVWN3+zaNmwffHokJJwzk0A5hurZVyKoBF+qZsqJ6aWniDlip34Ymsg+hZaGq
bs2STMNZpZFMH6Vfm1umReGpQNUImE4ZT8Iei0XK2PjRSEQJnfLOrasBCM0ktl45dp+uxqJwMgAa
h6E+Ld06+klwXfvlWzZWmtb+yBy4uqGGaT4MXdY/bdgc4rDcENfhLzLDc+6JCWhZdyhnjQmo2JLm
M9wPffJc1Zgvu7h+qWwqkHR+qZPgIyn8mCVEneCmxn98gSjQ7POqQn1s1O2vlX8a/9A1Rx4zi6QX
7JnBD+mq5yCrszewySzExUqfahLTGiO/kElEE6lLwpc5nUSLufqD2z/foqpspTPT06IzC4vmvrOs
Bz7mkhDV4qET7nQvhPwirz09UIgwORtG/OkYMGfwucCF6M1SWugxaJHeGNy2D/EIhjT1YJkppX3r
+sJ6dvPiRD4Ive3KzJ4oKeKTgWN9ASzydezFnTnHTNBmmHOZKcttF3MglGv3MM3CisbPHyLXOLeT
QWq1NuKT9MyUvricFtKK5RU7zDODawJHBGnstyZFrOOuJ99gSnBGRTNYyNIyzsfbm5UBX71L29R6
rOo99ZkLTICGt0EbbqnlJnROyufT6Ih+bYPN2MM/Q3QZfoVWlj04OdzhKm+wowKFhT62iLXhzopQ
c1usLBlIB0+W3Rb3RVi/ZgUiwDF3+Sw64zwoaZwsL4muXvjGGecjDnDGbdkNgDda5V8qbIjYPGP3
3qeSey9YpWFkzou7IMwKEgc1hsueV9I6l/oJBTzZ2/rMIozdDMUOKrVR2sfBDiDHE4Vydgr6xW7K
LaE0GWI2hXMlPCa4GwcoSMQ3GfDS7XKT+DJbZY6WX8Ku3aErQwEwD5PGdhD3RKnfEgHj2d1CUudj
hI0yUtyFUlpSZ23AFNCqSiO1AQgzHTVmcz2h5oAKYy6kIRXYAEp+hKVz+8dUOeSHWIZ01Au4e6Vy
w6Odmmhuw3RHDdi+Zl21QkCS7VLY8HvoiS8sSaaPeaeItfG2Y83PmG3yctuZv+R64CocD12uPaBZ
tvI2vHZmIg+tHWlrxjjy1RldqCmp8ek3SQLsb9w4IEvXbqMPB2tNN2r4geWI/ikksyc67t6atLV6
ERJ2ejKSHpSFJn666TCsSoooInJS41FwOQLc2z2bWV48e5dQ4UM1uAEuC5u+yi5xzfxgzVAIwcw9
TFR2vG2SMaBLoMf2xat6fYkrnTujGOpjXf0UGRM3H9XBQVVzTxUGxbx65P021rCHUQPM0XwUMAnR
W/KEDT68GCXBq3lSmpTKjnrqoWZBqfB2jR7sEh0B7yIJWvNSimHphTlO8OBN6q3xqlIPFojnjEsc
C27gdxc/jeQlRgEF9AV2pxs5pNkZPTRhpXE5TTxvN5WYgMPScVZwwex7enMEAWpdYu4hPaW09rW7
jjLnHWG+vTZc5IGllffvmvk0K/6Qt6Vi3SFlO00mnpER+9gr626yJiULEAJ/vFfQJm+J2bfXREXR
k2FxbUwMZ4dvO92AqKRHGOv5BbqadfAYPGwMz6yf7FBnSRel6pvtGEvMd5JGYDrA3Zi7N+0Yn+LK
ZeSn22ebkdtnqXVfmRaUT1LkYus6bbYwo7HjXj2171a2anzTf2exn+yGFkT0RAME1Ha0oVZEORfA
xkPkVu3sqg22CUPtd1eQZcEsKYDOnLTfXOVoBx3SFKz2eTfsEm6vg90urdCKVm7vBmdUG+E5pjF/
vj3UQ9sBiRzdjRCNe+XJ7+kQbAkIgXgVYwmshtpiGR8eZes8yFvPJwxKY9cGYbvru/Aj7CmDUSaP
+E1tvBubCZc9hoXkyiK2PYM/+71J44S/9vYkYJrGSrcaAeVMdNLOYm5el3vNNejYGNH07tNdmMyR
BOeR/Pow5LaFpb7n9nSCFwOpKhgWEQuEnW229oPJoP0O2PRWVy43ewDN+qrrCmKHJesjSDDdKUV1
SesXqBioQevFr9J6pfU58l3Lv5dzp/m2aQWGwoUYo3BV2vWZTLPdJMTDnx7dPLdoHQMIW5S65V53
QnHX+M6DWWbD4fbotnEdmlja4NIRa4CMTVUfPjm6GTyNw8+kkz1kB/LIDQ48RuDikoCreqwDq2WZ
KmhbJ6327g81rMIxSK6epIQAPhSsxhjaqKZp8pJ3+u89zOjDhsYEOcYtSNeQtf+J9TkAZsd9vj1K
8Yyv0wBLUKW0+7I0px9jgZW8lPbPpmLO0TUplAT9GlS2AVAQTEwgTetgup11mBH4BFTcducnvd4+
BSjzd+bcke6AFOK2Rpp2e5j24n3Et/Bg2MaLyXD/Nc80c2WYbnKxTUmARjnCTDaCY1ykFezh0axP
EZqpxdBlOBi7MriYVry9XQL8+TqAAiBZtQmpddxIN92UwTJqanys1ICPmo5c2GYE+OIyn0YomGrv
vd1+8/BB6VpvPJXEAewsbNQrrWqaFwzr+iZxjHDTQdV4qSuIoulIi1XkLZkhc9Wkuty8KwUa8cTQ
H3IziKiynXZLUIOJFTZCjS0FuMeqoegOuVYHRCG+/9teYovo13MYnqCohKXa5J1r3N02lU0kfcjy
meKe56Y5+CQeuEBVrof4cvTzfSfE8JKjC1zkyiTKsnP7F+hchNxQ0Yryo7blj9w2kkeSY5z9wLR9
Q9Ch895Lm7VBnj83yofNKzqy+lR0JRVT3seG7Vwsr1nfHpUJFaMj52gVEH0T/8+eIeDB11i/WW2N
nBg/OdrbaFjVHUdOWHhql4uxfwCI6N5X4fb2oHey/qHWAqRiFTkt5fwC3NAzVS4HsMtAsNkMU+pz
oKjfm9wxwRPUUV/sPM/eTSahJG0z1VuKGeutVvbZKFrtwZtDLkbng38g21QpdK+lZSATZQFtQzfL
sXA4rD/Wklbr8naxs4ZRO9z2bpfB295tM2ODnNhf11is4Nvq1VuJP/BWpHPRI5Pmn89Lxq6hNMdv
/fy8ZOLL4sTAIcZNa+0mOlZEYhBIi/TGhsmnVzLmVyQxJ138yuT/py+b9kuXXzGonGBRBciXQAmg
iNDfY4zyKwuwyKKtB+es5s1tz8/y33v0GTccThaz18Q5VH7jHAbb+L3357nKxH0AuhRQQHI2qd3P
tz0FVJz2YCQRadv7P1+8Pf/nZdH8XWFOioofYh758wWIqPFahNSgbdMMJIb69MHKUXsKQplehZyO
GZm5z4FyiqcMxp9P9mxDD2GTh5nPYDEWwVGz3WVpJs3eEGLcmnaQPbIUxbBSS+uH33/RtvY/7DzZ
Kx3pE5+pt23MMbvz6q7C6M2InDbjB7PZFnxyVV+Ai3x5OYg19BD4dtrQ+KgdiL9+nH4zKSfXLUgV
8O4OoSr9xIQRXdfpthk8/fceJLXfeyX/HRjSgKaSa18od8uDmZbNXeRNzZ1ndcHFYmxOj5HmTkFo
vVf21nFq02qLpWQNxoJU4VHzV9Ta4TfXmw5M6fd+K83XuM3qw8gsfxl0PDS9XK0Ei/HBI3vHGbqP
hDeKiQmuvUxh/3ZB4pxjDFwLlZrZ1umG4CL64k1Hi/c0+FX90PuEl3qe+5T2zPT9olx2tEePnoUG
7rYJYnxYfDtxD60aX4dQQPnotewE7kvbaswHb0/dNhY3PvxPvCJAKr8uDZPJemfAQPjnxosbLVvE
CJMPTl8KE9DWbEoZzT1NaK9Y9LWZH8Fp/bULyyWH3JHmx9sey/NljZtqNXa0pG/TRVVb3zS7bK6l
WRaPElp7Rn4yuDSgPSNs03naxERdO/gydZcq7ce3YcC01BPSttCKwNv1FX2iCOnERSua+YIT/rUn
07u0UPnVyINvZuHn53oevReQ4MlctajeST19LJN9ZaGWgBoHS9dZ1YD1iWlswpWT49Cm2v6R5yHn
tUgZ4OsEuueVRPenZfGPqXp2tGz60HQgVznN2aPlmUtr7tL/2QzF+GljQt7enoqQfudoa57JiiN9
pqG1GOBX4qS2fnKELvABI9Wq9Ter5sA1KwtHMHm/a7ApROp5lXYITPcnch8sq4GtLScvMJ81Lpu7
1PM1Pn7P3CIasmgzi2Ng1OlXXhhHDfDrnx2tGA/2MZYWM9Zu7il5GpOYkPlxHhNG5Sr3RMnuUltk
v/do0runhI7H3tQ61BtIsSoCKL3c008gQKA+3HZvG2d+8ranY704NLzu9pRzex1jU3yqU33Jerd6
dPyHwWnU020zWeFjl3nNhbmheuJqYSyHfg4b6zMYi5FKDtGYB9e2wYUVOUr/bAltySVRzebOd6rv
kZ24L71mlYdSmzvm4ei+NKFoN2nI4HmYH2ZTDCWPcdMhL31JQcUb5fUcNfR26dqiczjfPFH/+S+O
8F/e+s+iHOuI9ey/Pfzfl++q/ar+a/6ef77m5sb/82j7VVy+Z1/N//ii8+Pm6d9f8C8/lF/8+w9b
fW+//8uD9Q1CcN99kafyRQul/QsHML/y//eLv1EG/w80AnbE//z7T//9XfP/99//8X/yoEi//x2K
wMt/IRGE/AezZcNwYWPg3TRmX+MvKgLkA9vGyT876q3fX8mLug3/+z80+Q+WpZanM9rSdUF3Vf6h
IhjuP3TJOfq37/vrD7v+cov+T1QEeTMW/81VqrsSmr/A2SildMjAdf7V3TZyrDF2cDeORSHfjLIh
dkJkoMMLqBwdNjJcoaw0S9JpiND4lprS4kYC1xIuwdFi1Lq0OuQm7RjOBMYqO5bg34jJm43VPHXb
DEB8j04zyQLxrSZA6yegX5KyJUiqSQ6F2YTHLKi+hl7Dua1JSTk1+bTeogjYW4NOpLKZ9Ecd4JC/
NlkXkF0usKvqblQeZJlj2Q/InksXv/ZVX//1NP6QeuExA1m1uTkeKtWNh94axRra6mc8L+3lvMgP
gfEVkX61tJb4rnk8xngcFb5Iu1UYW7TUHR8/iwL3BrqOm3I9bUMXVK1Nab2J1j6pEMvmjAGEe0yS
AdYfjA3grdGEgM2Q1VTY0vQ6uxt1brY+xL9x6LNlYSoYxqn8YPz20tLZWdOiReQbD1c31L/3zBur
3rZWcXeGi/BSxxMcgLDqV5GZ7bUZdewZxbfEYm6G8QyvPA1YaOLJSbeGfpn2BUUBYfZmdyAiIM1p
PjCQosxJL4q4waDPV02sv5lq7NcBfvchgGTuYDsEu8gSFBQ5q4pnLhIPXgb2X1rzPUrkJCZY5BTS
/lmMKp+25Wh/5K5SSxJn86VuTzrdaiZosyi5TXu6fGa09C2nW9IZxVemBR9ZNtcfhHFVCbNKV3Ys
VocGuISfbsjoylcKwKpP6wZ1X4MekR6OHaPdjFS7TibzAgvtWbMrRimwBQzuMJM0NsRK/KTzB/lK
d51FwdSINQTgm8nNXmQDxJhydNKy58pSb11AkycABeaZdEQ1fe+N8VURaiTsmNVQqqZFb1Lbqya9
y4Lszs+Sr3jIvzsVMMFBPw22fNEdPVz0/JekYp8oYELqM5RT5XBQYeOtPVF/aa52coZGO2qQnZky
EWvmERGS0G+qSLJI0uasLEIV4bXhFUjwbNUru0RdWSNmzmiuUGvRggGCGKKzIgihnum6CPGyIPrW
zkDbXlbxMtfdbzbmuHs7XZWFWNPr+qjs9H7MJ2+dAg1YTZ5DfGzqHbG0Lqc+LbdBsQ4nwZs1TcVa
U9s4BnsCmOltqvhwR16QB29dMXGg5yS/isJC5pAS9x7KPRne5NzYw7PSXffMgWfnfoKQTscyrvSE
dGai2mhe0VsPd9rYT/d+rJsr1SytmFZ6CFED3xyRTfxP5kfc5aeY+frF5Ra+QKwC8wMiy7G2U/iS
enfP7G6txpDOTgpsQEauXAUq+LDjdNo4ZRRgeq0eTe+JCJf2Z5RqL77Qm7UTZM3RNjal6aXoONxp
OdQs7hMiNyy9IydI0p00BxN9rP5I1CGaKhCG69H9RjkhHr3EXrljaq3k4O90EzZa3BEr0Cv91ZbB
xwhIdDVoNViCqFd4auPh0DTM1ro0ZH7H8ZNAqNgOJoRY+Kav1OQpaSyi2GR25G/nv33h65LRYt8R
HOpVLOaJTMtlrJaemMmixATqhv9odXG6F+6dZSn4wSPfQMTWwk1orfc1aF7mjhvaTdFO9Ol7W8l2
T/bkD5IM9rHumuTREdo3OdWAxK7FQD/o4g2m68qD5bnGabMde9WvRB6771FFmEnOtGSyIDqZuaT4
DNty28qh3ricmdA1uIBzzi3cOETfJZ4dd7LeQkSUjV3vlKklFHtccP1xCI+qMH5GEEAgDww/PZQu
vOOTRTthrK6Ty4lSxerQdtcQOnmoCSjk/pxEYfkXEmRmIyOCGhyLrMYv2k9Nmz2C9jEqxUb4hgYo
jR5Aq0IykYDY3jWR+zamSHQI2sA24lT1E3YkwhJTv/ryxJNFsuAnLDOEAEGp3Tu5j3zHSh4MQ9OW
Th1z3yJOWtXO8OBrx6zImu8es34AeBzuBsDGkxGSlhpaMLJJ4/rW0DhbQerOD7XQ0xc4VWAZRLeP
K7jpXW/3W3DIUO68srn4NRBwaj37exsrUG8s/6Z6yNf6gMOGbsT7hDwQsmzZbFJyyKfCzO/rhOSQ
xBR3jhagMi9ETdHdxo/UUNElFcnFM8h5yQzprxQ3GTwqbMaOe6I7oQ02un5YBFWLuRz5a4KM7Sxa
HVy+UW5E5NDeCfuS9SJr6U50lw7J6M4p221ZWf5yyiwBuICsyyhtGXBy40QmN4mlUp1Y+hGRETTt
mJ0RrI17nzunHpGMp8RajtO7laRHMULaRRMZWvzxhcB/8LdF1u+1zP/6G9FJzkuTvy9dPFZVhmkj
umRdxbRuNu7/jdEhuCfHdmLShAztVVAOAXoi8a77/GmiYeTr+sE6dz9ZKN91/HZZ+5imvWbkesLA
joAIACXlLIdw46MPamLRi9rf0IX8xJGKHtsXYGyt+ttg+ttEkfhrO59eVyTzdfdLIus8925HUiUM
2AbwH8fwUPPOEHCZ47iqAo+OVhBf6cIPW2bb5D+4TrlXcWwCMJnGhwAS3APyAMKWHERsrVUNWyMq
+OAMisH/+c2ydePfEBvQVTwhQWwgo3OktIx/W+lpflfklEAfFFfcS6D3oMeALECRzZ2D87JDZm7z
Xi9EizCiHLR7dCZPKGhmnPH3qQGCNMi6WJlmvqxqYIQC1n7VxivZQZ/KUT93XlOt0HrIDWOXjRo3
QQY2xzGSO7KeDswtfEDkJNm6pI5gvp71bfUn1o8j6QSYnXGUM4atOmSazdpMxaNq4wcEH+Wq0r9z
sSHwtqqfk54lQjdFj+aeUXBw9mYWjG+On4XJfJeOw4WAyOuQcJMCbPeB6D8ty4VNCPHCckAo9aG2
qblYOLRENpA0mQWYl8muzH0NtkWHFi6gSyAZH350makfuqp6Llwfq1GFYC6TTrPp6qPWgt/33Oo+
iNVrCXqexLn+a7QjREUFMaUBeF+VkhmQQp+Pe/Juu/AsutReGA2j2SIu34vup2529Yp3mhlccs0d
78El1ndJBRwbw6dvWT+sDuZEXBrPQ+9hoBDZQ9xFpzAxP0XxVnir0cL0j/PoaKYyuhSwE5dx545r
5efCWBGJhyS8zzNcLkyIs3AodUbuLU/Om74T/cHR/L2j0ur3F369ppyIMPbz9HT7CSNpISydO7SY
tTa2204X6UAOD54mRsBcOccK9n01/0gbPwrcquLj9gtuf9SvP2L+YkrO4znO7/72d/zaRcNDBGMz
7m/f9evXlRnEg1EzFEeCjC6/fgcqsXJT1TW+oPkH/vnRt9d4loWaXyvwX87/6O0P+rXr0cqodKQw
f77DJulgpTy6dlB+iFH2ETQYtrYrKqe4qGAoGMvx/K+HTftILEm1vz26PX97xe1hJuQ18lg8/nn9
n5e1XnYBfRUcbk/dNhOoL84xQzuOoqgPvSPehcEAkAEh/s9qKJYkICz1zDv7WLR2Qwe1k8HcV2NA
Ki9Awq3wZZL2stUfYVzrzD/zje23xaJl9DWqxN5D0jW4LQ27KVVr3cNJpzLr4HaEmqlA7kgW7GpW
zIyyHjTEc4wcBLr0aYyXiSvesl7Cu0SctvHUSmsSFjmAb7MyJInajJ4U9lp0fUdLAl32MrKBWYHu
LINbeUccxbI00BQWCnNQGtTfE0DoMb3qVaP5EpvV4KCO5gfkcl+UfbEy0qbY+D2+gCSKV1b9msbq
2ZJZusq0/H5qqpOoup9EoRrL+hUGLX0PeZewlmaQTDaOG6GrKFv5koqlXmTDtdOqdOvrMalfeo8s
qs4guIk1lMru2pCbg91vWBQGkOeI1iTN/mKBPIP1wTUMxD30HxarFfg/pmk9BhLtp509jF6mVl4O
UMk3C3OFOndYiyh7HMiiWZW9PwG0YUxNJynGP78FxcvQKPSzk1vOlwXiWslEfHdqer94guXSbLmE
QAcZr5qieSxr/GPlWxRGxnEqDlmnyF9X4s3K8zNou5Zjgt5Z3j9rTnTuMq1eSV2+RRkLdkfDNpR4
KQVZo9YaRuhvRSV5i0WKxzc3qpXQyN6Ez/1hgIEQiHDkjEuZhtBfW+aHHhp3CoNmDUnelQ4+OLv8
qJKSyZwgJaKM83tu9I822JTHqHr2RZO9N/HwLqW2rpwE10xjsZT1E0GUSdcvCgfobB247oYpP6mp
nkZcVJm/Q1YHgjoGWG86hdEkgG+SBO6wsDIzOCATGlcZgpP5KukDSx58P1mqukV5PBrZghsXKYAh
p4kcUdT0fGRe9nMSbX2oO39fG9NamF24a2FQHE2u2gTkLIbaLp5KKtFoQD7YO3CI8bloLoPbrGnf
h9TZJoH25JhjvrTT2VvVAj6H2/R/GTuz5UiRbdt+EWbg9K9BQHTqlcqU9IKlpBR9Dw74159B1L5W
dcr2vXYfUhYKRaMMAb58rTnH/NMOi84JR594VSgODdgCqFxu2y3ZimxP+97RZnLILU40mhQvBMMD
bpR7cNojVgXV7/Uue2OpAxqwJE+rbdhRNvuvKhb3iU7KECKZlr5qUUc4apdAwjYPmo7U4yzJQ9MI
WEv0lwwODISKfYKq4hwvLKVZMz+YRv0uDa++9zJnX9fuuyvu2w44wyAQNYteR1qlkaV4T7JGcTIZ
xCJoScLCiYc9PWM7EmSZiQxfSI+qcka4TwIQJMDEE0SdBA2gFQZX4wfbJBksm11KjwmsUf1IhExq
EYjA5kSf1DPN7690IvYPO1C976tpJHnSbOi/KFbORX4ls0lJ1sDJcKjCd0zimBFwkrYxfuWO0Bqr
57OZSbhC8tbOxJOhIv5NZueNWCx5XKoGK3aJXL5A14eVuQgxaSEFGWIs0h4ij35s/rp1/XawBZgY
+2iA5zoT0oc03zNfSyRyTmo2F9pN8QF3+JnUTGwnqJKbs9i6RlrjNGdfKbLy0pabf/38evP6o+sj
r7euD//rkdfv/37MX3def/73w4vrG/39Gn89PZk/AABPYa51yHK2L0xBUxU0Q/Z/bhar+l8/uj7K
zL1EBf94wv/j3pqgJMSK24v/42n/f8/9xxMwcpPMg48NwFh99rK4OuscQudpFJQv1+9bVfNO15/P
13uvN/9+/F8///dD/36p//vDrz+5vt2/X+2/fv+Pd7+++n97+t/3LYMbAdXoonxTC6Xbl6wsXLXx
PP7XTWMYcMVc70XZWaJNUA72dKzVxoxbSUN3eL01MWo5D9cvdkY+1/Xm9c7rj43ScozwX8+hEOeR
fz/o+pz2euf15t8vfL317x//4zX/8R7/9Y2vd7qrpHizFtwR4d+/7vXWv+/866UXpWGTxMhqnKa6
ep7obQfI515dEoH2trFiyS/6p4Xt0x4eq70zGwzjC0gYL2M7kXjmLbojM8BOXCJdCnFsM7MGldDg
U+l1k33VZ9nSjGFCkQdz5YZpr3+MyxI2Dl0+Q7Edyt21jJLpvVLGiysoLec+jRIi6XbEV6FercyD
csntUDnuakroQ5k8FEgrzrQC3mavX6JRmIL9s/rh5dbBSdPAMbMhKEdY2trg9sxSx29jEMN50tK7
VEPDCPc+6n0j0l2Ki7JD8515cmcZkM9wn1zM2EKBn3DZlFtD0oib99htwKxUCtenyxaGfOPIWfOB
typwwS1U6EQy7fSt2TKkJVqWZNyPI56OOpmfGhIJwtz7xMfEBdbtYO73C/tz91tK8xXFHhh7uwNX
/9tEVhGgYkO/uIG6kDtndIlFH1jlMe4GIjc9tIz0cnHXlb+UUV942dqUe6fIYDY+Wpn9Vcj5vWT5
3iNn5j9v/qw15sZN0jchKfPLrvJRtXnjdF+Jco0QKGBm8bUzQW1kL7vGnwYNGWg/Inj1z2bwfViR
/h/Tnz7HNH4wadqJNLkx0wa0Q+rYqAB9qBTszbCHcpc9Vgdk53j+kA3nhkaaQJa7LCsIyHwCu8Xk
WmdPsYTZujwZekGU4qjbAdiYLoARsKdNHvi6a510fBojZRNBKnbF7mAgfyP3srO3yOPciPHSJ71+
wBR5LzzfvtQK+8la72ehOwcqyjseax5cUu7XYUuinJEPLls4eOJO8bkHVM/K05tkISE/VlhmAhCa
5MqbIF8gcHT4V9SOqLT2UPIxir5B62nSLq6kAZseNmiLrKfC5Uy8QDEQTL1CswyHhI4Jcl6KUqdc
CNMmcQCp0pe+dt5OEDBLe45WDuXkDi4bk4BfqLhiOuP6GhWmzhikxJ2QjVtAFPPHMo7acpgYPC/E
0KVI3sv1sag0ba+tAB4Rcb3n1vyh0okxqfbgVu5yU+tkhSOmDLpBOVE2jI+KHGL+70O3a0VrUzLz
QzVO8tBw1OdxXj1aUzHsEv22/CogLASmhlbYKOM8SKqvprH/tD2pjrAN7hPHhjeWSPz0s7abN0JD
XNHDRi9wVzqxTVTnZmteu72jA6JIsRLnbk8TtQATBWDbB6rgWm3oijZEplGFYsWiZm5O6qreZ5MG
cGCjRq/qcHU9E4h1j01HHA1y3kvk8/cdZEmtuvUyBUXGKfSjpg/6dkC8SWEdjMm5NAkdC87OHjhT
zcFGyb3T25Q0wcm0CNFKaMRR7YU2c3AUVRN73lSPA7vw97KjS0MJIohZ9D4ckI70gNUzkkjCYWOS
HYcZ547ZvKZlesnMt4ndCQx/vwliz+DQYEuhXJxdhLJHysrGk9Hd4xfL94Zag9n2EbrriwQE5I2H
QaiVD5mrql8iyolHuvkrVTynqPRzZH9VFo4QP3amik8rfi8pmMSIFk+5pm9Br1S+5oc/9VNwfRVI
f/rOSDlyhyVHMY1dRGOrYmH2p4dHUkkK1MXsrV8kUzDNs7DD5fEd9pBiV9R+BxB7lgHFm0RJOARj
551F5ZPeZnekEhNPGPZ5muzadryZ58SMhGns8Z9oxK1gD1rnuAwp2pkbKWc/m1a5HxoLLkEpVlxO
6pC7HpZgJ6X/5eQ64+r5kfAJayfRa0S5NVn7iangzvIHLsQK1ZZx1nWC3NjJsoDOl9iJCdLTHC7M
dfZLM+mA+D4Sb+NpyhaMdiu1eYwsdGeOehYsDs23eN1wnT17s5SElC7ZIk+1I8vYO8kP04NXZm9L
zc6xRZcdLCuxGjSDALBp5bNeMHbBwtkR0d0xIooLJCyJhlitEfFer9kJmTaSfb/LP8jCCRrUpBgG
0+aeglCebWifcaH4Q3p4cXRhvw36A3I+uA/2XB0cpAXKelW44gxyFZFCkeCqY74RbVe9us1XTkCQ
ac/lD2wkT50zajs76bSIaARtZzhpdpRjkd/6FeHXcxs1hXEr9VoPieRyFkJflzIOk1Fn0VD9Ka5Q
4E72h+nCauhxJwbllDHHFS8qgXgGXS45VK1qD+Rd7+eOYyDWcKw5i8/HNcx7V3RFlDCsISNnyC+V
433FMImOgEFBImEcczp8FMolDVw1ZRtNVn2wKmKdrJL8qeQFYK11BvN/Ewu/PizbBb82SF8ZSIBz
LKdm/qaNO91n+GUTMLJnAT9CIJaMDqHG23QsN78okiWaKRpDNVUzREwM60nLqkuRN8Tw1jjk3DXD
qWlhCMrHmfLVoqpJzSelt4SkMF8w8MbtUWCS7yrw6PTGs0IChus+ObDxf0tRZN0odwd3ezkLnWQQ
IBzrq/yl9axjQzXEzzRWbhnDtgdjjj+gSWM/LJOLzAREcdzOXbJweS6qOBgA0EPRLB6nNL0v7D/p
gqgb4z0h1ob9qzEs9KHERZ7Stgtj/O9hXcWfxSQis7Wr49Qx1Gws8Gq1xhHWEc5xgxBS7KoTXbju
XrPkeUWkDbKzdPZX3bsFRem00FDNPMTJVWa+StSL8WTfmHgrz5qOFKgy6oDMVuPIRx5HBS4p3s27
lL73XM28Y+2wOedaiPmGkKWYWWzK3gyMlSIwzP9yOPWXSjQPvQneWCJLDTpju8raHr5/7yXJWN9o
GLL/X7xy39tkCxqzaiPZFAdHU5JW5YxoqZMHhm9Z0CqSGdATmvvJecN2mNw0Q/cD9nay12yIGXP9
Jhnm9HVX7yF9Peit4THQds0A64UBibdhSR/iCiOmD+xyHA5rWerhhAMIr10gvGoKfApY1vMxQlD+
VZQlmjHGtohxqHlH1e2nni7B2DinymacHGtR6RM/2KfIhbN4eYYh8+RiSa+nTmCEXfJLM1SMRHp8
rWNb3mdSEIc1l+QEwlLWlfvTjTl77HF2ThzNL9OM8cnQwCrAUbmbRO/udFleCqsZSRNPqyC15oxf
Sf/hl2u7NzKzOw4WI6eZ+spwvzxDsaxIWaMKXaYLwr15bzquvTMEUFGdG+Y0rYQslUtIVerDH8Wx
vZEh6AvRA6d9lSLGCGjgNlCV6Hakq3s0/Yr9e2Ed87R87gHaoHF496D1AHfrBgLsoynJ25C12tp3
BH+XpgwdB/Qfq1+e4F2Ab80sNM5+6dqdmwInTS3ts3SRQEqAkBDguYCT9AWNYF7Itqr5Y5fe3B7W
5dFyyB4c2hESngPbAAoIUTh9va9H4xnb1XRyyWty0UAEVb/pGKNljiqcB41ZzDcaRgBK436PlKqi
mkhp4GHrJ3F2BuGCxty8RWu+QXGpfoimFmgfHOuSWI22E5M897SWdnm9PnA5hpu46QhqU2HI7dcU
vBtAseqdw2/DNaE6JJaUlCl8fZHyZ6rZbvmaC+ocLCbsL9AZE3yo4lAvCeVL3rNGPpubdlLHXpWp
Ut+tQo8cIrx808SotaCIAMnH/jNyhGTZsLCXe+u+biryzukkMvs3tCgz2nsWneaQEvaH8oZSg83E
DvnvxZph6jWdfPU4BxdjpCm4XUDnsb23c/FYFAziLN191vzhpl6dG0bLLdul+TApw6bXqXYMTmEv
SPzsueu+JAlSXr3ZZwksrsKBI+xU2ho4uMMNjaVTH23QxDY7Oaf5DQrnN3G87m410PU5/N/AsFRP
vYWlQvRPwL5kQL59ee7msBIgi/pKlVGZIDIxC0AtVfvdAqNoXOZN4qdjSwuzVQMRoSde03R/Qa38
WB0XwWT73PvKDrW2/J147sO0pUkAPKUhuY2Z35IFnJIwsz+NknfmADYDEE8OumY6YLNTYTnfJcv6
1QnG3barEZ0OE9kesMOhFKduJEaPpHGPhCnY2wz7oSMtE6lZBj3ukcC5xq+xWCfus/JRWHraI7na
TjQgWeqNXwwlSCPvJGa4Qb/NRmrDFVXrrhvNYo8hgRKIYweZy7LaUEPwaKYqecxmG+zTtESW24h9
EsvIoTl9ntfxsS6n10nlkqwNNLRe+bX45tPU08TrN8hgTsKTz4igrmf7G1XTbl2rwGzZBtWj9W5a
8y/XGcOuoyboH8bS8kMLkAuXZVAzmliI9ZP3Osj43dyZ7ZkEFLae0t45j8UEytqyN9++jQQLlX7h
uRWygOuzj3PvuVEm8tNkDWyZSKg5GivylEIDNuIgJQh9eSCEYAedcz0a7QmdCNmz/nyOvfK0zDIL
DLKWQwfiQj0KwFgfhsB9khcRHDx1JgLaCrth+mSz+jlnpnYQIPd3ceI/5HnJ3AAznZnr5zFF35Ra
jDG68tSU059h6TuU7FW36+W0hLVi6Unz9LK4QIsqf7PxweOwyOXk+jK8jBPN0irFPODl0Rzrr0MK
9NXXQJnNKESYcaG+isfhFpY3WzH7ca1AxGmWF7M8c6zPybRpbdqjkNXIJXMFQ2TYcNAmTFMyueDr
gsQKshP0cQwpJGPsWbvgX5fJBiYTAz63+6jVYgya1hqOmm7sLFaw3ew44mCPxxozcFAORbVHzPpj
tFz9kMjmrU6HbI9EXpParZVkX8iDPmyXiDap1U9k/3CJk0tERJeh5U1kLODeceGTYqT7ACtzshUo
q22l1lPmqK+UVOWBGMQ9hII2gB/YEujngFhoEf4ZI6odZcY4Ml1mp3D+Oi/3KcKnX7SvObK9ajfd
Cm1rcrspzgxha+GUGksEDOq1IbJhax18V8o8trC3uKCOaLozGaA8YWc94izfVpZJyZz4P/PctNmW
v1JOAdqWGxuUUb5O2l7m46UQoFrY9tMQqk9rwUxjnhkzZU0pdmmMemjcdH5m493kziRDku0Y7zd6
EU4Jw9atX4FO/i3Rc/O42EbASIbrt5AvCht/DUdbONQ13bCyD/imEdzD/aFXReQQI2oD9vXEESvW
Ij8MLZPhjCK00ecSV7R5IisAqKpeuYfSZqY1zHN8NMsfVlNeJkUH3XR7/ynRX5Pmqc81pBw0cajb
zC8XBRdbe1qJXUxkeSU/s4pNzCrSR66ZQ7ho0x2FAOw/sbz3k0nC8aL/KpL291I8oU+7y9bmU4kJ
UYd0gYau+k/DkUUEiuG57xyw2qVELJWhgk7QJnmoR0Ks4iri3Zp4OVk/l7Z4HWLp7Ym2ZGGSB3Kz
8SpYGdF/HUPt/jeWQrE3e6kCg/0LionxsWIORsXLcWTGv5n3FGz6xLM7nOTiPlZzCxeqjInNvovZ
OiL8TJ5QfUSejSpC2qRD9VVx39eA5bK4q3gALcm1K1hBXFif8lWNDp+ZGiFl1h5/jq14zzkDawev
oDTdL7oZGx+eXaEgybQHB79Bi+fxM9eno+aCKzJQ5/gQV9KmChi4HOR2FbcnwgRhG0emgdvccbw9
WRKfzPHbYG2+V8dRkZRYplfO5pnhfZSX3e2whEbiYKuw2p9kcaLtIKiZDa8n49esM4iDhMrR4Ydx
UaKFuteDZWGw0Ty6sfolEjbZPT2dedams2rhCshQYXvsNxapheLCmjIaoqIBpqwhUFdzoCNCCrJZ
PetJG1FdIzPqRMUzvy21Eu7IVblSWhMly/CJf+AXnACyJUcqOheiBTYuYCk1XaiGtKR8hZKCgfWl
UYCXrl+Wger4eov2nY47EgO+Z5KEm/g2zYfVmI+5QeGxgE9oB1CJLQi/I02AYwIJm9hZJvvQZdnk
NoyJuOpxJ58N3VZndplNVMI/xvCP6VcW9bHJ5xM0rR5FXOWpMLs22ZMOW02pFlQXnfvcSTjYa+7f
MSFMdldcELwxhnKdc+BfczZ9BjS9bnMEtvPKRA8cCmvfNsC5/shhMrf9St6lj13E7rY2IYMXjHbi
bZRTaYQYFjXPa2xjHyOjB7RU8HdtFkykTNmdNG6jAQB7zmd7rDtm0Hmf3HQNPD9Ig41kHJ9l8Jfq
Nj2i77Ux0kbpSKIUg8xi182iCdu49nYlxS5VghNoWZcdgWtWqE1qekI17kG9d4aTPq0viTOpB0I1
gUjejGvr7ONsTY+rlZz1RWxNOJqiWF20DnmSqOGJ9StdYqCeDJs1zF6pQ7DEjHQraOZyiXy3lOcO
mMcZJbBDUw0zotCnG0pbhn5k4yDRoYOk5aygRta+JWLhtDA88khWG9C0UbodAjFkC03XAitjbg51
c+3O5ehw8uog/PUS2Q6EBXaiP0pPvmY5ywzRN3tvS0rI8jHfyVUHhEOhQFrRiwKo5taALSbj1Zvx
HQqxH/kTQBoR5+trX794XLD/817X76ko+rM2gwubB/swbbOV65cELxBtuxbaIDIJgEHbBMMzaFE0
1hc7srvr/deHQjfZYoOz7OC0TGqFu8AYWCrEu1A666PcZmooA+ozYM7/3LreVxn2qVuES9hXS2cj
K+uABie/TTf0+AH1/9y63me3wNuz1nZ3mZkdDB2zmVfO6HIXk0CuGBxwbv0eMv0JJAaGShJ1d5Pb
NXuVdcQXWXMbjNNH16TN3oOjeAZ4ZO2A3sYHbyYwqIrtO9nO9e3i+VwaS6TB+aA/u1i5cGWh28gb
XtTuL6wpXPUX8DMiI1horj70Xvyxlzbd9+2FHi1yWtm1+EbNBN3tOx8gQdsr6PJ+G0MkGxjlj50g
q7Ea+2fiNs9Bk0LNVndVbz7Mk6LHkv4Uqrk3fAnR3bkx9foLBR9PzpBk+jU6W/Ye9aDvDah609Ae
3aRR9NgA7Yj6kvYzeleOOr9Z3nw4KqHUh4kKzrgHoXUD/p6guJihszYQ5ev3D22S3ckiZeeK/kxN
9tOUZD+A9e0J+9hjfm/DkW7CwWAWz0iC4BY74dJoPg26fMhtxr2DvEC8FwEk1S5M5jgN0rt+Fh1g
pNY6EFL8bUzmnQdzCGgcYWl4wAujpISQSu6yNfmaCfNJ4c6G8D5eM0ZNCy5DvdWO/tIx7ffRliiH
yp0EdMt9G6YYyUoy6Ofrl1Tmxok4hKeh1O/TY9Vv6tLY+Wx0mdysYv4DTomU10b8SLX0czbtZ8KC
aKPmoxGl7kNiF5AfKYpa0zxqFftU6JSG3HZSGtY+AwVa0CnvNs27lOWEUNm53w8o8Eatex6t6p50
HG1v4/XGAFTTvya6oXcS2tQLDEKvureFfIaQe7v9U2bx0lvi52p9V8ydj20NjAjNNY1mU6FvY9st
1pS6hUQtBuhclqb5cdA4ZmfT13YL2i+c3yDCRrkv8qGmeWXf8mFRhKEj4CKuh2lLKyhld2YVVrTW
48XXFv/Yru4b3a24bxEk97X2MBTCOFAZM3evQf1Vap2LQ4FnHG/cvdTBZjqCTisdD2KhCitsLI6W
yhU3prHe+LJ+GsFxlkIdibrZwgq7YfMDAohsTy6nDtVg2fOGfYnAHUQDBaK0+AIp43z99q/7UNhh
R9vuzLD5740Oxm/nJYEYnvW49HEqUEe6nfy2dJjRflaca6RFh2UygRuQ4RGDBGngGd/oR5gbyUlD
2YDTIw/SMTmrun1o+nYMAdQg9K/y36rPuOGB8G3RohSD8iKvNM5Wnz33RvdUIRW2nSEYMA7gOUk/
4du4gUUgjT3CVbDpnxSl/oDp+rYFKTtDqebTk18tOn50pjr8Y12xpc9vE9f/tv2+2EsrI9BHwSzR
vtDl88vZ1i/SoPazA64R2Z+zcyYXkjkaEqWS7OgZxY1drhC0TfovyrOMi59j3G1Bq+xQU7k3k9Uh
cPXcjPMa00HWcGaIOg6qxtVxECh/X8v1TStd+aIl6CVppIdlxRRrXWm2/L1seWOVHUZYhjuGWeh0
yR2DLm2ytcqYkSm5n+xUPEq3Rzbr2y80DidGKCNUAbl8oF+qozitfcg/98g9mZegFYXj2GUHrlMH
0qXuwMNLEgJAhvR1Ekmd9h0DWIOLA1dNHzMF1aftNGEeGzgS4vEhtXLtNJuAbZAd35Lvc6oRXHI+
At+sGcjeTC5jM+U5ZzKALjYdfo1a52QUZzY9+km0oiFBC0xM2foy6MjOi2JDPtK/9w8KNy85JNPZ
zb02RNjHKgCXeCQLhpaJxjhWNxRLNnsyXUexNG4Zqy2VxLg26660vT9t6zH5xC8/FwwIq97IA7ZX
b44ro8bBl5POlfeYKusAv9vZmVrXnQgI+Rj99kXzrCODIao20w68+UStdpPaGGkGv9yva/tiZNQL
Wap/LXZNudrtxue+EA/ob85Ly55QcdLjX8bSsU6vUmevTHwFPVZKfc4M4LNTcXJcfLrsb4gkJEBF
/ant+bkHDhZ2ZH3R8v2q5FtSxX+cWfuZmivN/pbwjLr6iu3k5FemH8aqeq/CVemPZeL/rDpGoT6T
Eav+DZmM+e9MzwYeBpnof0iKPutZGYy4pxmM3a19ox08Ug+6FAbG5jkanOooq+Wms2iQ1EyoAO+a
N9nYnGoHt0DH6yEKEIw+qkEn2dbOP2qtvudK0eSKACr3lmHJbs22rY/7YSGA04Fv5Klzif3pohzr
JpcVLZ0+oesw7B00+Phm0i8rMT8a8rtlU4+BJldr12eET0wkrE+ZS9BfGrWdbbI7XX9B4Qq1eH7O
/fm16R26TDKi/8MW3gcLrjX7KZufG3u8lyglTM4tKGb+T99aHhzc+Kyood/Ej7pTPLGB6umv0Fwq
GcO7EJpdAfgkhg+6VslTz1ylp1Xhi5vee4+75ZELVwlWxsFXsqM3hXNPUMP29hDoyePMFC10K3vY
S5KPEPRp2I5g+8RNaE3dwVTdWTENx1FQf+RO+eJAl7VE+sxoiI/1lvr0HprYRc459b/cIO67ygFx
CA+23xE48WzWJdWMB8VYDpd6IfnTNn9XBbXLNI1jKD2fJzLU1lAN8AtRK3dsuasWFdzmwiI7KQS2
jqz1BMkuKhr/5ENdL0ZjDPxphbhPQr3nKGaclmRCQP65Qz5dUNhEjiLG54C169cZ1pWS713GqzUN
gQJwX0Bn9h9uoYPeaRLo4tofaYKia0qOKMxGD7VXfDSHeHvFyWIn4IPJWyH527WzCTlmZgPN/Vqq
B045+i4z/d0eFh3/q/dszllPk+lgiel1LJzPeqkdvNCrF3bA6zmSsgyPIl2t0gX7t5qHMh+7gz20
lFIFpoI5faoTnXXNQHmxep9twYB4xteARPA9a1FepjF7yYI2FrB4hKvtTYIsMCoswTSVVa2lexGa
eIXdxP0ugHPU+hRBm7zP6EJ1g2mcU4ZjKwQparcpPmjW8m4hoz1j9Ds2i3WpaZvusDzlRzNBaxwv
yyc2gvt4PonYfV7d+msSJcOMsXqFFxcyoah2vZhwQKb4JgesaZRZDyTqbPD4fdZ7am9oLr1WQx0N
qthUtTw7Zy3XNSBr2M4wQb34gibpKp1jQr9tly1oNVlPFGfdW6b3r9sfqenJG/YE4wffgn5lN6Hy
xA2yoNh4syEWoQ+xT5rx07WMz5kR7Zxh6mNDtuywfRBpXF7MSkPYsMzd2YhjZgZcVkj4I9WuiH/R
BZz2mt59JLX9R4nPXEu+Wbt/O/YNQXg0y9b8nqP6Jq04uctCPnnlgyNQt67FoDEmxYMDgNtJxLdu
P9oLeoC+J3U6fvCV+5Qz40UToz3qDaBEH6x1XHRHTeQP1bDew0oCDtsjiaC70zGlYqZB3wsVSx62
EmQsCY+jBnm/1Q7loP12PWC4LRmF7uQ8LTWBzsLbrXHKpZ9jqS2W10YV76uffjFTp0XgkwiA6+gD
fy5IuZ9y23BYwQB11EeIw0aCQj+neikpPi3iZ6k8GcJqx9joknDRVyvS5/gutzlaKoupFoYj3LD0
oiMJ9o9+NHxm8lx282iS9ZxsVZ1+BLbxUzNb61LE+gFnH3+ejguP28TPRVrdjxlaMqYPCPg93t8z
0JMow1J7T4KvKFsQqcKwb50MtvEWZFiYNg3Je7ASkHtpVi5Y0dofGo64QAHy5r3XA3D9i5NC+dNg
m0IMSn/kQj/3RX9nj/IRa8ahnxz2DsZ54RxJerw65CokRzlXP9TM8gyJ5Zs+Ak78/JuS5w/kWw4T
a/m9EkAxV3yGGaUZaDXmJAVDoCUlI0JxZahWfk3fo6Lri4UYl/c1d94zp3udq/5dzgP4n5UPqIix
k6Sme8z7+LGjy5fm7p8yTfNoZGJOv+rdRFmyW8fmZRnYvkv/oDFVj+j6HInqRKMTo7+Z71K3++X2
ZTRpTLCIdrn43nguSemGdjJR431l4JIjt+ovbZ8/jX15tpYkdCG3IrhgbZ3a9qmjKUeLz2CrUEfu
LMGlxPWHVY8ABXSw/J14gElOPETm/WjYj3e2a4Uwol9mrT5Cn3jnFJVHnFTrqj/2NUkfk+Z/+hnj
Mnejzam70uQ3busxPmrJSLJT9e2miP3yyCGesfb6sNHawLIaBBEWNpoIoxIZ5zMKBoMOih3HnwYX
v0H3PskMxrKGC2+gLSSIOgvyfPkm3+SlLPi8BtHeEw70wdzhoSqnc1Kvr9gaQ7qMtI7c7EVyoWOy
Pd/pNGy2zypJzRsUIX9q30Hcf0kxnO6p26xdVRz81ZsholJKLN2LKHBtd9N6mBAE7m1VfgmG0+gE
2qOJrdka/FczhpWSVB+2YdzPLXVXist5oSmk0KWPTnrYPkqjX5/XZBhCgMOnpQW2Zm2DiDV5sXwW
T4rQxo8PPTwQQCTMLxFx0XH7ybQd+qaJHDtpXtRcMLNBjcdfLhrodDYo9jpGuNCmCHRmOiTdx9Yx
z6M50kKbg7YTkY42IF5GAuYrGVhwK65noVQc7SKn66+LXyOCy2IagJ1M4Wgbr51favc9oslOm7nS
AaMDTzbk/q1eMv+DX1Ts7Li5kEvClbUZC1zcNMqGmkBzxZBhtddvzB+XNV+31OSE7f64IMvCaL7U
E87x7r0fbJP576wFun2nFmQmw6K9OdaCNMvObxYQqpjGtkT2plvPqKLX85B7A1pI41vVfQseKQU+
Cnflcv2S1RNdkYkuFiqilBYBUM1UMIgYFw8VfuNZQbmSiQI7vg6sXtwhAa0PI+TuiyONDGJinF26
qsHX6nQ4CLXuTM3FwXO9ee1A4b7aUUjjBnMsOxiH/GzSZITQOtanUnT6MbYzaMmjrV0Sh1sypxIx
kvZEEakdwCKdTDA/7J4734cXTfb2TtI1UVyTT/TQsTpBltxfu2QjpzfjL75cvxWJx8xnjrPQmXIP
6aLjnjHcsEbPeQ2THIl8bhd8kfGyRYsydd/uE33J9P968/oYKzeh39oUdNQggb7U24E1VaG26aGv
X9oKu8ou3pTg1+8zO3B04A5lbi4Xb1O6pCObqMFdwlX6xSVLc5aP682xKp9YnnED2qj40f4g3r92
4ZL4KMuqeshjjEae8G6pJ/sFMIqACbPasiUxs9lpS6qF8OJ/V24V312/tOMSQy6wu0O8zj/bZA76
hXzqFUEZhmjryewZZ0zTqR7L5sJJSnHbe/Xl+i315A0BueI0jDNJR1qyNxMvv/N7MAwkU+ehn/v2
zWI46A+7/oaYrod2HD9WRvPCm5oz3qX8OW3LqBMp3gRyBiLUzBlai/6rmvSfuoVo0P+NinNAqsj4
CDDAQR91/+xuf91S136sGReJWccWZn1N9bQd5WukelG/5eCQkN6475CcROCN3qfpLSnqSJemlFXh
42+iTnb7uMWg1TJt2y8pkSB56v40DKWjEmQX7yYxbcp0tMOsJnnMHVzyQ82gSwovXHvA51PL31cs
28ys1NvzrHxqoetNx/Y2YEYZTnpcHf9+CMmyLeMWk5YDBTlnJ0Q6f0wid3lP4gof2eAZCFfm4zi1
xm0zoGFIp94Mr3/mWLXMexoummZT+DuXg9/KuuS0/g9757HcOLNm23fpOTrgkZiSBD1lKMOSJgj9
KgkmYRLePH0v6Jx765w/bndEz+9EoSp5kkB+Zu+1Cac9pi7iMBWiZLGQrKwc9ZBHc83khMkxszAX
oWKgQQdee1h7tkNTodxP6qV+ksfaSuInEx4ELulfTt8NexXLzyhi1jbV/cYRaD+wxiyth+SMbbKA
1dpwZ0z3VgYlIKx71Axe6h8jyssE5tSuTpMrHs8ARPa0cxM5gfgp1lmMf25kSLxyyKpak7z5PYtk
byUVvFFPXHjK9T0QyXWsQIdbZtZuzdEZgDF1MyHrD55v86DUPAAeckT8TydmZQPSHRq9QU+ah0yF
lI5ueB6imUvf6+q70gTP3ImcuGWTmZrBHVyFc3SZWYedvLIlYHNujk00nWF0wwCJzNWUs0WZZ9fD
SRrdPFmGt2GCqmWyyIpaMHC2oc17VuMVQhj8k1FaAzITuygrrSfZImHLKQBWCCn3Ho/2o5OjFtCr
6kELxzeV3oa8Ko9DRdwvlrTffqPkUaOSKRXNJoJe1Y/loxExC6j0GoYm6qWjw7RBdxnM5qPyA9Kj
a4aKc73VfYlxz2ruGRdfBHID7uPjvh4MRM62jlAMT8bOMpPbmBSP8EffF5N2AhWU7mxE9p6ZV0py
0vLcxNnqBPTsBuWOKzjBiR8djFz+1dGbb0YXrnbeLq575ahLok3cGJkC7ueILWFY08pVc/Ju5eN1
Dh37AoJcHAybL5ry3DvZnpED5P/txXZ160BKH5qqDjKJdgnrWvtCr2KeTIHUhBlc++JzQINreIZQ
9V4v4AvEi+2VQL+1tO35OV/eoMs7mG4ZMiwcSxAuevqK3uxclpguI4toDTFoR1bN2iYr6gFLnZ/c
M/J5gN4SAlp/sNGPn0YNV3o2ZMnWgeCBJBaR89S6xH5GQEBba/pLzuhRFZkWu4ZI0u2gxl/CDXGa
86pBh6/2I/7hiNcXI99cV5/NPIKK2dV5bHzbTfMrIgDpl9BcfZ0xBDgzRQhGs2lJKEeP6SokNwMv
3Ofcsu+AkIgDTeuRTM6V0i37s02tz4k1Ej6D8SEl3fwsu+mJmBj/1NGxo6Z1D5k0X+lDonVTmMPO
9tPpEX/IrZI9UJGpdLj3uoyw4H8GzoARw9BFSlRdE/wQCjgrf/mEyG+kS5foNdYzEXWPZcWmOJpk
y+2RpQ9ourMeIwXwiZ55Zp/420Tqy+sEL2Xib/skGt70ZAGTR80Frn4+SYvBp1afKtTedQ4ZNdSM
+dS43CVmInYXTvvc+JdB5emJOwX5hqIgNw7+wqhXzYPh0jM4tW0HWkHIUKzX+mupm8GsdIGzfaY6
NZCS0X8wpZlR+lE2JneIAVbCtKxzRoJVQfLXsav7Kyqur65J63MpcMdpxQTf/oS5Pd30AlChKAT8
HJvIytKYtKekIELA49qajPhKb23Az7FxmRLBE3CWlqtuFMnBXmwSJJl7Z73hkiglTVZV8jofeveT
hCh56XFYWuNEhAWW4wfR9LRNLa70OnzXlCkf5ggxpTTZmVg6I4LYRw9SMczUpsU3nyPzRGvAfr3s
4fBZ9/UI+gHYXAXW3d+zpZevpuu9E9twRm7jXgZ2l/zOHSs3IscJtPmdRnBA+uaTbiMKHOSIAF1v
aVlDPmoTljdZLp+rOT3hNmdC4Xn9XcXTs6c/1HdsOghlZw9wJ53DLMrwtXBdztgI4a/dKvdWdizJ
qyVfCY0spodOjlc7ieqABjjdaIjBVnao3aaOCRV6ZrZjlscYlnw2I0OmH/PnbBTUt8FS3XlEzFXk
XbgF7YRplpbq3i/dcx5j39RMiLMdW8WzqPHytwLriojxy7cO0SKqRnmvCRY6Dileqxae4h6TAVSc
7HfiePrJdGxrWw/dbxBgyV29xAE7DETioaZGjaY7FI4uMQszOvtuPOZc5sjLLY9pwMgKBEAFWvA2
SGeXM0W/yFKLjpET+StllGRakkqDOh3MiNYKUh644ffFkAdKz0nwY+eEbiHZtyr1A2+Z3NXoh9Yy
pTS2hjQwEqcLmn4wHkhp14wCivDyhnTPe10v462O4noowelw8xWfneqMmxsVNEoCrIjTfTbpdMxm
VoVt08ZQ7C+4I8rDbHTu794tL2GdbrBHQHFcnl9T9xVMaPL4ct9mXjsw5/Igdk1MzDe8yLmUnFdE
PS919OZ4gvgJPB3rPNVueUEGctgku6S0UJ1HKll5od5vkbHJDTWIFXhZ+FfVPEdAavaIjvmj4Pls
KsP+1pnjHC2zyjaIcGGhqtHaYvS7NL0Tn80K8mneKS5Dvdh3BNZiZ0b52WSSulGRMe6weEULrKHg
K/YA+6FqKRYoNcOAwTK9J+wvT3FhQAVyBkIyvDTlxot3ozP7W2GU5ovHsBx/iD1AI9r8HCO2T3CT
ZWsa1HLImvxC6ooACnUhxL+j3qHdhDxnBkOlk3oWgyQvkzZeJ4T1rbVscAFpTyhxi+FZhpjFa2tw
fvlp9ph7qbNNB6DQZVVW+6RmM0rcnkwd94MdZhfUidi4kCiUZWobi+Z/woa78cqk3uuIVAu/eDIz
TChd6rrPHVcuM3yUpbkxBcnMDsrvENCRQrEjs6JmhWvc+5DTjpocdtPy9JlpA4egm9gF0tl27iqB
WPLBtuipgOUVzR8kErgBgYvt3uYPYoAeX2XYTiubTcMGN7d1JA8QCok1NkdZdP6Dw82gE25zivX+
fZDJY9+KBp5DnZ/JsSc8g+EsjhYNXWhjRyuHJevWCm9t2o040+gw08l/0KfwwPa6WhEJ5eztUGdR
Nxj1XiCQxVyOlhXQCbYXDEleyEFcyeVbDejxR7Hgaudm1wCpbDuhkJvmV4jgpG3qyDzCwUbxXdc0
ytjJ0zaMruNMLEOZkqqoBIMOphN7HzN/wmGD6qKK3sLQZB1okkA1TfC1GLx7LSNtr/EBE6XqEDNX
o7rW9wbD1o0J0INXjUTgBBhqY4eAvgnNHA/srLVHaUPqIfP32Bh/lUpX36ap3mRY3RB8a09DZT8T
fBF9WQOZPnbbbnLG+Rd7kJ9+mLqvUse47+REGWZpAhKKB22Ff9zYGcx0rrGYKdabMvntZo9RJbuv
fsa5PyxnctP4V7LEk+1Q1eKkp8rd1oyo1nz1NxdtTQIW2SW42bGXj3jF5zKND7JIH3CLba3O8x6s
Vry5DJmwVzoW3BG44A574TQjT6ymejpRQjgXkFLDJkcNQHU82A+W+5ByKL2RiCXZNDOhpHplIeHb
KG2pHnvDV2xkEdWmkuwxHvxtP/AsUAXaDw5LX/ZIjcHrxfxyWf5t2h7hBZ2ztW4VKh7TmI+lFt/m
HnRYWbfA/9v8d86EHL6ERuiMRfZ8UuX+Gi3FSBHVwaUYQueXbnDeRL7NSNkj+JO4pm8pGycoPXBq
gu0fuyjzIRakYePt2jZTbQY/p64aZQAl/ttNW+4+4siQ4g0lj8RInqBiaclOi2KIAWZxyyO0OQpr
2aqocljb0/BQkxpyNKzY27KcNKjDxmuKJWnzc0N2S/1eNE4Cvx4aRQ8LcYOMkkqp4Namyq85Azte
QsdasqP7duyPs44jR1XdfRhy81ERh0U8p680RP25JkKQFMVxDQXE2oxz+2wqiH+o5ZjmSEQ6jA1Q
vDpIf81xhtAQpxha+y1jM8yvRYLyzkaWpYeecXB0i4TYVryG/rvsaCqobeMDSn3GZLxWGqKL2Ipy
TCR+luzA6xSX+CoGVnXYdOpD6b80Th4emCIMBLSQPRcSBnCaFmm/YZjlpf3IBwAYYeqvHYegLOwS
AIOc4bnJYXoTCUaWqYpPQi89ZLBohjUx2kyrjOKBsHMMo8jnOZVsf+fKwXsIy/leIyf5sURNktZd
9pRMvWD7GV8Tv24voIteirEHdml2V3ZXQJBDpDIR0eU7XGA3IbXigUdmHXkLKnJq+5XnZfzTZD3B
OuHQNY4bjOKABrzEp6ewfbVIi0LcecsjutYi17kjQbzbcGqnZ2Gwh2pdtcwqXPvJHZrF0pXsUgM/
g3JI2uri0D3KUhIFWLrawWROSeI0fLWhid4mbQqxXI+nKbbGh4LvIDF9IjSKjUNUaofZBuLrK7N5
q5xrCIvoMSlYbzRj/dsbiujUFDRnDAfiinNZmSbqBFGrvVEMWzPTKSQ7+VnLNISuHDPBSSmcixzZ
YYPsbw33DXpNlw94QvXvKtX1q2wHlhJ46WxNnPNy4jnB9wtDIsf8W17nrvpKW14ReDjyr0JFzChV
jKp1snixMxzJ5Yz8XDcQruN1JDtiPuqWWe5MvWbVU94pzZ6uNnymwEzHfcpwEvLmU1myV4u8OjkX
EhGBY6irMBeNeZtj9mdTjz2ZrVYj7wrL+O7IjgpCq+83LD5wmBRcR2pEz9XHo35wUv0Lu2B3Gf3h
cUB5FjYq3Fr5tE+9COanzzGsvNHb64iBYYcb9WMr0COXBjnkczSrdWXSQA465npUTTb7sIZyM83n
DREmPDPUBGmYXCGAPSndFoEtUWLOPTgYOWpbWJG7prUhjxXUtCFrxwGPBFQghXscwRsMazdb09mF
fBHzesLGC24RqwLvzz1rBjyniNPRPCenkjP14KpHWSljx+WBuqKsuFLm5itjKLexLaMNQnnuo8Te
lomUQWXaFyDOgIqiHEcJO7MKLSG61HWsD7jUudGWbbm3JI+Vhc8FZxaIlc789MdRoZScXy0tQ3Du
MyXsNBQBuBoqVqC2s2E9iNY7NiH/Fe9Z2XDJhdrBLfMHPW8c5lbeThmHFu6SNXhkKWpoCcv53OWz
/dgTBTnJmN7fm0g66WMyHsIn0niqg99ld6OEYjrMGP/LVsQH5i04HnCYr7qpCkkwiByUvgnErw6Z
F4XZuhTxdxh2xGR3LG7uXNc2NoSfsA2T+pnJgRm0wnBhP49H1XeKqFo2YJMrzK1hWcTTKYkDTWMO
gtiRudiYb+P6nW6mCvxxPwzTeVD4UPOa0VSFsJ8GIKdMOI5LH8ex/ZM/CWUNQDwKSKMjPyn0rPdq
1MpTOPJcWgB9D7ZRfNhO2V/wZncXqUqLKHXYbkyi+3OCBOc8yuTOGutp//Mvv9wVCN8Iw6PhhxmH
y4mBFnFMfocGeGybwzCngmcLT7rfhNO2lVW9fGkYeC5hTRHowM2kyEf3fWK6BtCt51wkDyYAqq0t
Ztbv4FDvrCSKNnE01Xuwb/exKW4JyaCXzvTvsCups/sTDIvYIjBdm+6ryi5m/DFwsTy2g/2EXud+
HKcXgGvpXQm+LGzTZWLyqvJZPhdSix+0Ygxc8pPPKm6e5iwbH/vlNJXxSU4/lsIUJJpLfzuSfNUU
vn21++FEAMV6mNL5UBWgBUJWynvAuDQicRJYDUemxIWltTW+lKF6LzXfO7m1Ryo2xoV/BAjJ1MOv
XhmHVJKIMRsxaGE92xABIffSQuPTtVowTXQnpuF+1jqzbzxc6dbigF6HSxBEZqHx9N3JOrkTcRj6
KE5Wdy5iAw4YUpqYuIrCiHVEaC5NeRbjB+wbulA5ITNT9Rf7T5DBZeMFRp80uC0ttp6hs/WHEvNo
DXaOTaVqFVMt+v++Ak2hFIbvZBDGY6yxYObZvPg94RA8W3FbX7Ns2MmwsTC0BblVqJ070UwVHmqh
1oDi1y1h7xqbOjUQfDU66tpWg7E1XT8MOm7F6ED1Q+IzeiMUnSEWWX2pyK4eEeZxj/XPScO/4llv
7qy6g3KQ9Ze0px9Lk+iSWOWviGkFPzepg95KB5irJr5UcFaJYw5bORsE6mHVWDJMkgfdLvWL5rEW
mXW4sqx6HCB8bZxtIUE16y4cphNdekVjQ4COT/gSnjGtCLLCO7N31neaxC7tFSM+KnTKj5mO43MM
B7ZJoMUgJrJMBlQGXvkjrozdT7KI5VKAScfVNrZPIVQKCyQWbjmSG5JqVVot+YGOuIMLoO8MDStu
HJKcEQos9xnY91VLg3Iihmwv+8o51gPKPZdkTdR5KQIkF+d83R1qoFjnKumn80z1x25rWcCbqJfN
3F1Ptci3HG72r/Sa1F0RaDaNVt76NgBU6kqSnZdjgJOxcdkYFDzqx4lJiCwHuWjz6aPRklJb4QVs
DIyaDYTJtcGxtKEjflFSy9YQtPxtkr6Mom3uG4P0MycCEdx3LM6hdzMcZeBRy5eiQkXotvjO0U5v
6pE4Y8rLJpgdb8ApXOi7ecpeu9D+BI/HLhaHjjBYr+QOa2s9z88FaUGruDasQ4cAGeVQkhHSWb/O
RvuWWTQ9bEdEmh/H1D2QQBC++YMjWDjUyZ1PTq+vIuPeRAmG6M6x390cn7FX8gHwKTlroMlaANP3
MYuIextV/08OjylCiJ55lQSFPbUcNkY7n7zljUyq9OCYAtN38yY5xPdilvodDMv5zmNBZfZRuEtQ
SZFxOHMYjPPMjTzR4rOb5y/kUpOz2pfJ2SJc79Q7j2wVwfQub9iH2P94j51ohH5hYVUMuteRtUby
bq5CuAei2wuPMy/u0QfnLlrluPI6gpmqRz+P+Mta9a1HxDKXjFgBWgCCjR0Nz2QDCSV05HjB2Lxh
a1s+64oVSpl95/48QdatBW6YnJcZ9SMXUAVwCw4reiitJAOaOnWsx4MvG+PB9CDiLd8qzLeMfZc8
4OjdTarPekrCbVUblKTkEAbO2jE17dKTpQM71Kp2dOsbQnqaYz6DZpGNiHaOMd9ApETnfC7ucsaN
+7nBjGEsbzykzxs2TyTexU56+nnj6f7voYp0dhvhcGRBP+9rHqFI9OORX+NQTPMmsinq4hzVgFQ3
lYTgHrVkB9TJ3qqRMM1IZw822LSeeYQEtr7K6V6MPjuekBkTMchUfR2+NETOpyzBf2a4zc7tyr9S
PX1HFcLsg2FenzjjZizDYUWm2GZ2mXwm7LBiAiTX7uiwFXc2WWvVW20G8AI7Ok3wblaRhm0X5cNq
KeJc2/6IQW4OWfaqBtvf6AK1pj1gTK9QOukunt2xdZjfcfuBpG9hgGyHodo6djDM3Wfa1NiXyl0V
4Rd1uvyV4TuqkRIZQA6vfFX7KKj0GaGOdg4zIo1G8IFrFe3UCCaF3mJvGiQsi8g9NjFFvpI8OqX+
mYV0Z+mw0lkJ0U92Zy9GBKrwwcysP2MdhWQ4eu+1DcHO0TR8pm+a1PNdp7vbyhI19xBEbYlFcso4
m3cq6S/EvEEKzl5tq+a6Noe3SuCOVYRLeshUKGLTZsUd+a9JIHOXGXMEftIQ2W8V2vEVmjfSj33j
qUYjA8XVO7aT8caryCHZhZQZKb6SpmYB6lbvYY94l/sAXGl1QuKjgsz+dKLkJUvFGHiH0mVonvc8
IbH7bA9kNuU2cKbQcSk+QgLtvffQt3Epq/hZ8/Rn5k5YpBvoGRFKlK7yrhp8Tk7xEG/PCMj6fkZk
RLsC9mTRfzpkx3rA77O7YjEXtV4Na6IiRqceqDC5xSUZwCC7EzQxBQtdLT4mCYYygFHrCmG+CB30
SjAyQsHeMY+GUxs/SPCqnX8jFRitMTbiVedSdZJjnkJDv9r0tevZxsYSzRJskPfqzxpgiOQVuTrx
nZP9AMjsAQvJDtjNL38qTo1EGkuQ6EulvHeQ9Ouq1cRaeCyqLUFf1qG/NbBCNrh30wSjMwgS1nQ4
jlFWfxhax21gHjaDrGZEMPjnE+Mx0muUPMCrRqGjOPRjQpN/YxhDDZhAAmITceb+dJ9lIS8JokML
Q9Zr1253tm2+1DlVZnGazYRAwdLihF8A7lG9qyb16DgIK8pcHbQOJRU8gtUMMxjkTwszjMmz2aCw
p855Ltw9xI2P0Rjx67RMqkX11pUGqiJE8FY3hEFZo1fTzey51cKbm6mbGSZvdZFeQx2bPrY8tpIR
KICWjWrqZJsMGAV9CaAD7deQmd+LGsXIPj1yM7fD4K1VGl0mgJP7Fkm6NdoAZ5soKBv3QoZvuU9L
/TgO0WcmrY8mxxwko/SsteldMbhPGGJRpOTDDdHMnoXxax9NTxI+rcDzLyT1lKc8WqoKroeIX8QI
TGSoMfqZy+7UhSqUvo2tSDdNgz95pO2si5As9MVZR7N9a1ovAsBgHCspXvISJJSOX8SYmzXVjreO
EbwTVVa9sT2/1uW4k9LHTCgQ5UWeQ1gAhay9yNN9TBcNQCQW2GhMq+9alR+TP+zcio5gMvSbx4QF
bdmSvwtVKtxH3BazGO1IbETrdoaNlEPmsf1vr00Z4Bmg+LsRHdTImiBJm7NVxVvHAVUT2eIBm1u0
NnKY2C3clDCuCQFs5IusG7GuY7Ync9acJ4cux7dMHYnvfZGalzhhcS8Tcy9S8GdlhLgOiYYd+BF+
EvJ2YsSE6r0lJrNqzHFTZvV9DhDOLxP2LgzIgvAaue20z1XyXMB2ovNHSehXE08ECGXseA4TdU+C
bPDqod5pDnqHnLlz0Drlhxc7TNLIzX1VnsfeIoVzNTs0f96jyBGVZh3W5xyQCR0l3ZmTBmT2YNky
uYtq09cwEhPidltIeP2G1KB8J4gK7BNkd71gac2QgLrUD8Yy9R6x5AZjaxID0cvsbIcLlm4m2znj
lBjjr2bSxqPdcPDrMd5AfLVY6XkwIr/lD83uo7DGttJzbyaGYIsQNlB5/mRaonps9IRZSN0GImZp
rhUfrfOgl9pwM3jxZA7zRuyGXx3suXRgUtFZS0nx1VdcCRUYWCsquQOjY2lYCgP9rLjj7hoinVd6
5aKatLqTFZnPhGtdoYXxhDAaBJ3mnEO9EVtDTdmGB2aEMayP5eFnX2kYxmvaxJjo2GGzMDANkKNu
a5C2ERpfQN3ZQpfTshJeMXqdBe24fB50tNNDLV6U8yCU/ca4LgzymccyMqn+Z4IKjEnejx6W5EnD
Hz8bMKdTBom0rc3MK14WCHl0brGGfYeEuerGccVJ8SkrnifmZXeykBWNfpGCMw56l4KLecSL7lPg
p3n4WpLtgbCyfhShecU5g7jbhcfiDPesI99knU1w4kGDVdHvPmLgKAgD1ls8CVX3NfurmqjHtdbo
c+CwBSVYQq31GIW16vO/kCJxUYzGY0qIS9mrQzTjcGJcZh+b5c3PezOKHxyd2ltqE97pLY7GdLFb
UvOSQF9JhGw/7wIC5N0/H/p5T/y4IH/eUIWNatF1pHBAwwUG+vNeMRj/fO/n//72z//Xp/z5v59P
RmNRHP982d/+j/QfGDpzYaydOcTTsIjX/rxJIvNf//nzgZ//k//+gT+fJ5N6cQwv3yb/effPh/7n
b/u3H/+3L/tfftufX+9fvubPL556TvzP3+/PT/zHf/7tR/75mj9/7H/7Kf/4Dj+f+N9+zt/+/j/f
9ecDInGaIIub39jTvkixDYPJSYIBSei+zke2gTn8d1JA1qlV30RWl9tumup1axKLPunBz0vs541T
AyeYl4H/lP9mJjbuCZHfD1Y5HNvsg8urxJ4JasWU/ngMO7zHlVEF1Wi9ZnSox6KJre3QaVeIHF9K
zPG2KSmSupmp0cg+fJ00yBD9uuDm58PxS1R5/POGrOJhPYsYw4EudwrN1r5hPEO1WyK8hXzS+dku
s7Kt0KG3gD8MKbG8u9qUT9poTVtnqDlr8sLddXVNLuOv0fbsvRPrm7g3sx3a/UufdNVxGOSjjxsd
BAcqO3uxsetFXuyTHFDAaPziCMi3BVmliFMiAJY/9zp3GaaCAKlzFhoYMY821qMDcyAaV9zs2vLG
icOOJaWbM6EN22M4P0ZabAFyQ5+nv/9cPLPj/PMChdPEzEXX8C3VwKUoFbA5zosVEmUHIVk/71oG
FAMHF7To2r8SFWIR9nRUg4T/ciqYPVlG2Bwn0opY57+yDmbYKZFdgGPxFS2WUGjKdCj1Qw7MZXxL
rBaJk0y3YeHUq4TplTKCuNJeZ4wha4b1D10He6tVuCP6dAfXhmevyxcqE6UscBaORHLjjeEYc9el
PyB8RZvTjwplzdKFnBN6ucDQJET0y9B13a7P2hxjz0Hq4T4k2mjVJrN9Hk6uSrCE+BH9UX4aAK4e
5VL6eSBXNqiAWZsY9GecwUWOVBVQGOvTeHxuc4ISHc0c1kRSXIy3sI8+HHzIyPPFpxdl68xWDfRP
XsEqdMSGXM0cpWV/z4ux39jgcmU9OGfb6F6jcTF5Mqc+CGv8HnFT8eB8C0TKrBHTY+ikNA9a/FfW
2y/GmL4z8n3Hx0LTzaZBDi3DeGiiq0mvuOPCnWHBkKyjFsVQYxgPFtklhpvsld5fXWO6zeSpx3p5
S8F6pj2H61KWgAh9raB0m9m8z22BqLPobzInmlsWd+VcPTN3t85ADC5RR2pn5aab3GS7r6cFKiU0
xQBkgIwwuCIa/pQVURy4uFXXBRk9qeOz4CycT3MAztULWmM6uJNXbFF1TeABRnZTziCOgyQPPI2m
MrCEfxcCylxVJa1Xat5cLcw2EknIWrNGNNz9I40FVhWTdGlpvgyagVKlKR4cfJFV7H2FDB+lIqVa
4Y8KkmHYzyl0WOSW4Fty56kmz2FH6voedW+QufljPVC79h1eJ1bwe9xuuDnDNtBq60MDrsfE7eqm
9b0x9PFT+kWQzs3UUtyAffMkbFCnoURLg2lNUgL04sWZkpYn3/8qLShX1QtinqPUjVtpUv/iOvkA
x0oCQtW/pTqXt4vgE9wDonQfMyAxMIjxIX95IJKYMt2llC3LfsgNXLAVa11Er1Nr6kGjx7vGQRkL
ksileoy3ZtOwRMv4haPQPjLIOcu2/G1RbcRMeB17Y1KL4Jk5trrDlLLj5ozxlWxOnnFsqjO0+XVC
WFzZJwDcogdXtoBmplOkPnNuQKTPTerEcu2Yj6jco2S8cxNG8oKaKmCOsbHrMWZIPiYMTCySF8CE
TfMlVVTUHqgiNfKbRFa5znCBQEWRbxNPyTpDbiEM/c5Q/lnV+bYk62Ty6VC4KKKdqTVoPuV9407u
mh7nzncKDYhCb69DRHdsaAbWLv1furCzg9F7NznFj3H84brJPQOYVbNYtKAgDyT8GHEBXGc8lJ19
CBPzMQ1ji8JB3GcFaQNxba/HRt1TbR19/Nu02sVLNY3vIxxcdN32USLCh6xFZKGR3CItXNstA2C9
ae7aOg1Kvf2sYzYnLS8Qqj5A0o2RQZsR7dmaxltT5e6x9cGZsOPNACYyeQVfhGUzNz/mOSz2OerA
lbm4v+3M+NILqNnU2/Njmftv81Lu9rTyG2KIzn6MgiMDwqqLc23+Dm3/pkDZ3Zu6ukjEIys9NnY+
aXE85dka+8keFqo8zFP82iYAs0b1JhxcVwO5XJwc+XZ25Du6Rg3Qz3Thjp13FKyYkk6db70l8zyv
Qd02/ZuKCCLkGEeCFH12Jog5uqtbl7gIQnZ9S6yBDUV7JQrS34u7SSIhBtPHoWg/eHH70Szz9HrK
P1ml/CVK61t3FfbdZX4ZE+iMAXIfF+6t6qdXv3HO7qKsVg3GgdJUn/NMAE6NbwCPwt4oi27bTxUk
jsxYZe5yuywJXCiYHKRERG8M18vxP8wBAgiavKp4HAlUQGd+yh3r5oYI9Qy7YpNf3UjTJmNCr0Da
hOHJEa9daj9bkx0DHeyuDstY4Nnub99eYMEYeP1B0r0Y6Qd40XzPRo+dv34hz2gzViiyjdm28D9S
HKjoiBzkLBsuJo7Nx6T2T/umV8VjLOix2pGJcT+zvSkykkzm9B4HboSZwTtafXTXCrmLumTTKrb6
tQ8W1Z3ucz0mDIKkXGQ83zKO8XnxkhuLEILCElTEmKzKQwBITpEtMqtr5LQm8DjaErOOjxU6YazV
2a5uQrCsHVRHzPUwIwfSfiPvq4wJhDCxqkxJPe2a6rNJaI44LO9K4WV4gONtnI8vGPDBrWYgOtLw
uxttZ896cl/VycnuxTdUWbHvjP5Qh/F2Yh/EvuhnGm3lq5+4qv8fMfsfn2VXtPV0/UJGXfxrZqzx
P2bMsoxquo/i31Jml6/4Z8ysT2Ks0H3ftg3HhMzxf1Nm/f/0fc9wiIw1DLBYHqFg/ydl1vD+0/MA
Pgh8STrttWX8SZk13f8k/tggZZYxheESNvsf/4uUWbSM/x7VZjgOP4o6wbQ9Szdc+29RbY3ZJ5Nd
54hxm5x4GZH7y2XUqtD/4tFyKHNdTOdIbklDzLuHDp5jjLDaIEVEiYyEbWwIYXfnGgAoD2Jy1Luz
zIkeOSGYJMTkDSLxpZqsTpo9Z9gzxioXp3waaPS7WWjNzeRmo4nJ/Rw85vOYOWpCNNMml/66Zj15
mwwt186Jbgzd2rLFpK3ZAo0YnyNKl3XE8WKf4GVgSC8SJbSAqWwzb7POAyJeizSFKBvXpCzmcHJP
rVOraUVEEt1PUXIvRJwAUnGN2iF9VRaK8oNqfMvA+BP3H3nRaF9JX0PCF33cr1TstShzEMYaDy57
JMxTssv7Z5BPuctCQW9Mcs56fEf5JCznXGN4SQHok5XOIg8eem+ngAdlrtCeVENlUUR3CMbXSVIw
P63AXl+dMJ4N7POpEkFqN16zshwIHRA6jfZXk9B4IIwcsrNO/FoaDDptDxsMM/wegU79SlyzWPzS
EBI3IHVRSsIOLZpvUFiN986mrmlw905D8lfPOHqC0jGTYGWQH0Vl7bhTBuqEXJjQ/GDk7eX/Rd2Z
7EaOpNn6VS5qz7w04wx0bnye5C65XOOG0BDiPE9GPn1/jKpCVzZuA13LuwlkICMUkrvT7B/O+c4p
JOU8R7jHdntC72X77jGpMwyWU+hg19s3kw9jctIrzb2HKq3it9yp4+KdxhR2T+DkQ7Spgs4Ndz5+
5gndJiTyS2qVpsYZVST28Kx1rfXp+D7itygxqK466Vb0JKaWPMeT7He2XmV8JPWGiaGZapKtcMaH
ZCXqNEGC6+iZeTdoBqNSi7guIHFteov7lBc0bgb5XEKi+U7qTn3lM9eGHUKJQcCybSO8FJOOhFXE
2ey+CWJ5kZIUSiT6YcwNSNgF+DfbYrA+2BlLtQHvxleZU/ScWpH3xtqi5MIjOY2tuLMg5QyrlBif
EC2XZ7wSAe636LhyrEtV4uTyuy0wzC6IZ4y0G9dFiH0o09irVPkI2CdGbIoKpNCtDsZKL5ONomue
tjUKKXU0jASIYKdnSFE6XVMFUlajRQ7uwY9PTOFmD8DCVEqW15jah2DoK5toVtGXmKWtOLuTgpae
Nbrfg3Rn1zTS4hVD4ER7rWn14EckhbT2uA37e1LhLXuVjrGT7psuJCtwQhz3HGgNdAEBZu6jKWzx
wsGloSD2G7NG5sBKQnxneULKGIS2ITpVSeK021b4qtvlXlrWx6kChLMFuzTi7sS3TD2k9XmstpUH
7Ward77kieBF1s6da5j1TVr+TGzR3C58jKwwLxniE+rRINnpm3YVOjj1QfqmY72PfLOP3lF0y2HP
hcnHOakSkLHl0BjvRtdT0lup8qsVLrQJsInFhP0lclo/Jr2w1AEWEgUiyyOM2hSnWxdl8la5YGWX
hSEZF1SlIkeY158IhHQoAyil+RBH72PtmYRmI+I20WRMKiuy02BUJP/ltU1KodmWFm5mi/6xE6AE
1qIQAvJ6F/DNRQ0RFCsjhnRbMwQhH7RDjNt9xgOAoGPfamQtJ6RtoA60JldfkJxsBOvatwE/y97P
KP4qnUXqEM37vyHBnP/kJ5Axlr3li1tcOCX6b6utq4Uj5rpyjGa6smuRK5kRmI1Qe6kJM3IQIEQF
AksSmWkFMz1N7pRDT87xLzBO9yryg9epHoFbHUzGGkb63XlEmDirNJw6G3hLR8TLW6GQcattHOVK
b6983ipCXlmpt0HAIypD+63p67rRtt2UmtjKRhrW9Bi2QzoBw3cmM8/U0hqsUdykSrEk8gmziClg
6Yi6sZ1GG8WQVblHqGCgVCG/eMn9IPPsV1QDwVrC+s+tW6pkhKIejhkltF1WSCEdZqr4/j3OV7Di
VyOFc7wQ7HBhl8URSzMYyqO1YK/YaehKehIhqqB2PmIPgd8S1n3nXH0mF8/hlHj3jau6dElWA8gH
DUUNvScUkWIJbchzcTA7gDR4Uwu0+ZnT/OCmhFihHKGLXYo6adqY7H1mskkU4A+bkErD/AH1q60F
OYj9biLK1TjBqM2n879fvm1/FeeP7FfzH3PR91WUIxHhYfu7iviv350/+vZX9d//yF/+BnH2/ygb
Vx/tx19+s87bqB0ful9zPdV06d+/evCrmP/k//Z//h8qDL7KbSx//fk/V2cGhdP//WcJNH/5f/y1
+Uf8828LwjTy7+hfy7n5L/y9ODP0PwjPc6TrSOQxDBoojoZfTfvn36RLdSYNzk5p2gYVHAXdP6sz
+YfBUoPNG4mrMEkd/V+qM/MPE727TjilLR1Perb371RnwnD5Wv+apCuELvlShsmXchzXsey/Juny
DdQxTvnn3P1wk/hT52BZ5IZ5Z9X1Q9F4tCsWz2WbPsoxwbfNKiForjz/41NasUX17SvprwYuqtXo
GIT9DMXJABrdlQlWT85elpLFp1fAJZldrLiSVnVUfxZuts+wv1Q9sqo6SwAtl9tcghm3sjkjlWtz
YYT91p5sqqvReVZlcQnaEjZ7PlymrD6AXpEMnRUZ9U1+9Dwf3UqEHhrCv7l0XDNfN8Z4A8Z40V0C
UPFuJcdgpzdEyku/ZwaMxRaQ5bHF2IBzNdgkybRtSOilNBVQNHphLDWv29IWVYc8Es/MP6CiOzfL
B1dnMIbw08hbxjnHug2sQO8EizqbTf300Oswo4bmaIZIdNSgdqnTLtFlNAunJXYgMZ4pNXctWlow
RdBCGvjhXkuaRk7WrB9S/LQZmTwMXRcNHO6FLocTWrPh0OS49xkCIzkWL4Yw75wiZfweBuVdg4Vy
0w25RQlYrxO9vBpjz2QVMblMc+9qO5ZkLsOhnFJqHTjkYOY6P3Gsl1s+Im8FhZdbg+G20/RpZOsz
xSS6JDhFFvQP4Tb0KDRFqL7L75r551ZJXDO2ew35oXed7kHtmXVeYZZQJZUwXbqG1NC4HjeZHuxp
C8p9Kck4CW19ZQZqoWsRfhS2f37LYjWN0SKP4yIsx7PVQ/LWem0vMEyGgz9QvJLHpGPwWNHOLIGr
bvOsuTkEIghH3g+NFq1TY/xB4AQpMFevRIvyJyh7cLNNA+CxVDt4u9ifOiSwzSmy0yctCj/DID6T
R1HCkTfIMmC7lk4BUeZdCrKpbA5TUKTneFKHpGtP+KsfQhV3eBoJ60GssvVM7OEY/KGQtWgXiovh
ob0rthFvJYOmlf6TJeVTFCZv2L5X+Wy580m1QH+XVUu3Q0Er62E7gDMn6MdlWzG+jnLyNkF/BWVl
75MBigYCxoFE4I3VBI+TFx+p45i8aO1dxGJm70znQUMTAa64W2iOd6ZVf4v9/Brq2p0r2VQ6pF2r
+MtLiOEAhfKsatiN+ZSvDeVk4H6MfOer+JPhGwoNAqsTu91qWojKl3EhBnSFNHzXZP5dEqYPdYy2
AXANMe2lx2Asbs8zeMDXtebbb6a7MNGv+HeBvfj5T9oiRE7KCYAsRFgC1SGE1M07NoJ+kbkwHdM5
L7uwB4XOAxcHKqalowiv9OhhFsjmCUdtaqAzCca+jI8hsaBADuiktMRZO1U0LDU7oIT1sxd08xLa
bwDxqD5zKWMi7Ov3Msb69INro1klKVeoYUkDGaEtL5lhbMfOxA1htWBUjLeJ+C/X6p7oPY/hrJBK
CptnctyPUxPdxRppVvGP0iweT4zuhQpemogJZKE9+qpuV/QtCG8ScwuUp7lAKnRK4hO8GEOnK+sj
BZr/KIZzlOF+KbuayapO+gA2ocp4bRt20D4JW5btdZsyYs/v5tUa/zbeE6d+UvadE2FOdvV7e6yY
L8a0dr4q1uivOT9cotYq6rKDDfN0tiCiupIFJ0BZPpG+MdA05ocyhrFidow5bfg9wAJaSFgZdMig
X0cAnRYWc9QN5IYDRMatH6pjpVusgDCigpUQqywmdsmkZBtlcKeDqtkI0/3BNrDwgnxdWSpn3koI
hyHO3hSRMFH0YFcAVgS+9+wp7aAZ+n0yBVumpL/suPjl5wC9cj996UwIZmNzsuvmPhQ5zyNSXsfE
sZsTNbHEQcokzC1CHonyzRxjne1M2O2onNZRbYZ3hLi+Nq62Rz69cngJFtq2tkGfism+lQFyCr36
gc5VPgp7nlseEAW622Ie6QGPeWDM0G7CYXrLzY84CxANSvQKKGXPZhvR+R39sFjK3KEupulwjOqU
G/EpaIpb19vMNRs2Usr7SUDGgW9mE1BaDJzBa3EfHlJNP8c1F0qfRa/ZLOJQIdo8w4CSJB44afYo
OOJFyqSWMn9RWSZNSRbayz5LL79xfoPwP4zuYFe4SZG7hoj8OMDqA2nkHyCkGUaWVoJOxkhI/kKx
ZJinqO/fVRgNK0A7bEYKcxnWndx58kfWOFEoEBGk2uUWCgFecir0ybGWU+si4M6uTqhdxkom67HF
GhzVzxLdNKd85O6rzmc/zVzYNp2bTGVAohsGt7I8/M4AJgJNpzMIEp7aUdqMbM1sh9mgBKSPJuIi
XGjadjUNO2uSx6qHdTRY1nZCE67pPDtzpo4jmPX0HckqU07KrrzkPmLLFE20ZGPAcwMjw9DNtR5X
/WOl53LnSMCIDH2gqPgJc3zcMkQgG3ae3mdhvxZDbj+wNmOGogL0Hg5R9SJ/mZC3naSVaLtRQ6ac
TOZjX+C2rNomh8gAyZy8kjUOmvTVTj+GMFnnTmOT/omSCsn1WcM6AhKZhTH2SaCX3UOh5yN1zrj2
EqKgPECULbHTeL/8eUaPu42t2JgEN2/K7JWmP7XKBNwLPy9hHsKbhEvUvRSQkXA6gtFstOfBhZ1e
EAMRudOrVUWvuRV9WyO3h6mNP1qEhDBnIj0P9JmvLJMQ2D48m50+hT+9NPoF6bId/m0C/aQLfV4F
rxr8ZQLtfulUG5LT9o5MiteR9eqWUdmO8cXAhedu0kHZW16do9ch8YaHr6+LiQwoLzfSE2ZSeKuV
/0DRekfDjcsO9qUXvbRK5NsgD7awxm6S3IRR63xSDnEMpRZ8Gmsotolt+6tR8XaKwd2AbZ4HMXhj
SJa693BEz1PrJ1EixiShdRLxo+JjOubNKYvUsyWD9B7mb4fuR9Vu8ihIgcQ6Q12Jfn6bpbNd3B5J
yebSnMJmI+F94gpC8Fqn+jH8DAoEXhNV7b6DFbFQhLz5IfE2sUIFacbRPvFC7lwA95GixY00Egcj
2FoE8B1rjJ59TeKkmWQf7giWQ4CYiRVK7iEE4ypoylcNNi2E4PiyWIuvDagfG88I37uwPkaBYME0
sQkSofdG+lGmsH1AfeJZFMUWC7Ez4tsLvIi4qsStgdbxusyRmQQxh1s5kfY5wZ2MVHVsm+gxRYFO
jJISeHwNFgCzMs0MBKi6kHgpS/+lJ9EeeduDiyifui3ByDWFhG8bCbUpl23LNbCKUbOvrNrX7mSK
utx1m4VdGA9W3Oyb2vSWTLEEpWf7qBXeZ2uUPFBS2+pmfWXJwSLVReyXcvmU3CNJGzA0iyFmoDzk
h2LBUIjmqydHJAhIRBDyyXabX4Ek+FnE3a00kHgl9SNBAY9xUzwJw8fDTrQJq377MQNMvxHUNULZ
eHQh25QxikrufGNZZtuWccASzOJ8QWFZkv7B8pd+OaRvkvHE0sJRvdTq/lgYzUbjPDvh7mZ9RjTD
VrO7b44hbdNX7VfYR2Bc+jX21eYczDMWNyULUydtZTEF6Q4lyjrQgzdm7yASOwKqGcAswiDD3tQZ
NVL8+t7HYA+iMoippdCkMMJeax6hUHXxwiqAZBM9LfYMz06l6T6asXs3WMOwEvQaidPZywI+H/xv
2MRa98kRcSaTAlVfzGhR90yIDtpKDOoVDDIyOmdkn2xhVNFwzJocfTMtdijSdzRtZ18YLZtQAIS2
H1789JNV8EYSnbQUciSwBSDREk7cBb/SkUrjTZt5R8RRXhniEtAC1xs0HglttEkR5RT4yxAeRt+R
XI7LBRLCuMWWz9pIPeZu9eF2olzZ8hwW/S1wOIpIEWCSmd8j7sZY0TUOBVbz7bXEURDxaG+U7H91
sfrQisE44mk4Fr2U9zMiVe8JPuNxnfP1nLXdNNnSIkVP2n7NDw99Sc/bjovKvSU6KyrdZpU1/QgD
CEcwtUdIJhngW21XaBkuY3yvzBLZsKWk5zVGhe7yih9YgrX+VWiEQgBSJq6rjp4kY7JF7gB1Rbab
dLw1PZogbbSWHg9MIwXw6jFaoykGodwHWIXbA5mhcNeKawR/a0EBCUsU14JQBqxOJotJw7w0HxXo
S5KnbLS+eUComDnF57qop+VYqnblMgtS7MKnid286nG/1toDsu5DKrilgZovC/vq1qpZw06/VfhK
MBdSICQVT6mWoCjtcydZho75q46wEHieQgcdItHviJyKn4YuQt1rmc+aURFhMcNGPAdwcYkdRuMQ
s7r0YZjJk6otgJLLmnA2i3Ova5ZZYrYrM6725ZQ65BeY+yFGjDN2CKy0TkB967FmVe8mKgk1TFhm
sEUSTc/8bNaOpMVKsF3gHfX3U2vDQojrvQuwgcSNEpSBiF7d5oiFgZ7U9ge0rC52dw0AW6zf6457
ME3UFjVxeCtvPNgdGxefN2bNcsVYoeu6D6OzUw0NgjM4F3h3okkyO7ORJEFmZlj9GtjQZZFzVqXr
LWxonzQCUbcbdZKQmdqm6j4ZetbWfQ009imTc36w/MmAi3TFo82D3Y5AtRj/EgJFmEbOJ4QZ615V
wcYFT8cL1V4s5O/LEYmNTT83vqcRqaP860CY0DFFT2xevrUA+U5MLg6eZUKtY+wmhvMwO4IKjf1P
1d9perkiGdLapT0peT1bMGOCpQm8+SuR8YJC94A1k0rRDnh1gIxWVnbz05mcVPVPgYcA2DarO1Sz
H5Efyo2dveoWHNT4qTKwufZxdBFpt4ktxjmSOECeTyO4rxQBpFU9Aw7ijEYq37uV/UXdsxMifyPg
D6K4BatoYnq75taHcjHHyMyguNXkR0zFORlC3K1YzLYsxxeyizY66QSxfRWOOAmT67tPnI0t6mM6
IGeFXbStByNfu8hRSJiq841IqtfWiR/izNnwbdwZU32uZLOvwvgct8lDE1MYms133RPYGI72jgnp
panjBxPt0lJE6XvV1t8Wdbb+YeuonMvAvgZYr0myvmVEYwbjtxF73+Q0Q1KHcdqo6tMPxUmT9lbv
p590GC/BQCpRn5ZH0x0uDv5doCq3LBWnoW02ntk8lW36OtjVsa+Th7TWf+q2+Y4MGmqfAFo9levf
XyF8bxL56hrTjxEBt0AchOOteY5REuGW3kywQvKAgDp0feeoiYjjnL7azIXJaIXnXLfIqQNSqXug
3eNzn6fvhNaCSswrQlweGy1+Z4u7GWPB+EEtm4RRVVlE68aO7wO7WmZ+QU8jslcr4x9uiUZ0CGDU
1C0iV5s7F1ss/jIkI+fSCt97ggqXBdZ2fC0MjUTzBIoSVHf6EM+SI8MO2pXRgYYjEqrp77MJM2Iy
3jQO37D+Mb347KLY7ktyaHsmKWX/bknMCNYULEPPusqqv80/hebDKp6Lu6aER1Xj+2mzhwwzlduo
Q05aSmO7z9X0ZdJut6p58loXaWXKowoE7SKT5EI29R7gcjZnjr6bAc4Sw9/ZbvjQ4dKUIvjwExuN
BS+r1ljX+edl4I/hLAKRlLzTAhsLzgWKp9L7SKNoYwe4bhR8YJ/kvlpPEPhTnTvUFJhGY1x3Fg+c
DcZP0y94cV8q63lMyVe0m3m2w3U2BBxqlfXhW0iluzw4g9VMKNeKi+LJCkMi5MMGX7dJKncjngMJ
SHWEvweBHX+lMh7MYVa/D+VzmvJGOdgZmsY+4pf6lESoZZCefKcRSzvokX4VJ12qE9Kfz0YRAu0O
LQnhI9YKjmQG4eOqcKxk1frQirWjmWVn2KwPbJ++Qc6xwHbRko4WinacaYAHOXpcKtOwHMCAq7Ua
ZsY2OOgt3saVlfBEIFGkPdskqr+ZeSPYGRymj9HmZpbddCkicep1/UcV+VdS4KGcsJ3g2AfvGgzR
OWc9BFwrfsTCe65igMcer0RfhjSHnMUV7kPdZ1BccVsU4SCWODgPbIg23Gsfnp3/mt8+x8s/B4NX
u0wCVLMeShYqAUdV7y0zSD8KYOIELRKeusQEqb8YMe0q04GpVBc+iqzXenkdpM9aYzrBaBE7O03e
MfYuW3g746J+5WxSYH5SFHk2idqHUc+OVTcDN1d+kJw6T8gLj1rMKIXvE3FpprPRkhn/YGUAvslg
3Kjhp0yxh+tKp9vPH11rfK3M+FoJAMLENZZb2SB907RypTGCwTNj2kyGKIDK0n6uoMUsNFu9jBZZ
qv/+zuX/vU75y/7lf7WWuXvc3P4/WMrIWejyP29lbkVQ/OtK5vcf//tORvzh6mxVZnkL6hfXMf+5
ktH0PwQaFanrujSEY0rX+q+ljBB/sDzxUMUIwR5HePyvpuja8M+/2X+gr0FFQ8/rWK7OXv/fWsl4
vxUxBXHXRb7//vNvrIocw3Il8hx73gHpuvXXlUxTJ6I0sh9AGXkUXnvGydeJEhlKQ09pWhBVDEZw
BVMRr0tAKpM3Fez1AP6tOlHV15CJD8iRpN85GvNR6DgDy0fbvMBkT89tAnxl6I0LkmTo6S4hXY1I
DIQKxgthwNY2qkL8lxm1XDD2+l7oXbTohYPdP60OnNMpsl7rYBpEnMu4rDaemDa1ySiyRjGRVTI6
xOSAZKizmXd5zaojUSLn29nIseVWhCXUj+HJKwAf9VV81cwSGW8U3yIfNnPm33f4vrfdkOhEgMSz
LAZKf+FRrdb4YZ0aPynSoV3vh3u3dH4wvHJALiOmGcT+1q1hrbsiwW1PHIxhWs+SLe8+a9PtNN/x
KkEoATctNrN4QTVBs0+SWxb1uKFcjOUEoRc7OyB/wo1Haz0Fw7WaLkaBTpYRS8vVRW3nVsd3orw/
Y6OwdzkDFHxuzishygs7VTmiH/b9rQsHE1Z3dBa6fwxFOK7gpn3oNIAoVRdF4O37bLonyGfXhT9h
7K1sLirl6Y+dAMbvsgrI8507tsyA2RsYY0nAN/dVEfqrJIQ9BD3iGYwSCDCWZ6gW4jp/mrTsidDi
ez5hq6qFudpE2QBMx0BjEvlf2L1Gb3q1R+p2gpm6ucyWQGTWBj90KNfxCH5JcsNFbqEWquMFTAZS
CkgPC4Cp+950L/GDWgZJVZ1MmOo45TNz+j0jVQtTo09rMyc3SZk/EXjy4FQIhqP4J1VmtMkYoSiV
f8wISI1gpwKLcOJZZPcVc3zqV8gaJnX8F1QmT54GbsMlLDMc9bueXQFeD/ZtpfTeMhZo9KAhAgyN
QmqE4+uWiyiuLtHY4TkGIyW5GNwsvTcTce8VyKiz1voeY23pMAZmn8SNzXaiYI4K3hPDcF1FFHfa
Jivsp3iwnjsT0Sd4VcGYZLQ/dIUKGnzZFgX4lTsSaGXGMR8Dk5AGIQVSGx+9XtsiR7vqLYstv+k+
Q3lvphE4JBNQHEimar4Mr4XD6u4F7zwv4lgcvDooUXxyH8swOrr2kM3m72eaSuqSukNkwDsfRO0D
IgSyZGyKP01Z6O3jjajHe+RTC2dys1Nq5Xhgywn+23iPC3YVGimpDzJ21nUpTpXq4gfbSPhxPKBw
pbKpH3FOkGewwp7cH8rSPfm1eKSCfY7BrKxQVWytiocsEW4Ha7ap10FeGAen0eQBHZkBTP+fvyVT
lKi+0T7qMzJ8nH8RAmfX7/+yrJNmQEtr9X7ksRJ7R19JxaYNLWDYH+T8S1kEJu71aQc9yTpEriQJ
PSHydSrK+vT7lyrwMObAI2LGc66Kc6pXb2XFjBD03FOSift4btiYEbBalgQawGpQwdHstAHHqrJ2
Iw4dK6rcVWiqivYJ3z8wNEYFUCqOhZLGMimpf+VQwMqKTOvIhxtXoBLmtqM0m3NM8Gzgd1Ls3xqV
oZCd/2tQOjjY3/9FU9P9Rogh+FtBH3kdYMvi+cDPAt8JE7udnnWHIA2idn226xhfFAr5SPjhMfZo
XxuXBYIEjQjZQu7C2bz0+xel7M+hb4d1VFg1wYGsbbwMs2/JCPygxMQ+B57eKg6DVZDqpMiRB7rS
ihnz7eI9isC8pRjJMRCZTtmuFFndtH8EeOW4Q1chRXqS26cGtAxUfXOTSnKNqtRxljrZsZrr9euq
LBWdBGH2mgwIHUoIX4Bey0cNqBNRLqmCLVVrQ7YF+/USde5b2bfHXiMxGbv4uu0CbVOmt4YP0cnV
x0/ND30mEPULuQXqEM4IB3pLKXtvPw5VfJBPUdRY+Dth34wjgnfbanYZEMUFgdxwkPS6O7TzOicu
StLu6LHIqXywVB0fzdS+xL1bbXmVAfI28OXQ7RxFgGjBr/GkmwJ3EUPKE9CddmvpLVsGx3mp4EYv
dOE0B5OtJNvRGghsEpUmnlq2JTpAvTqq9kGFrt5MqmvQetW6rniW69b+5A3TNonAhOyMzTL258xg
5dXrWjoPIwhWOoRHM5fdLbYvlW3duaXlbICVsvKv03CbU5SWw0fIBIm5dlU+u5lOrpXk5WW9Rf6f
ak7drEYP3HEjB2PYgVkdlw2uqHVFJbsx0YIvGUByJaRcU31ZfQ6qeIGdA9euoIitBgAWek7ol5/5
G0W7ttB197MlQ+6Uah2iLm0WsUVORS5XyvrdY5mn2rtRC711F6S3QY4EB5k1M2h1bwCvWpHhRJK1
CnCOq2Fn5wrdh0boaqBZ4R3oFm+J/4A3sanep5LzGZUaLA0tOAo0+kz4+q0uBkYhNIpyeoojRO5O
QIrpRITRY/RbGU/ujh0O+aYuHe1qksWnuopdkYPTP3FJOBhNjQkOk+2pI1vO8Mo1SgjAVw4rWug7
6i7LR3e+yXpwgcDtLc/hKinSbRaiXRwSdk7obecQgJSIpJzGpcz0QxXqjPwD0dxHehpvsTkyU5Xe
nRMM363njNxnZM2lRfyKDrg8Sgs5X5dH66xvilPb+vteVuqIlYtvImNCKEe/Pnfhd2wWLv4LtGDS
ptnEr1sdmwZUM3SUx2nqygciscar3sBixjr0qseDsxMYBvCIp/4dpmzae4wBreIrK5cGZmjc7iXC
0SJioniqvq130hWQ7ov5TuonkhFt50gE3NEmm2PZo+Vds7Bnpp3f5RmTrMTsEBLEnrtQUXAxctxX
k+FtbcAEkIs0+PMYPTADIeXoG0t96uj+p5nFq1kdGT/0qxuXQfeK4D5o+2GCGYTZftIF17DNSE2M
+sckgLEz8C5ey5yPJjoxyJfwuNZtxTAhT2hue2OY1RUbnDDuImH6uNaIReOGrwYyyQtSjIr0VBJ1
dYoM54kkZ/QXM8IL1xJ0Rt9m2/EgUuK+ith1KQbIc6sMNpWlObT8tkmWDZxZjCCK1FPdYEeckHkc
toW5aq4elv4DHV5day2uQSrOzBtacCnRmxH6006lOnmjZZdvjVAzd5pWvOeVPayCmC8ZWiXrdlCP
U12jlw7ffFb/1wKlEPnmyb6qYhR3pPesu7z6SFi939HML7u81DdND3IHny39daId40zmG0ZrYUt7
im7TEexmuzxr95FpfAl/Y0mtfag0ppCRwmtm5Ec58A3YGvPCMqogsrZ5sCrnLJNWXw5RfzC51Oa+
VWGiJXuii5uVLyTrnckcf9uPdsRRmb22Ll3Cn1wiG5bkjjcHyPssVsyeG9EBoM5r4KynkHdGpkRC
WoiEeXJgfmaJxWbfvNlFtQncoLr0PVFXvMj6AfyMgywC9YTdsBMp5Qkej75Fq/3qFaZzxqJ0RK3Y
ntEiX91Ysm+ciK0yhjsrcbI14td2HbkExJdtIHdZhjGusu6Jh4cVEL0hNgJpOhIXGVIQ5jck7OLe
NJLnKX3qEThTfub7qTDyM0m1xZmItengxfO508LZZoPJYJ4WffTdld7byFiMvN/FRvmJdFw///6F
sMSTJ8tqP4HI1IhrUQCNSQuxycA7ebX15eg94G5isbAHV9UCJS5IukSxZxwLHbIQmMiqCHZOnV3l
WIfrVqq3WOsuScNxB3OFAzC3gUTxXrom6SgtViIymcm70AchWABV+bEXYDLd7BOXYYGUTn0VJhBQ
mTdrX9TtMhkZ1ydw3LdQfFD6BpSFTtYaC70GEigsFlnKgaQwDEw6kmwTR+V3SKIIcfD2qwJZs0TD
AbCmM8i6ih/wfiEfb37MtIXwZXCcdBgMgFtfixrfNNJZnI0JkY0QHoCOJM+mzv5R8xhFpXawa7rB
2TDcWzciIpsNLOfk0xCENj9vrrPg1vV+xRYgByfB39MdAJQVfhBvqM2DM/9SspnucmpERK4ncMDL
GtEOGD7nOXOze5A7mnAfYbiyYJv05zCAK4Z6Yy5eQmLhRkJZah4NyBfzYHVOYqo8CoAo4siz3aPh
+Ju0/ep9PT8DmL82GZJ/kuF05nd5qhmbNCivsreobODdcSQhlAvNW57BuEgjUPuUnxoaCwZ+auU4
3a+kGl7M0sAKQVAs0wS4ruJVQA+sMS6GPvsW4CHD0rUGSaMTNstE4h50c/VYd7TsLbBNq84fg2nj
0nSWBHvpFnreQtUdGxjH3OcpVurJoOiKNWc1avkr4qh5LSjh8eIeE5oi6MLoVnnrEvxYpevQQxqC
yuiWhugg6hh8m0fPnLGMJYrP3WDRdEDJGnQMsbVWvRpXBr0SKIR3V8XVFWgMoZF9eUlGviSR8OWq
xnNBHzuwfVKn0CWrxyiap84qPw12Kvv4zkqhV3rd3FInWrse6kkhJeBlxLL8SgLDs1YHUFbauym3
1nY2P5h4yHJpvqKDZ9ESfzkDPOliXulrw81gNoccJ+AzE4S7Ma4+J8d/RAgP5BIItDaLerRkaZaS
nV7TbDEPnFVjXFBhbz2GobX2Qywnq42WA8vPtI86NL7b2jGWxSCfCAmApcj1gI80tupdVlXdUgEj
GxyJqIykEmeMVlFvnqgwKdDNBLIX6DnbCV9UPJ2ygEBeQ8OokWTTxQnp2gIvfKlLgCfVRJk1TeUO
KPa7MUC5HYjLiF0LbgwA9aDaMb4l58PZsGEs1kCQ3qfMvGfv8TDHEEiWk36bASHQCUEOtVP24jxG
KDmBJwKfTkB5uQRdsTKgRMLDdwnNjJEnbKWaRbCTZQQhdHxOy8Ff+YV+tfBcLLORJtIpn3w+MKvB
otAqgi8v6OQiLeDPp7C6jXRcaXUpDy2VXRiK9TibEscMZQC1qPOf7J3HkuNKeoVfRQ8gTABIIAFs
CXqyWCyWrw2iLLz3+fT6MBqFtJJeQJuJ27fvdBcNMn9zzncIyNYUOBmZIYuSPU9xMmI05nIKMDhr
CoBd5job7FoNbt32NcjQTzQX0+KqDZWCLYQML+mJhTDvuxJvUzeDPLAn4PKKiQqLVmcbtKSUCL39
GSTctJhDHmFbhk5/crd5VNxGVvYE267naAQuJE5RVH81c7KSusufbUtYxWC6zCmftoPUH90+fnVF
vreNCYj03svtjQhwIziDkS3lZIB+NCVSsEbcaKXcrDIk9DUirx7U/qbI0PRTiNxpBkstZtaBIODY
TaDkCOEBmh35RsJhITnZSLm13OiLWIIYx0ZwGkpVEDvFsmpwwqtePGiRdUl6g1igHF0pDYC2aayQ
DPPxOVlMzoaKN5WNqwVYHhQYpCETs2sryg4cuey1g0dydB71Sl67cf6BtkiZHdaHoEXqNrA7jM3o
VevVm2nUSAoLWj8wBcwHniitjA2omJYnL3oJe57Mwp0fwQtuRfwjcv2DIPoQpcfIB+429x1f6wnC
fF62v5aNYlhk8m1O36HsMzAs3jszeNYyskdy8H6haT/qMSd5zBYVmcC3A9O3yqtTMlbTemycdBOa
cOYotqdc/7IUUmQv4uSs+H6bdRpuixSwuR5F16Ln+SvYwXKy7ASBSaSZH5dHo4mRraZd8CTzah+G
wYurmqtgyI7QyIvXPRFLeOGDrywYHsyeHKOYOsNR9n40jSvOy/Wg9R9lKMa1ssXVS4cPgE0fjliE
eMtWOX5WnAeqruGWp9F1mojLJTH8EUOMw5SFhj8Pd+Qr4wlO0ZmMXXglIdfwu9D6imz9DVrPN7aK
VVMrfZv0pGG2Gjs50B/H0LUfcVo9Wm25jxEhw+ETX4QPXuEo3vWdWlKF1Y+wmKgmnbdNIiN5Lhuk
u6mDnqgPQ499d7B0kk+ppz0vaqUtW0xWeT2Pidkfx3hZFGvoEHjbtknj7vHds39G1OMPHec1prmC
UqDajw0ryIDJ7sZYWAH90PrjvHdz9xVWFSVKgHrb4ajpKsoEmIKSynVlHwp4luta3FslgCzwgNxi
hN5AQO8aRmLT7O7YmbPTbNI7cB6P5NhxNbHzntGs6wEihTgKfoIReI/CPIwY1V65DpEGdlaRmx4t
oZ+YqoL0La4Nn7SZwCfxTBBPmuyWrdZ2mvt75gvqjLgdyXTMtpkkGmAMC0C1DxERUcIJ06TzrP56
j8DtjudzSpqMdgmxmcH3kQjCT8eJRo6D5DoDkkNxfUEymaynHIICg0YSMkjK1UiodvoImyku6X1j
6VuLOUdMliCaIhCO/TCxBxq8S9PyCPPua2aaH3o9fJThumz0kz4F1WbKxMuiV8QNYF2Q3hV+YwDE
S3vrVtVYA2myjJ486PRAo6gACN81C7dVROGnWQ7TtiDuN7e9wMeFGq3jEVEBL/tc9IhD0hE5Ru3x
yYSB5q6DovnsvDm8lrJ6T8foOMziZymmN4Vqz3p+F0Yz7Xcz7JipJjrKWSjJyRbQhz972YtmMmLl
PQz20xw/8nw+0j9/xAWb12EON0IDm9NOxk7rmdum2SM2OLkq2/EmkQ7u4CofNE2ew9qgsem98gSE
kI+J6ky5Dgkipn5mw/3aFvaLsWS7V/pDrOSVhvJEdA+pR6lOOxKguLDmL95fhKsKplYO6L4ZnTOX
Ay7DSGKpcHkz6fNHzd3EkfEkIgtyHLQJyN5S+pWnkyeyZoFAumF7YlDogriooy+vyN/IfXizXJ5O
bCz6Gg/n6FcuyaAZXxUwOOYhwlznTo25j5Fe+fxw+xoLIMivHuxtnn9OpfNeV+nBsbSGp0MZL0MF
40QSVqRTLOUTocUaBzkCf2g2IyoBpv7Rp1t2ni9V+jPwlQ5GeV9gHkZt+VKE/ZJwYZ+JPcP99SAD
7yF0q/eung7RaMP4CtWj6S7Xya1JqeSarLyAW6+B1hBX0Y6gZTRq74kNNH6FT811+vseAWNfYDrR
yKGgWgsOodZw+Xv0wBmbUjKwGq7b5MUek3DXtcNdxWN2pjnie0FvjBxGtycQchYUy0ZUbzN7qHOH
ozDUiD6wgxcG/QdAT09VDWlfxF27Hqm/V0Brapiq09tyX7N4BUqJRqQfmb+qjgTMfEDkbFkPETTa
Axt7P8D5tlNSIAR56JB813zJkQ4WYCrgM5dZW69sFnLrYUAgEHkCJhNjItAFqMMngj48iZ6zGoYT
zhTbj5LID+GoM8TV9nT+Th7zV7Q82QaTI7CGxcGSY7Cz3MghPDF+bVCjjgVmBm14VQDaBbKthyTd
uR13WCeLnpxg42qgFlllYzvsKwAMeYy9dIA0M2Ht8jETG7vaCveV0RJMIIefoimfLa+mSs/rW2dC
uTH46icoe8Ekh7vY4LTMBSrV0MjueFiT1iM7rDXcC/JLzsU45iIKmBXmGldwJWhmx+bTMQPzLg2B
u2r9G0Ge2l5ZOoFfNUTEsaz8lhggOcb2xhL1l4Z3AEiGvSrj4ckNABs6QnynIA5Z4gyngkgsUIfl
SqUcjrrL+aCDUs5mSMnSRbw8JWQJG92TKtSncPjM8MnfOQyXHY0ODv00IkpAuBSA6TGdvPKYjqG9
GwLomLLuJEmgMRoZuiEzgL9RVTPreFYPKIdxFcCwxYDJrZj73Rx8Okxte50huFm2zS5PdIkTjByq
Kc2579mcO8kICTvgqMfi9GxrxJuHyi+cevm3TuVj+FpC3DmQpVltXFceh4qTjEvkIwmVQKvUI3r9
DeEGFxUq4LB8GJvwlHRkX7KHf2GQ/llFSKIHld5QUTEGCXUwmRWOmM4pzw1idKsfjA3derBGzVss
AxA0KJIjq/weZjggwI2o9DcZDtC1V+NWAIzp5yWNtmq8ZEMHjKIt7f9yCdOeA+NzTFtzLxy2YVoV
03fLdCagprKPvRi4/C0m8GABjmVlWTzo9XawZx7SFvV3QIjXQYW6t23CJRqYybdjD+qQOzSbY4Mk
PCuWpG8tAPyxJLKV2nSW5MIv/KRJOEBoQYSsIrTACy3GwrnbPTaEmZ8Rkt6GlEc5K/ovUUEwpCPJ
ApCawNH5qiU8mlNQgC3olFh5AYoY5aTeFufcZwh7ibFl+SGwLTmOoe9mQZz85IDoRYkCe8DrdrBu
ABqTTW523FsFPLZiRvvbtyZFGZNU13GRaDjj2WzFLxmpH8zI6CBtrkd+eDrkaSy3WU1HJbKQpt+e
3pyCvkCvPgglv7JWIva0xegTF96pdPUzCPJ5CPYEl35Vuryb4GDv8py0czN9JiI7WFQvu1JZN3q2
G8ifx4BQRrNuSX3kBCzf0iBHrq8htGdhhnUDF1/UvokmvWWUw6RxSaSRs/4UTT1Cm5aZQudCtl7m
VGxWVgTmNYjqtB4ZH1/5o8UlsokJpVrjjTNCQdkD/GqTm/IVaO9zUrBqyjkUGeEQZlIQ4xA3wWPO
Q+8Ucl0kY7BqyHvk/a3gGNt7VmMP4zixP+IQoNwqtxXwd77UyF+szF7nRfSXk1EdEdWj/qJn3eFM
7yJcyrHG+ByBwwZKV4hzrlljV0kXyK6zGuk4hcO7TYILewHCzCu0xCDnmVx6AfJqC8mglaJhL2eJ
gmukoqx0HiYnOXEvIw0FBDqBn68d62oV8oj0NCf2c9EOa9kneR+h7w7pl8N83x/5yP0Opgfxh2TZ
52oZM9c246Tu14mtiR+JGQFifH9aFG4pm6H1KAXL0Rxtfjc7x6rri6vLdmG1npK8+GKydZe24+9E
evBewt8kUYfTJrKBFDgtA90AC/yqgi11EmYnH5i6rXGOEfyNJNZvJguQmaiLjanmQ98NTySKVLKd
fZcV6TYdFsBn/NTo7Qt1ebNlHMnXqaaqq1oqUo+ByWpYMuwKhx58aCm5cy+neVPsXYWZ3zGVJTej
nQ+1F5OEk3C1YUoqbO/X9MhHs2YCBApxELOsHgnxSU//rwT6P+zZFo7m/0UI1H5Hnz//Uwq0/Pf/
QudY/9B1Fi6uawk0/MbyO//pzjbEP1ACWRisHd0Ttm7/txDI5LdsXUjXdQ0TLYGLYfpfQiDnHzB4
dOlJHTM1Oy1+679s49f/1PdgaEeRhUv9X7/+t6LPr2VcdC0yIt3CN/4/vNngcqRjOQiK+FNdmwSY
xbv9/XmLi5D/3vj3Usneqg3JRr07sdNmBJ70x9zUnsbRfRms+Vq69q9uzadgKDdNW98FiKh3yHfM
rm8uWhnsvCQ172eNTLugSdcceC6/nxMwomXBuS5fZa/3RyaXvaOkPy1U9yYt7hwGP4ifq0NKduRe
AI5YK4lZrAkwHFOZF1Fc+7GJKgGoyptWeJtKOt9Ea93DkbHXykUPR/u7NZucYU/LpNaKJH9ySYfQ
yVNkBVeL84bmFSVJDrHWIkK6pb33x5y2lUQFJ2rzTRN2gBXIcSazvA4Zl8oex4xEDsyKDqdArJhx
xRTusnBubYulOmGeo5NM1w0CwVJlDNs5UkejJuc7jEjf05y3PGLY4eZ44RINQmBvTb5adLWpQZxr
rvgHlSCKnAp5iLXsrziMDFkZgUL3tqMfDrUEZETFZG88jZX6mSTNPEFIP0H1NVhoSzCzk5JU2i/5
rAA8cvhmD26WfLdGgk9L8DYrTdyb5UQkMQVJFswbZaThZloUqngzgwysV4D3xbWzD1SsjxFypjWT
kmuhZoLq49/IdA6uF59IXDuhcGd0bmOGDO30KUHPHrm83TTERzyuKKeW98hJgKSk9LkkQqxCTfss
QMbnjgkIrqoRnqC7cpvoFrfZXzgNe2/WttBB/+yA0YKcunrd1sZDMytKf3dwts6UbWoJaczp7guL
gItCy77KTks2lkkcMKKqiXkhc+cZZY6Bu6qfMXIDhcSvAqEU508+Q8Vv51lCK2Py5bLQxQP6BrL9
hWnXixrDV73FiZNM/asYIa+2efFrMWew41ICwhxPERkAPFYYOXTaoDGxL1ZKuVcz/B8RtTJjFYcE
lfzK5LG7mEwPgjR9jmUA4nMML/AM6MQhEQ3ZRKuX29vRdagdJ7fZy2G4R6/74rbMMwcNXYIX1ds6
KQ8sGk8dhmXfaXmjqYHJo2BAKKsXpiPrtETGHbZcg42X4REeP0oPLUptJuc+CuWqUvy0Qj43IvnL
MzRQk47gZIjrDz6Gr8xCFYRk540eAmnW9FYPXHlZrL20dikJ2aDlayOND7IdvbU1yZ+pUpeqlu3W
UPbNMN17N6vRwpts3NoPm4xSX++d34jutUJCSCkEf90mRo/gT8GWIn+OZPglJy4oPUE6VV6cxnvu
rfw+ZLMPLJ/INkd+ZZFxV1TOIxdhyRPX3CMkgXqU/4YZnMcIm06U3IM8vGrR9BiOWrByK0YDISL1
Ir7EwlxH86mDMboz8v6DchdtXJdf+877TF3aOlXeN3Dx6A3qo3CKZ7uDyj176GZ5HqEg0LBOETxE
9LR22t73RK94Eyb7bJDvrJ3qaUz3U55jDESZYk7ykESY7xa4bIqtCyxLh3q7bI6SA5qiPrk5FZ4O
08zu/vmLwr2DR+7HRiw3y1/dlS0vb2xsuiX5TS4ROAgPi8Gijy/zaOv29Rvhjfd8/qFn3pURbTK+
9UkzDy1bWukQeIVy+qtD5AHs3rwzkdvnKRYJO2EvlJbsxiKmWHMAp2XLHmWt9eYmq81fdH6vOtwL
TI0RxtYEhXuc7/VlbBmNA2PwdvmL9WPZ2b+joV8TQb7fPAyPuV7fV8nw3JsIr9OZ501EnGeJ1V/0
sD7OROKyf8Ju70XPTbOEPAclWeXOmYTuaW3U7VcYU0oT2OorpiTdEP3mo/aUm8g/bEv5XVzeBlEc
ooD4pC+FuIK3VuP9YKqmkCKsGuO7nMVZC9ibWK1rrhge/QHfGFdFWUAJQYGe0bCllgMdiDgAdAd1
iW+oq2+lLi79ZiDTYBGR7EbETJSHhLE5DKYVCwtjBAbiqnNdUFLbprw6lZ5tIyNv/Hi42I19J71T
PWGmqoo7w4k/krL/qAtoFHh0+hik/HhA6Fises9iohflN4g8bzXaqMRmq9XFfx4MTQiSRKlV42nA
6etnOMSNBA16es/PFvDHwlKQ4jwljH1GrUpWzE7QBKXx88h2FWcaZIwMAaHZPii7eE6w60AdFY8j
9d+KzPL5bEdoMCsHmVFYHYq4NC/gI49DWB4J93nxeFrsxN2j6dzM2IWsoTsXCDrXU01R69rR2+B5
ox+Y5gve5SvTkedSj28wmwlha9U5CWafBMYtTKqXYtDWrRmf4uAx4UrYWbSYu5wj1LHcfeP+kj62
KiTyjrojCN7SaPIItnUcWvfcQ6rjZDb4YuIkFfOZdkyf2xG+AZOjdl1E5rii2X5OyhIncPKOSWcb
QP9gfHfPrhm1/yCeJ9thbNMXX80Un92xQPJSyjvbjF+jKLxMCqmRjk0tIO6sc3+LkYbKDAGphBP2
uGXvTtb83kyEpCzxY8dDQGll5gfqTG3rzBbpFQCr4fjnGkTf/pndc0B6a42nbqy8c1ngUUREV78N
IEP5MCFZG/ci1BHV3TBnEprX6+QDDUiWCJ1CaGHMzUZqkXFUuU1OB4i2bT92N6dv0Pnp2VeNZ4nJ
FLpjiKzWUUEL5+GZTyrkns3zyNowzrC3jFVeDQY6HPHetyjw+ctmHk9kcfkY/wwmmlXoB5b5ZGsG
QOGqe8yLYmDy0oEfS5wK5BqjQBMb+ZzfV1DA/Z4x3cbIrFMf6mfG67xQShkUFzEJASxiiFbRPkhI
yTY2sj/cP+lwsqviiYM43iniDnD06/uStQ0bkfkKXpwQjGzcAkr+JrmPkOlyepyfAUfG5AEt62PB
NM4ywqOux6QCze+yjrR9p+WnNGUiE1JP+AQ947OGPzur8Y998G/r5X5mslDlVcpdkIXPpKLc3HaZ
NdcoHdtFzVYSOidC+mJ3TIB7RTcIsTAv2oj5yVCX66pSioQsg4YdWCWaL1Z8SbQ2pL02RPYYjLcI
ldte75+ZrejELJZoytBsAnF8sxMUzFSKqHmZ6miK/6s+ik0uUZEb9JPUsTyjjhMw2ffRwrU+XaFG
Ox3dersGdbAEjum3hhUMZ6Y3M7LMz0S9Mj1DHpk1pBhFXMmdzG+OajaLi7fqLmYTZNuwrL4rhs+U
fGeWasvg9LB8cuX0iX//lVSPKx8y9g+zPsQkiPuZR+o4E5qGBaE1q6eASy8GgcOu7VKzcDUD474y
EaSZYWQwDrEeUSSw7Y4/qlD86vDLjelqiXHTIjhi74Z7ndEan2qwtXAV9wsSxRAnM8leh8zc4Q34
mpV9GiODeNrqWydiZmFAx3X2gAoc5YTbwz+XN4J/Pvq5sc9dfJvN7sfLLV5VNEK5xt244OIYNI2d
8xSkyVIElqfc0x+6TGV7MMLvBXGnQPOdcxbIjW5XQJXhnGiVu//nB0BcLwSU+XOuol3MGCjV01/E
IxoyDc4ij8co02yczWMJq4LpYW5x2+q0MqtGLa2KrQcQUbRnu3FZAcSkJHvLkKopzwix/7Q2MvZh
NawnDzACagXDyV+9wHDWmoObyjGKG8z0xA5/JjT3svgLRlAnzYiqZ4neiHBu9hNeSS6yaNhWlJRB
RXpYmjD8tZ3kyqzzTTPCsx6qC9V0sY9C8rKs5EtYYblh1tBvYmkveyJGsuAKCFolm5qyI7Uj51yJ
EoCbUk+DbVzJdV0y8tBnOc24zYZfAi6Sg+jsBuF8tHcZYdNmcabbnoJJmd3HXQqHi9DiQG7TLtnU
VnqQIBuPg+69FhMmMATa1HLtY23JiyahKcA2nP1o7IeV8oYn4th1jrjkQRXuJnXs11rRcvFsJ6vc
io5po2/drr6wvYLtPxCciN582A+R3MRJuRNZfBCNSRJPNIDxb5+EN/6MoXl0pXWdCig93Dr8UMuT
tvSAixErVc8Mvs9GMK+0uTs0Y/hruC9y0DAh181it0fcquo9ny+CdVBak7kOkuQnNBj7NVi5fTbE
x67ybkMjfuo2f5rC7BjVLB+mbVilL8Ggvtiiou6jmaEF/RriitdIsMLaDZNTwtOjDUgIi45CxUvM
T2bAqJzSN7Nm/Z+6x1Rxg+ettcDH5vciWsjwukF+Y0rwFvEPiLQP5MJIvsC0sEajH+dKbmejuli5
eiLO+peQmXKPQ2irY41oprHfAFE5YJ8z8zJe1ykZvN5wLQMDq/PAFmhoznOfn8Ui/+/aYy81HC8D
KnrmC4gr02htut1TgqDDtDBp9B6VTegGm6iD9WS18SaI2Flq8h06xUGbOCrwdgy1vtzW/Z9OnQ17
xFnLsbmXnZH4c3tqY/11RAe9ibWYkWpByasU6abRb6qXdyHIqXxMiZ2sZY/PeGTLbFsHyxkff7qo
KNlHN9XOy27omhHRSm5A8Arl2jLvh0avGYEPfFWj+Rh78010AKJKNFOa+6z3F9YWe3KsPkBE/yYT
Js65ZYra5gzgs7B7S9uJhqQXJ3t2at/Wom0iXd9q533jeS9VnDVoTAAIoMZuO/Fqp9Q42DZAjuhJ
whhCT2+iF5+gniJ+EfnuFBnY6YHrp+NymplsN1IXrWXDZiFvfvA2Pz2gq/uFpQmW0lnZyVieqGBO
rQJ0WRM4ywsMSMtbCEhpTmpvVMAOLSZQUbFYNSSKDVRae8Kcz6XZiA33DpShTL8hd8h2dZU84mjx
Fg4LTchcr2fIfuj57PdK1ZdUOU/gTJeTrd4WMn10y4QIdtIdGTg+WG7xrdqccDFKER8rxT2CNrIi
XfsOoAkifkc/a039jlmR/nrapDg6KzeDN4UV2o9wMINRgvChWyNyz+k2mf1psg3weaPB1WVW20GY
WyLmposaxNs8B+cW19OqNItHxDN4TafxKxMm0one5sgNPro6ieF+sjuy1ETiyOBntjGTQ0eCG+p5
SWIP2cWCEDCjZKfTBFvPLK6WopOr49eZ6FpEYS7Pm/fHnOVHy4gPbaonTWU/wHlfxoBcNK9CYKiM
rT667LWI6gblieyObi0o6hlwUZEt5+oh3I5G/WtCX/INl+6YwpDBrlRXqRazpgDo5WCLy+Cokc+E
tq3njIVKAMAKhcAqNatsPS504I7AcJ0Ib6CAq3LofnQTdVdvCIwi7I/SNugJtVXG2nJIaTITZA1l
Pq17R/4JeQhJfjlGwb6hztjaA/gN2aDqI10gz7Mnoy1xt/Gi7PK3MQ3vWE9sM2P8+lXNddL0NGwE
2IWZQmHQRNwL4E0ZNyTErG4SObwzpH/NHEZGZdBuUOnrvjsy2AMAF+wkGwNWBGSfNuxd/b6F3IOG
xnuKufjj4N2sxLQfinqdEJ+QjUa5Jmxmw7rkLcfvtEqEWEqO6BOWybozMQVSbO40a8LnoaALLS4v
027fkb7S/TgkeEFum7X0b3bCYa8DnbKKF3oeGkoYvswe6fdwX2Q5Emkje0aYgewy4EpmIBLW8wp8
BUGLpl4sUKm3IbGCY6vKZy/vljGH+Ubk60eqeRcyZZ5zrbyNtXotmxd04K/k9voExxLJYALDyYX2
awPXALezGE8Ksv4s0WsclUa2a+f6D6oWaTQxUV0iKQc2ztEpzqezUfD1UhNEhNRAgkkGHML1WxIR
016wYZAxruPCeGTP8uRpEJs0UX60LxXABvRGUwPXw8zXTBYpxGfGFmQmi7bjflUDyMLC+krD4g0O
MyxWG/hXwKqSBaKIfS5YB9loAGUrN/nKQbFJsvHmDgp4/zgQLxT3r4RzHxbqge1xHEpV/+HAeUZU
z70GAwiFFMWwrt/pIj+bC5vDSn88/eYwL6kCDUmBd18nI3l7HN0yGy8mUTFQIiX5dAS6zFhBR4/h
KLXWcZ7idwTiFzomta5Ndc6E/YrALWAYNt03wvtlPvWug95ZVRmR5kTt5H5otXca2QPoRrRqh26C
DjGojrA9biQF/7rJG+z0fscqmgSTeqSNSe9LDfoXUaM+eWeHFK/0OorMNxM1LWX8c4uqnPP0CVD5
S107wAEV1vL6sTLdD+XuMfd80ED8eaLB5hJ7+0KX900PMXuo7/W/wGqzY2yG9spOiUaDHu1FiIlA
bS5zz9wXZvpFKvBHWyFC4LsrRyh/Uma7DkMeqYLzGxImBl7t/DA31O+1zbAtiP9KA7DWCLDmUDr1
rc2aPaIydx1PwbeJPV4L0EKFVrmZiuIB0tMh7r3oTAQTulHjkjuKxbWrv/RtdimpqkMPS+6Ej2A9
q1usYfIA5f9Gq2PtDGLWCIHiaM8f9Hk4mJ52iTEkoLnFO2O+z0HC4EEW3lrrwgWdVC9eP7+Bm+K3
roccFOly53rIoIym3tu1+WMMJaqEti3uk4wXbhFCntZ8Po368tDKCM+4tEHNrKMhk87hhmBOyTYx
bvcYRR/mnn15vm+bodkyJ/9ge7iq548eag69ZvDZKoJnY8t5yZthAhI63Ihz7nxnil/BaGF4aIez
Y3kdUwECqAk6mojbGIPyi68v0KSOQpd7Ad5Yh5WpDOurZ12Jjc/D4bkQ7dck4gdgQH8xm/YxDaZd
aIafQMyekKhQ0qtp3TrIIerq3gnDb8vJKr+hZZJD9pxpPDKh4qIXDKd0mZ9n14XOIsqfQjDaHKvi
3uDn7ermyPHAindoWnQh1a8aXBOKO7IAvsRMbJyT7nLMCkqBDAWjMNuCCfId8mtGhXb4blVYeFKH
i6Gndi3dzyGZeVlddMq8o3SIL5AJjok2nJ+D3x7xwwqwxW4auPHCYcDtRm4HXj+Z4efMPGJyWhSl
g/OtVxqUfcsqadO57fOW0W7vMmkP4Gj3w62NywezBsGfGMXZDVG8hXVwl1XDdXF7ZlPjbWZaSVyn
tOju2N8P8rfXP/hC6I84WY8TDPjNXBsfqJRJ3hmmDwgVlFUoK6C94nLLOdmVYe7DgVD6wH4ZTD79
gGyVrja5R62ceHkGTpGndsIWuAaiaeOW7sustS2tQrC4ui6p1CGOMokCzM2UxGMUy3smwvzHS+q1
RJCVuiBbeiu8K/G3ZSp6XX6zx6YLioOwWkd9yuRVxOKq1Z0BgEydMBI+Unp/LlN0O8SkqhsRim2n
eqrlmx4G3yI1hr2pjD8TVgej1JhZXH7GgIDDyvyBiM8UwMLrFjuu30ICxINA51uIi1wCJetpAFg6
7jNFWzRlLMKNxL4jazPwe1yZTDe8I9ZZcTQnUInEqx/aADNDWKSwnJIMH4yGY0YF69C2HwZqCz/M
5p0JmmvmY67RigVNssZ7kS/b+vt4VQLofsS/gqUx+axQnu/zJL6UwN92Ipm+AsNdW8MSAF2gdBfS
EIyLkTfjPRomSbBV2f3UyoYg4VKeVdZXpVxYeXb4ymwCTdCUXGojuFNQa3aISn+C2/Ip2TNhkWWw
JGrp3rdu66uSBNqVngfflWwb3xY2l1D9Z8852op6/oNwSd5GEt0hzNsmHjJ7IV+JwUx4eQddFqgR
c2TOZolqYSRZLZVkAkBGvMbL+9FEPXJw80OX4r1qiCHIaAXTQuGhjRXqH03duFH0bDK2CbIOGrph
w3B6QTwmtFXOS+9ym/cW7UmHsnilWdnW62NM6ytGp/reFNEl7dlqtmw1xyzfIyh9mnQ+JNKFZ4mI
XyzpPsKNi12X19hJ0QY28MMGu/zT8ukUq2rten29yax2x6iRNZ9eYDEUB9Okl0F3TVVQuL4ZtJMv
O4kfE1UUwpALbf+EV32+BSbCmy52vu3cK/ftxiqimyYAcCmIyQy0xy195cF0kLGWaWj5RX2HlSU+
NGjbqK8Ry1SIG5ugNndq+eVYHoUq/wjnwRQzAxArtM+wEXLfGe2tdd014EK/l+QLowlHwAjvynCv
ObvTY26RBgySfiMr70EH785sFn9LxdwRqXCq7xTz9PB14GKAGJ99R7Tqq6GnJ+iN1DoYlYnijjaB
EKdkLZT+bmoMJKe4uTZ4mg4h8iYVHuuqo6YJOOIQuunUi/kaYxLD/IqdWhqBPIna9GohBWXJQPpG
0O5gC2MK4j3pNerWXtg0WO3SlQOe1wnLgiCYXQU4xTUgVjOvypVdRf1mDg22Yd7fOLTBToxsV1Il
D53QHSopHn7Liv25yT0IY5Hmtw3KOivQLp3nrUfSq2qtuQsTFHcu/hnTU6tyCm6TLsMjysCnqAaS
o2POwl6Vmi3hzfVk7zzULISRRIe4Yuo9tjgYF9sWKSxtiHejkFAFki7AJ1vKZGsjM10O4ANfWvjD
g30Tgb54aMKznCEbBpTaDN75wjHZW7VWkVxURtJUjW8dJwdRkmi13lBjrs2chaOoUYmkVUMTHVdA
HqzwO2qyfiULXAmCegXYWF4cdDOhlI2SeEsO44VVz4YkBeOi2kXl7j0Qcuc+RIAmdyKweFcqfuy8
/GtaT910pozHcWxPYzk9eBVSvWmWd1XVhXdg9e6KUntlRvmWRKOLdcHBGTNBAF/+p/B6awH1wf21
f3uDdEryvdZzY3B+Zu6V5O5NEOI9U612p9d41rPCAFZVmnD3prLnL+Sfxsxx123afVI8hHlvHsuG
9Bwr6umbZqZdkIRb+IHHpI8jQqGtItwaYrxqFWFSrXMcIm4eN5vu9XSmGhXmx5yW0X8QdV7LrTJd
170iqkgNzamVo5Oc9gll70BqYpOv/h/oeev/TlSSLQdJ0Kxea84xn7qhA3WYIfguy7zemrS40zJ7
C/Psyc+IwXPDdy8U9iYLYEwjvIZSPNofTdv0W6ma9uigf6ZSZGENmaR2RHFdDOU5e85dIB2D9UpC
/QbCfrwhe+KayPQjR0XLrHvKP/vsa5zyNeHzjC7IoLiwn2pOcQTzojWeDL/Zy9hqdkXaF4c+8l8H
b+DyxoZr41sAhNyQFbRk5drUeFCuRVdYmK/7FiQQD2XqoWOcAP3mXPAeBZPGQ2wiGFge+U7XPt7v
qaKYDladf9G0B6sk+p7tJ1upkrKA816/BCmEeYhMjx0m/9yz52uf4N8xyHMcnQq7kwxIMeZNzDs0
ChKG1aqWbO/hty1i/eAYwceEB/zKfNvgZFHd3stoKmJBM9Y2MJls/F17dn9wIQJsHbsaYJ75vJ/I
fRGWVZdWtSVEXgG+PZIvlWY85oQ0eWez+Jbz4G4LzAkHPN94QCQE8ckF6W0nKR6OCaY2M3EHIkUT
shlta3fLZMbdlfSk6cqU2LZVx8pfKV52R0pO6g7fhUrz4yghKjVDvEpNH+yGnq/OAogaW9I1RI+e
fsTBkElAKiBPs4ApQWixR7F0B0trOZxsG79RNdSnqkHSR0n7KhlPu4mDp5a3tWFPv/I6oskd59nE
f/5YCKfcdSGaupbSpciH5pB11JNtUjyonta1gaobO1A7HKiC/WfNBWWcoyvComNShslzxf/96GG1
npauNvPCRyEdRsM+V8OuqXdmGlF6tf2h6+0PR3oF/8TGtxvrKsz6HHpsANkxtvsEh9QtiL6yftZv
tehKxtrjYy1pYWXBp9ao/5le3Epdfucu67+IG4Phn599dFEDsNACMG5XkLHCtDvlMYnrui0+jFh9
GFVACdi56Iwk5o1k5hqbez4iP6DdEQHgTAmb6MkS3cHQaXW+PzJSO3qqbUzSiWXU246cq+P9Rkkd
rVWvYPUPMbreugdHBueRktDNtox60w0GOxPoIunmCqLXzi38YBOz28+ZdzvS6Sn8DefMSnjS5Xxt
cYgCPGpKkF8Dgpe8JmyhZ+olacicg4EQcwQFVav/1Vaq0aGjTIKtz1itv0Sl844PBtNCPRwtFaa7
qapvRSb+DQmEGtsr//SDvDT0Mt6J0vthWG0c05KJYd8E55q2TIwQ9yRp+aPXizfBbC++/XggNQ9W
aonXos/EG03+YbWF3ATQ1CpBpw4OqbQCf4W6RIP91mi59124rtV9W6nzcwa4cqdyvUJVDP8HhNw+
Aw+3Cgz2oDLdI0JhORR5suob6qY5MSNg+DS7MUODom1fZJLYuyDB6dva7lshvR83NJ9VSos/VBOC
AJvg1aj5Xb8blfkVtf4vW0tkXqJ+4s2jvUBGM6rGh95mB1pOmK5zM0m3BYoj9DhiQ/nNsCBou72R
lBruUnFVYX21s8LZ2mE9nGlok5Fu8lnnCvVr3HwGGIchVRyRNSGh8JPskcxgvJuroeQCnjaY54qN
GQwJ2CMMwxr9fteCrNcqGHdwSGi6Zgg5OIlp2LawUirsAOlI7RZ+TIW9rjJ51rgAQRHeBo9+IMQr
fngEjshyu+Uc57SsaQ0bGfGWxfjoxu1LlI6Po0Bqbp1YpxPaYAlDa/ct0QsWVI7HqVEnw0fS7zJR
Tgw7vERzfkDGo1ei7jPY3eVbbOPpKqZ9nBdkOgbB65w7L2Q0EtE6O6+tZ0PIrDY6HnF0ES7vW6vI
6/GbCICWQn8ksf0VZfaFXvzKrJmUeHmSH5CwkZKiEJpmIv0oe4j0vPpWO9bBbcZnq9U3vNTGakyN
r7zRinVPfo6t9V2AKx3a4ZOh71sUHeglGJgayhdnhHsaOgQApxZx1MLsdn6budgYPk1TNy+gfT46
0npYAphbOc4HY5AhITJ3cCrAQQzSj9rgM3Wdces2wj8zamAyNab9uZtHGBNtmW6mMWRXZZkj3lZ7
fOrM4CcLuSjhSGjOUY82BH71dCKbqd9IcZry2j8EjsEQFK06rAz2cRUfcCoM/+hZ2T/0Gr9Ln8LQ
ZjDSYxnUIqxv/VSiPBvjF/5QgToQ5kChy89lll10/XjqbU4mzyhpLlnxp9FMn76NJuXB/92V80/T
q+ZUNqRZmBMNZ6vAaWkV8lObTr1LS1vuDF981XlPDx3Hxh4W/qsJdenceAtRlCksORz2nYeRbDq1
YJ2L7I+Ys+ZBW9BMbItEFxfDKpFmVGILUbNLKFQhiyAUGN1PHP3Mx0LdvvD3qcfhPDZc32wPi7JD
1buK1bTxtBc+OBRsnijr3dBJoORmfOnqYTfhbZqHcVpqOmJc6mnXxwylx1IgFfCyp46tdUnnu3n1
rQXvWjYv7jx/jJHQlz5lOY5zgW7JxtVWGM7JQwMLW5tGcR2M+5GQasYSWyA8waqYKVKlHx/6sHtx
jLk5Dnl9Jp4wOsd1Cp1WLAe22R0U16E0VfrJSAIwr+7v3vVOmBGmFSQBTitRXljgKa4kHP28Ltb1
bJlrjBsWuTroB2grJVhxtyIR70Dulz5KJlZeOJ89OKH73tLbmBFmkwGmcyTSaTcexeV+Y1A4Xai5
KL5ZePZT+BRnQ/KMhSZ5idEZnKps+syEo6/gOj5s9n9+E78HDj6BdiiuWZ26e0zPkN6h1l/qNrol
JnIpq68j0PeF8YS246+fZ8WpBKGPaEcQZu0bvwQltoYpJzk0TpIW6qAiA4wVTRDH0+6BXCNyL7/m
aJbb1IT6OZDWkX+RMI2rjb0FIK+MXUUFfaiN4m3vRfpYQMRSUXZtBURiT3+icQo3Bu9E1xEFgGqn
2PimpvGd0XoqKuawObRfetOMnSdqm86pn4ngW2SZq4xj/To0TL76EiU85PxN2xAyLQEJjf6/RWq0
KwIyilOv3Xa9d5nCDM7dWOpdTEx9lCf7CRRC2mICbOQ7JHKBuo8qUpYHYQLqbkr/UWcfBoZtcNYs
ccaXDFlw+umRSLiHGvbgVisY+YOpT5aRvnTRjGQgl0RqYKzJO/89gyuwxXb5Gijj0fbI3qwF+yY/
8JA30L5JJt9dWXmOIICxoiHZqtqE2ywxJglYNSo9ArH+YOc5dj3MAsdqsp1jE9Wsu+6Wj2zYZcqu
HvUKl5xAAiflTGc8mV4ydCg7uvZsz1GvrnWSNrDBSxi9WnyoaKzYfpIpIQAG9K74nQ7sSwmT7+xC
nonbO9iOGe5S+LsDJ4fXtthDxoODFFdGmMHcRqJTdDCOW7StOUEgzRUhSmnsWoAkfgViVkyGac2k
Dat6GBPbOCb9uEbvXFp8tv4BI8tvVcEvHyjymU4WX0wWKNMLOveBi4YI0fp+JPh9U3hL0TGdqiFe
a2VOa9PvkdiAVWBAkruHYeGIYzBb97b/h70LPjxnKSPaarEfIt1tWDfjlqzftOqHY0L4X5YPMPJZ
u0gAKQV9Q7/qkN+NLrJce74x4lx3FUk0eYy0dtJAV6WhPhPd55vRF2+ZVSPCG0c2yOCdez1ElCg+
IL7BeXPrxY6FbhFf3PdgjIwHUDCpuol2oZE95QLJcWz4BmsvpyR4/FNWBs22iS04OOWYP5EOT7SM
bx84GiJw31747tvW2RlQQUCMoWFsytciLQR2D2E9TnNqPfoAXkWP8d1ER/ng9FZy0oNOSF5P/H0x
YabMHH+vAuc5KnV3SezpsVVGuR1T76ZLa14B2CdeyxbyCESONqlbbdu2f0c+zqdXBu1mXgAtXEo6
yOUuK4WCymSN0bOJj+fcMzRTNAouFrz6dcRG3bQm96Em+3Jd+xXRLnQAJtOwtlVYv90bUUmW36yx
ZXGgbu+OgNzrXc9xTi25KONhLRxV56WHJkEGM/vTscza+Xi/J5rsf/difkAOQqoCNY6gXSvMZmcO
qfukGtHfmtBk4a8aY8UFjEOxNbr3rKbFzVw1udA06N9Jcmbf6U9PvjGm7+wbZmZcYQSTww9l/4jC
5ki3fK3BHl11siyP2vIu9P9/F3M+vAVD/gIsxt0Fw3xyg+arVHH5XlJy76OU3hvNzeId44EHnRqZ
bRo40T4oHHOt25F8WzVRmjtmS6phnB8R42TbzrXnrePPwzt6+XRdZoO5G0cWieVL2mLB8thB5CPl
9xQmF6QYH767UA+cn0a70zXr+/o9I3w2qZNzBTDvohureg+uo4WJnQvOKikAbOE4T9FcMb0BONkA
YmGNjvL3JK8lW3tSWq2Gk9WY1Du6We/JbZpLQy7Pu9HgaI9s+S0Tk7Zoeprk+EfPqAWY3w67ucvL
Sw3piYftXrYG4OoGm5rJy3Ma0oYxGYA8y9+JdM4PLvCFtV0xwlaqlJe+9IihmwbE9MsfnjNF47Ki
73n/y8ppjTXTzVPg1YzLQzd793wnpKAQrNeIeN6TQLDqizU2lXZFD3Ja28GUPAXDsM89oFo5DqZL
hI/1tS78jR0kO18r+ezSF3ybsn5fsPfagSh1V9kSvWTyj3JZQfKbcLWRmLQPRAUUL2KhY5Jl0HIS
1ei1r/glqrc6Os6lmz7XyGFmc761DucFmMt9V4rhc/Yku3N7IfB1WyQTNCF65pch6GrAK+k/wF+S
fQ2JyUB5kvfCqKGTj8vFqFXOkYBMZ1VP6T/M72gfyC1ZlxZNPrIwxcGixR/lLKPstrfa8RleOPnw
Tl4Sps1u9LHy4T2ebcbp5VQdFLu2tdFYDEV8eif0gjdqcqIv2U0XD03xrOZd6pXmrqur8C3kPFrN
RdAeusolAcpGcpdSBFIlcPBNHGZ3AFMgR3q9s/jNASWufKDuew+cq5Bd8AjbH3lXax0CjSXEgr42
wIxUPcyBEnDkJqjkrSctjvl3uu5PaT+F1z4sUCQO9K5q6Y6HprUfuEqLNz90y21q8feXFu9sQFlx
XTc4SdA+0CGb6jTUv8Z6slj3oUdJdjnombqHIMg0ksAl7MtR3yEk/3dzkeYpH1d1PPD8sgKX6FkY
2xBkwpo1UQL12fDXWkI8TDWoa05889EG/7RyYtN+Ay2RH1PTrlDgoIr2+7+V6/gnARXzKHxM3hFy
Ymh009/GGt1NZ1jVpjMBujUJHaSliWG3k7EzYMSt7z2NcB7ywyCRicPs2JZNOT1mzMyBHsyHOCYp
11tOijiireF5MZKn5aEle96aGWBLEivOGzl3t8YOPsAIQRS3Y+qnjjZD7Vlvi0tlF8h+wTbY5tFq
dLJKcl3uxtZXGzZjQNcSD+926YSYqJpTiDFmQ9rxXqD2ey5KN9qaTttszQ5oZ1QYL+UsAn5Z2oGw
K9w3gy72hg71sK0qUryaqr+VqZ7JY7h1HRq8aSryt9GHD6YtDvtadYptaJoeO3/k2m58z7zWF86o
jSXS4ogVcwmO1f1bX4fqZAvezvvDTkeoVHkHHxJz1ESkNykYH2JrpyKyCApyonfm9fNRj9iw7w9j
x7e3uZTE6wEzmQEevBnZYrog22HVxkZzhEtToK2dxIHyAa/7cmkQjCV2Mq4sTJOcULrOQ4SWLOAY
SNpHs9Lvgjn7CnZTeWBu2ZLflHRLSy/ZG0XUvhndMkuHNLINlod+2eRborNI21w+/cLx8h2lD8PX
5bulMqq9Qe7PfwdDXRXDwbOwhd5/s5On4igaMwAjxpOjvlVnxkf64f6rDIhwF7d2/twfCfBnS3zY
6/1REhfeUxKWx//+JRPSYmfr9f2Rm1f6ptNrhDN9xOZ1NINwuN2/he9n3eSm/XJ/lIf2Iay68On+
K32rflGWDy9reR1S2r+bxnMu90eRj8wTjHh5vv9gO1JeplYr//vzBbhP6Ez1TEnEj84UaCRn+ppL
Iq+qr/N4M6Cy2N2/604cXRAMS0aSvLmqKrGFByHpS8uTDSmMHZFyA8pHvgs5Qh2UYBh1/1n8Fu3R
tyR4mOXJQz26pz6XjEWWv5sE8EIS5K40hvnZPKPjH/agfpbnusbYPLUkytyfKvsmeUlDB8UQCpCm
s2DmJ+AdK1xVVRGNb9iep5szLi6dR6N3vEcUtPbZZy17yJA1DEkZPHcV13Vm5+xL4+l5NqtLxd77
ZKKm3WtYu6BBIhqWPmt+GUvzxmd/sojoftAUlntsiu7buLxSxBo5YSVRuLbYaLAqRQTgwBGhqTdZ
6xCl7pvCZIx4kOG27qwE80vfLVxBE+F8BtwHBobw1HNmSwPEcpe+kIG85loTvQXLjZBfjo7M1yQZ
D2ldmk9FIcl7gIZdS8InMeIFdDpj6Fhe/DqVyV/FVf4C4CB/o7EJ2GmAwyfY5a/vXxN4mJZRwKH1
FouRvVzi2vnTH/vhYDraXPVARt7mCjKMB8/PcUN4m8uXKIMZjJHpsYbRA9lp+d/ShApBusZXZgXe
LhaazLCysp4D3EJtjGnnfgOHJooz4/X+CmU0bdsIufyovUeQjMbNX1bKihpmnQ/FD/iRF1NM4ha4
mFUSBubnukj6nW/GoIxj6dMgl9M+yHNxc9CNbvHStZtp+YkWF9OhbwXqTk2duyxltOfcs8XeHcG9
p958MXZoVfKn+zcdX+d7TnFkDFO2Fl2s3lD7H9s6x1XmMbUtSlbjsvpnE6vDpcMZb3NivRZDqa9G
gSI6jPonbwKHBn2auCdOYT+1ZloWpOnZrth1OrDWnmJkp6P+ZmK/YgrcP2O1ZBy/XBVkaUQHVZOF
ObZFd9NhHj3W8Ac1c5dhnt5cOF9wtfsj/Xz/osXwZXpDd7XVfB4ImGpVn9/Y315hiKO2txgARlGx
Z2VEk2gmbObr5HlW/Z8uKOwlXs/Z0/4mDNGcjYcyjNlQdrSC0siLLgk+HMtpt0Cx0DxkoH6Bs5kM
jC11i9IeOBQdgbVb085Pxul7BGexjCyhbMaPqaEvrbTN6ygq/Szrdss2dsJqmvwOKcpeRzNRawk5
djeS/rTS48403WNsR/bW6N8dH4nQ7JdiD1puPUmo02nmevtkmaMJvFRbJ/CiTauD6WYX33kp2f3N
3T/DocUZjsCczYaCLwre8W7gHHLSg12yvYjrUr90xh+kOf5r03nIDEU8IaPIqKfYsReDfSqDabg4
InhVpZ5JQUPPrjock9byPzmG0HQH2XJ7lYzWy6f5iuDCD7Phatb1K3ZU83a/MTaT0yYQDJMFaMu/
bVYpq1BKo2d5FAHTWMnlTTQaZxvUqbc2qxuTiRsp0C3hyc7ZY16v/NnBl8Fy0uX2cql9o+PsYd/w
905AIzGKovaA1e0gzV4SdqIp1g3SmqYC+FExBvUtxETO1W0IuORXza2IcrjjAS4pbxo+LEgwF1n7
wV5lyNXBtqKxfqtl71xjMJBOa2ncLQz6I/3ZVwsTUmJliiflH/OO9pFfwlVzY6hIFpDX19YszH2G
0XSVq21SoUCi1x481Jhd1nLqv2SFBSZ3EoDXy9NFsYiITPNdk3rYNcEuKKPhdTTyLWzWClxDR+U9
oQ0xrHHaprAPgqIKHi1h4Cme3dscGO5tKZvQwt44jc1HBsNHc0o/O8vbjGQKIPYJvZtt2oDV5ZDt
0JX5N07KYhNEAihv+lWK7Ky9uSTYVV9p2yBEF+l5VLSEkf0+MML4FYCr2xOB3r0Sr0cTQt8o87OX
AiCFt8gIpGujR8DA00j7GpiC5Hrf5E/XxpM2P0oGWksyDH1Xb+qvPbGz1/u9okBDL8vmoyKEJ6Zx
g3KaVQPcjwSePeGJIl680sn1fpNyGm0gmD3lVfOR+n5+zaYxv8b//17Jnrdie3rQY35xyw6Bzf0Z
+fK0rsdeTQbmSza0APeLnCqZLxeOcJmVJvTFQWMZ68hFHypq91h06jRhKFuNHf2jkY7gtVYAJcBm
nzJ0V+DSgZ8EADoGyfw+wSqdzlhK2tBh4SR+1kmOEp3YhTYVQ1VaLbs4SWqCIAbNzhmo8v0bAXrQ
/54yLM8zaPuF45wxLOPrbctVu+jQrzb9pzIyNmVKWkfWnP/du38NqXG+s6foEs/lcLzfEKGgyB4M
f8WkwseOVW9lYLUYWjKaGPb91p/Jybt/NQBDrSCO8rhHCuZl39R70dZoqVq8SR38sHluO+vNq7v8
V1+V7ZoRF0h+9h1vfWwepqrPnp0S62SfT1sjsKddIBA+tTRP1uME96xrQayijoMrjTYLuCTAHQ9L
zs9AznCn23kfQirjEhZah76mp0uwcPnFh7WWZd7+UBgClUJgfSmpz7YtjQZUhdRnAGxAJjAffo5l
RXJBi2gvkSfSnRsSoVGLKrUVA26uiXZe7U3WayX9E40SbK6NFTzrEdCKN8zxk5Gq6Jy2lUPDTg4/
2aNh9Mmvmm4fkFcEIqlhnYw26Z/G2fw3kcvNoGpvqfaJVGrvnYg19VDM5fgS0Fzv/Eiu0dizXxwd
4GUTwZvNFTuac6gGxJtsSNBB6Tg75FH0Yze7ElzNuWNMe6t7xlitbNK9qbtxGzCH3c+V2NpcLr/r
/DPJjWVw57vvVuPRdfmc27r73SgNGzGT5WOO5Hrjpy6WgabK9tlUuefUpsXBCLBbkXEiIPmC/kZv
f4hrN1m7eW//OOE7IfT2h0z8dd3YTJwU/W9MJ9XWqMcvs1o+PZKtWKG9G/Kob4vWHXvg0XiSjuOd
vZaBw0JUE0ZtPzrQtaaId96JFa0l3pVHG/uTZtCCmcLqvpiOf9B9Df8aiHQmWJZI4EjGGWy3/+Tw
NIYwpecTENNr1P1nx6GANqT3rhk2qZsgPnNanqm8ASFSBaAYQyIOkWIWJ8fAN+ikNd4imZSAhmz3
3TO+JyWqzybrk1PDzG4BaYM9xC/ZFbSAVdYEHPztiHDGNV59VnPElOVXJFOx1XTcd2AB1Ckm0Gwd
oeKSGWFqks/SLQTyZ4ChEyEyyMY/4qDod2k9dec5TJE5tcZGkUN58bIGwpgaf+YQbRWjY7IQczQ5
wyRRtSHvLqX7opuIYjVrHLmbASo+hMzoEkVUtd8WyL6RoqiuTHd+Nl/JcvlhdVf4MW0i62x5SRU0
G42wjCyfpVU+s0ek59s8O1GQktFLBHXTop6hKI5ZoJaMWbeA4wVUVqQVylI7YADhjRI1FBO4xh59
hJr/kswRZ/ZA3vl+b4yjf0PTRTvM98j5Y0IooDEvEi0PCqA/YFWF6wj3cWu7MAezztykUmDgyy1n
qy16euiK0gv9N4AqxYl920pFfnWK+7FYhbX2kc9TL/pTer7feOxPoLFCyC0kjGgxGFAqhxpEfSTN
N+HUCFZM62RZ3pssp25HHLR3LpAonDuaVehOULvpOqxRP/+AS8Y016AL5I0+G9FNoldb9QghV4Ob
xrDYdHy63zMrVW8rGf5BQeruPL/7ItuYIXsFPz/HxHVKgO4RFUQmiBhIyOwTXNg284WTudwwsstP
k5UHR4MdnRMV/33l/75XJ9O3OSIfmxye5CA3Oc5m/797Ykm3DDCjjMaAX56byULAl056j/Hacfdm
Qh3YK0v/97tRv/l7P5Ubf/lLYSD2c2ovnDT7dz5Y+bGi51P7TnDw9VA+xDZ6DD+5NAnd7aJgI8FG
jrXQIK3qJI22PNUt/lSdMjhVFQMab2wOIE+HU7DcEPnbn8wQtFmqFVGwS+jyHB6hwncg3YfiIqqa
/dEYK5pcXH+mwvm+P+rhW57u9/7v5v415anrEJjxzrRXgD3MU132xkkIVtOJFLqHuFnwXa1DJFs8
4RXyRH7DBA44q9sHSFxP9xsL6eumcqGiuCV8WsOg00exj2GjhYCq7TVA7uEgBr3RWFkBtjjrYG6b
dS40ZtI0Pd3fvPsnlCZRe8xoBLiVMTz1RhxtIvqrL0ZaIVIaRmreMkS0KjCyq6msPlyrZYLYmf5X
7we/pTKmHz62R9pr1hOaW4wCzrQNgJEABarfiwCuDAGlr50undPUdkffnsXfonD3ifT0P8dE9YK1
hPQe54lRNw1wRLa0wi3jc+6gvRFpn25rLOvbLin7VW10C1w/Pcf+ohVzyvplcJJ0Q2eve0p70Cd9
g2fZw6Wyc5whuVQOmBgO8182gP1TTq/tUAs/wovSZifmQ9a+Agp6hqqrieC09NGsyrONORdKxlw8
McVUGysMwTPMdrGuFOrEFF4LdSJDQeDtaoBJqpD1wHh33yoSwRZkG624VZS6rPNxMh97B8dZ3Twb
XD0HbHPPM+YE2yUrXbD/GlK4Ggoi4rqgwQ+foTFeo0pZazxKvCcmbkRwH+wdSnFJzbzcg8rIWEKq
8WgTh7FSFkV8t0jF69ZGNN6H7b4xHbnFr4W1oIGNKI2RIstiRFk5xX7mPU9aunpN0x96N9yWigGx
XyrIkelI/wAiyaa3efX0F8WmcLFjTabK9pYf/IQzuCVgqOGzFY94q5n+5bl1cUmSP5Se85hVElBa
5skXeB3AOZd7eu6nB12FpwoO9ZnUrVfMge3aMifzWtrjRfg4KOKwhu0RPrL31QzRmCDHMvhYmiXu
VKaU7Qj8HDFAsWVs82RX+PdG6D+JGC+2Ryh4Xj0GOOe2pUZKrkpxgg+98vapj2PMSyMoN252Ey7z
XYU9Q9npLivlgbO/YmuTBcida4Pu9QArdw5hKavnJP/VOrXYxp3b7TSlLMuDTaRXEi/lcP2UydgE
IzCQ7EH79VG4/m1swZwrCTdvASUFZaK2fual38EEJHj45UlvwT8aD6MVWCt7rF6ryUDiwCVaREtk
Q47hShMWnGLemoy237UMHDiaAv+baoM1AtQ5zZJxN8PBH3S1Z5zpbFwn/6ts61djHdLCNDeh3YOn
o+ybInsdVD6z+7rZKR/9SxB2IyYkl3U+ns0PmrXbNtbId8houVnObcjjE6F0/Z7Jtd4lHMYmbns0
trnvxk8jacNFmhobKv7MgcdVecF4qLLM2GdAqjd94/mryjZ+cXVCVvFiuH78gr5jDesOksjAdskJ
nYNJ1kGe2L9xkdsnO7IsfB5IYeK5/QIMzeGQqEe/tspbjB+K2bX/u0rF72HQO2t588rBR0cGaBom
BDkwaK0i36y2sCBWTsFgM8pre5XaOJpEO/1BqmSs3MW5hm7nIUsTBxGymmFa2uver9udLst/APGN
VuwmcqV6pajV2OjUNQCsnqZcU4R/hm5FSBGExKh+mdG57pju7OlI4okfbYM5m1/tSa+pjt7Ebnci
+YEsxMWCPiEyCRoHsJeljkY4bf05WceLlCMhpmJPl+uvln+8NHiRAwEXrQayVTVhu3WliPZDUTjg
Vc79XHYXAFwN+FF0ePwgpyeAF85mM8IGQAzPDzhu4LUKwKvlNt0jceAD6LCHJMG1bEXAGhNie2Fb
IEGZEBs+1FMDnDOPk/WUhBDVlpCQpGYbj4kc9ZCHX91tp/M0txZY0XFLvCwOSJekY3ztQKJwMKFN
S37QD3PilNQ4Ec4F3ecfZeV/gu6uN8CTXJq87Y6rRLJt8UUg4KzJx8k7Nl4H5UYNfhKK8mqBqmZT
DYyctlIdyauvrgG6nSsmMf8C82tKpmwvE/TCZktTj5Al29McvG0XkirbgakUUhTgeiESvNZ+5kJz
8tJV3MM2tBr5VHgekkTH2cM2D673G5C2vbOLp9kF4ju4q4icxw1cGGwSVaZ2pqEQxvuZves9P1hp
Nz3luMeY8Fn+9X6TUYoQmN4evfw5qNnnYJhk2f3p5C/Focc1OwPTXmOza3txinR2wEcXeEAc8ual
imRB4Er9Y1P5v1dEHBPnV5pMwjmexpxghHKQzQFf4U+K3XADYRVlcTJ9mJ1wNlZC3QmI60kk5BlU
0wf/N2uzyT8CpglIVeOfwbIx+/AI/BajfKi09+7rhO538FmVhn+ZOSWHoLqOS8qwzrBV0H9NF1Y0
HgITMKYV4xoayEQBmkzvyRy/DTS3RZtUH0g2x60NwEWpBI64BJtD7Feoc4lwwv6Y4olWvwHtky2r
LJLk4gXpIy8aEDsSaXoEXPVKFPz4k17D0QRbb7U/IKMThGmSDCdCFOI6QQFlygEakSZPyHcfHSMr
1gYxvLSEVsIz9umR+ffwwDC5eRwsWsIKysR6jpBzQ2OaudK5f42YAJE4LnfJSERlnfF5Dm715SnV
sEE2fyyCrgIj/mO2scOCh+veSbIPvysPdp5f8LEa5w40vI+W2VbpScjA3BKRhMK5kHAnkOPZqEu2
c+Jd57z7R2uhwd+U/o0qEexYnNjcxH94adaGhGT7mNP4JLbc/gNvEf2QMF/AwdKo4uOFX029UGF+
aE3oJqanv0YwFRzIa7NPjENilpzUU969DTIMINJEj0WGHpmnmOacvrt0FSY5sGRPet7NUfuDYnyv
g5rLc2A0D7QDim3uKSScSfw+WmZ0imd3euh18jOZ5o9BZwPeDZWCA7AmyNYBo5l1WxGx0OYtE9wM
7xSRzwzIMWo6yblfoltE+JxGnDcsF42L0aaBFgDWGpV6idglTmv5/yg7j+VImjW5vsoY9zFMLRbk
orQEqqAbmzTI1DIyUsTT81Tf4R27s6D4FzDD390QJUL4534c5G8A2XAWt4EhcfJk3sJSWHqdfYEj
gOPMOrKErARVMHtaOFZzZqqNHw0mfkU2xzrhtpYiljS98zyK+OIX9qftZPPCagYY4JXI8VnVj0rE
z7kGETuXmgGcC7Ko1YJBo/UceS0Vsv2im63fhE6KDSH9JQXyHzaTF1zL+bsDkiA38+5JwehLjPoB
As8TQDZzMZrOB9lMd2kFSFONYA9BErfb70QwW6O6A6pHNa24JFxVCL6E5rvIh9CedtaefCw/9nw2
JIrhmKbBOspq+raFg28YNNfIlSMu4IsFACztKLGWXsm5Xu8ZT1NLIeFy2V7/ISy2C7BBdBhV7n0R
e5wqQkbgRrU3g5ZAH++bHA/6hj7rM1OUZA8/+NHHVHH7Wm21V1bmbx5z8FQcUy3Ok+F7rAj8UR9f
LEPfe/K9Gfkr4AlGvf/C80NioZ+RobojxSRLQBvpwku4XYg8WsGjPSRxikZX+mpZheNJuh+5lRw8
5WY4HuLXou7eJo9jqRt2uOxHeeGts8aQ5LC3pZ/SIqYkBeVLofstY1L0cg53TXJjLPOsdzTRZkg5
UXWvE9tYFsi52zgjEYIXhvAPkEdJ8hr09zGYFAwwn6NhkUe7DNfGrkxTqpfw19AiORI7nj5Yc5yN
MwQEwPuNlJoDZzFEy8wmB1UjFOWuebIgMdgT6yEe26p6xHTlwQkMX5gAUofJMXDXevW7aZJ8vsXF
vESdAZrzg2ceaxm3LNYSDh1Bd5lNXtzS6//knIgrr5L3KHpPYR7dSZv5Fh6ClZXKmFQatcBTNTgU
9JgvQDRu0e7x3ikwsjTiPqDZnnOhy6DywN+0F1krKxLO8SqMqYjUwbfp9vzwTvPeKUmXmUlVlqju
ld+goAg0dsynGPb6st1VPoDms6zFl0j96pRY50qhMUiX+wHZsstkdMssYVyGkHkUtYQY0/zGLQyw
ISf8LfXzGP3pMVhjSGFfulVNMxsYCE2ICyx+kuNexzGqfJUoQY1DXUOU+eiG2Dd5QsGi1as01EsS
KJjrJNZkQ0SPQTE+GwO0SVKQcgmtvOMF4kvKqZy1F7V7ZXj0ew4mRqhwAjI2WltCxhxR0nXi6W+c
hs/57f0fFeW1Mcxy6SfeWUje2P0g10JZZ54Rn2WHWr8On9BoFR+gBt7sYJ+QoDQY6UhpcKcIXATG
mO0yixKkRwwGEuHDKZy1kcakviQhYYQfeav/wQy6YDK8RFBylqkx6o0hkg5/rLdpY3sJAuXejcXb
FGLCDLN37iwJIYCHtNF77g2/vHt4kOl3UhUrReCxTarKeY89mHlzAG+yO3aJMODM/npe+2AYLJUk
47IqvJRJ8DaG414rPKOFslcYUZ/iqv+dqq0KDXZV8mFwBiT3kIO20s+J8yEFBHea7DACeH+J+zvl
uqi2s4OIar7bqngHis81vaNMu2up7CPhhOhMzRo3BcOuiITUnbvqJBbMxDDBAk3I6wJDk37hkaaM
h+9rzQnrQ3mxwhK7GIATTB7ua0s0tcVWJWkyWreFaNfD7D5g6PwKf1xRscgnmOQzMu+jdAk05Buc
pda+Cf0D4IpTHNjvRF/DLaQsulVLH8ahpRZ+59HN04b4CpyHMVRXAbhiOeXgoByuK9H0GHkGKFo6
0ZZ5FH9m5MLp1LgkrLxjR+utiuUntT8MTRrODWk80AJeRI94n0DAkRAmPLWUMucJisAUVqzeTH5y
qqY2vFJ8Egw9M+yc+18FKJGYEzFs3HhieoqNn4qSHMq9EpLvjJYgYzT9b+5XD3GiKForq3VTIlb0
VFTxeFPs+JBa7smN6WxIhgcWJStJNjY5G05qObCeJw7GBHYeGjW9hNl8sEqaR7mTXFhlT1XvE1ll
AYXjvbQS/0Kb7yEp2SasrsUXJnnP23vdude4qwAoJKvYrxilXJUhCP8WsJGhyMfcNYxZoykxx4+C
7C5xLP6UjFMzlTAPq9cgZAGQpjqwmHBa9L4w4dwZWt73+ChG5n1WXP72uGfX8I2enBDjP0aOT0d1
X95oX/uYt2TWrGLPoAha87rzehijMAjJpj5U7PckHz5dT78ZEW+I2BZEQbtVPU4cOq1m0c/6hE7J
Rg5fJoItvLEx3c6T845QAECaNa4nH0uxOWAo2EzBoaFyA7LuwU1aTFQ9pup0U5nDNhnubTfdA2TZ
hY7/WLw3CdJo5FJ0USXjpc9osahDcDCNWe60Wf1RVkQruUUnsLb58rblBXCbOb1a1CZtXMHxu1Mk
87l3FxzAL4VfbzExE64J6NvqxhaIC6yMEERUgRVrl6rHNKreso6uEbOtj4NBJaamqfP2xBhOA9Ot
rMRGMR5qaaiLVeduObrwZoIyJBuv3qtwM4XqrZVTvmOjLfDbUwjNG7rzwYi45tughp0/QkptCDyv
c6s6eHg/V1VNldLcOxqQPzgpqxtf5lS0/9AD0tzY0Y/OADHHhk/x9Dq088uNMAxWg2QIdcCE7vL+
6Cfuuk49kiEjjpOo3BdWNJzTkdBE/8en2ackI7LLx7IHua09ugisdjdXMWZE3/jyO8j0LHWbIodB
BWG0Zjvdz9OtiAXIEC1CzbGilnCjp+o7SG8HDfyAy54Fnpr48mW08Jwkht0t/WHf3FJKMoLJIUNQ
IszkyinJmQZwUx6xVXagANGCEZm8p3FSUMHzkfA45A7sAno9Ca4zM4f2NX0FJV5F566NxFsUUJVp
CvxOgtkU5xAMAEm8M6XBJSzZeR54EJeZ0pYc0Sn3MbhhMLk6dzNcn5Mv6sMYFqw6doSJv6fixxk7
XI+iNzedVxkrrOSbfm63raSyRdmFvZzodF01LnaYTOE0VMkOw/sxamzYUz37DI2/F6oxv7sa0BFG
bib9N2xrglfCa+lYaM30bIwUHMVkrBZYY96tqQMiyIEIN9M6DUXEQCqm2CVjyF/XbxFCMhTukCO6
czVGoE8U0Nd735pebQd2I04RASinL9e+HzKxSbOzqol03yjdrg5R+kVPIYbVr03BOTWW4covoHx2
gXixOUdPxqAe8aI3TrNy2F0gWkQnYGrpSg4O+RijMJdZBbEGuA0IWddixGkZ5aawYZ5G8XyXxuBM
cmAg5XzJgFDvY/yQvDyAEOX1a4mzHCuyG3M97zzAhPhxTaSqa8scrhODuwJ6UGycaSAu6yZ/tMtR
KwRmoSpERLJdvAuI3bNX/cE7sQ11czbdlLZrZi2r2rL9G/9i5GzCGy3IcppPTG+D0dMkA11V63wK
4h3JOc5N4muMPLlzjB7To0mh9k28d4zXMIxWjQRfGOB3Y5z3J9AtxLtb8NIAOS4myAMpvNZsBmGb
0gcC+sR5l8x/b6MbVKoOoJh2LqWm99rO/XfezyEVS6Ug32SPhrXmGmXZxTYj98F2FEGg851XYyRP
VVo8ywGvebDrbVBx75OYpotc0vmTIL8GanyOYs6mwKPywIyX8VxFG6betLLdLk1e7xvbge2URNew
VBPljPCO9nPCEMsgJ8djtxbBPIPIKwnEpd25d6gQcWMNrrDGcNRFhGB9UBu4L46eFf5UzkyLeJN/
60yc/JQKUTphg8WIeAYuq93o2vgeW37jOiAqArsVbQobnEtXB1mqYtjbBeGWKphYe4AIQmkCzzZe
KT611k3WUejCo+i0WLOgl8KDpxzKJT1yUnN3Z9FJcGcK98gFYtWhR53ogxm501r2Js19jod2vLHc
nDbLmOIRSI4UUc9Pf6kAc9/QF57OW09bG3cC1d4zDFobGN6XZZ1Uq4zHcQmtEK+Fp64ej6CrnqHP
3HVTb4NIMkGSNUGG1SA/uC19RNwb+4DCOKl+zJjIqd2aNA8y+F7iGo1XTJAo8XJK8rQO8tW6FKJl
IypthBByZXPNIK8Lm1dyy1AnRLfOGsKBAQLSwpj0NWI6sYcrcO1C+gDQGCRGWM6d1BfBoI1gDaSZ
cSzN7I5ISPcSTUJt85E+RcXweFXO1bERHDzr+FOk0RdMs6Mt6+kln19j3DMEGZlThDPn8KIEcBLn
GqtXmDDJxBfIPCbI97GVnecyuzIsdh/pVKH7R4f+xom2htsPh3TWm3Qss40XF989NCzZ1erJD6EX
ezSAe7fz9HDrV7cMfODDxdE4GXE2cY/RIBMa0lOtK745FBx1SFiw4vQD85kCMSXah8CCGGeJ7qvH
8j1kPq0JVRQdqMhaNAlNSramsT5t1bp2b/0FZI1LO4MrCtq+nymgd+L2D/vM2QYau5JjfydUuQmS
UgD9ZK+uAY2tvd6aiCRMtE8lzHS4JdLHJPx3x/acVRxSblP1LALah3Da2pSNl9V7GCrYUIRl4Q+5
99i/+lVd0/Iz5SVtL46P5RkPGXW7385RI+ctuY4NW0y4J6MAUZTh5igLQx/TEAwZx5N9isC9MnTr
7DBQgAVEIAKrSYJSWwMtNVHyUBTlalBJe1VyBbGCN6Z0O5gTTzSrQp2ODLlv65xM5IjEU3fbtK29
bc57WnkuvoZxV6XxHgeCt0VijZYBV32zekvjk9X2cu+o8hc3wSfTmkdatTASQwQH6sh0dvZeBual
N4/BvGza/imja4JWuPY+co1hV97mJCNxDTtsr34V0zhqZM8D73aexvKRFl8dTM3tArerppt9rsOY
ntrjORWIGjO2lMChwMmP2CNR+NqNr5w3toMlWlP0Z6yTZ9i+9sbNoe1YM3Q9nZYHP8EO0QhjG/OA
QOwkdwcmOgB5XoitHKk0DFvsk+SDCecJki9QpNV9R+OAJHXhkZS9TlrSSptL3mKwqsiG9xBYakja
qlwZYZseTN4hW4eEAQSbxyGliTjtCXIZLsWqHAaEEWMaoVIs73C8q6T+boxu3Zr2qx+mikWMxq2U
c3o9EE/JxVp3mG9uUuc6bKFgOWjmqd0QlxjZCqvprcjBL3Hgp2ZgNYh659jNd8meA2yGVfzGDm7u
J4hX+7oo9szs125U3MsxvaO7E7pDifwuDPbCujDPo/YeM4yJFARBfihrWDaxRPxsFDMuj02Yq46x
Jhx8UwV8bh8gi4cez36lwwAJUN6nlvA3eSOhh150075bjkTYJoS+qNqjneXjOmVxWYgMq0Rl4oOy
dzV2vVtSAlo96pcpq8sUWJ9NDE3HNJnRaZgfflRhn7KbfVbylgLOU8G1hPwwgEMXFtK/T18jQEos
gAYthfWAjz+MfkoUdywVHkmGEEWicHx/a5bRXSiw7tOxXK6pT3pDG0PIy/TG7/CapfFvrUDfimw4
jr5bblxXvxVj+plXLYj3loIXIzOY+M7smSWrUBtX9BNyLcZswyIY5FvY7PXdVHIaGp3iQjqHobGx
cCyYSUmD/hmZTHGaGwtglN1Ha5UkbQa1x7SbbHIfYbfV927eRneeZfAhsd1D2qirObCO2dLb5bRW
7SzT3APUBXNrIGHXZc3x2Kg/xoyC3nns+NqQrfi9bYTNssC1n2a4Bbp0eJ51eJwFGyr1Nsu29S1u
Dn1x1LPno0M4YMkBUx8ituKr22AMj2Mc9MDPas0AkiEJYTbxKWXnrhNQ2Mu6tS6FqH4KuCN3suvW
uXOTM9P23bAorZzxvc/Os6ps85q5qXVVaV+eISyfMFJU+1wLb1HFuf8cz/EuMpEOqRPD1qN3bTDR
Dj5C9AgwvHqqX6TMrNnMJubP2USgAJE7IONiNZSLT3btrXMcXfdG7fsH1feH0KbYNGFmztt+rUfj
0lTDBzLmMg/ZVrkEPwPVqZZUuJ9U2rz1ed7D6mJvd8J3b8Jxwi/8Q7VdYsz5djCgfrp5ZG6snEy+
RdMkgcBd5+aXyeuSI8l4K/9wpgr/ckP9XNbnG9a4A2Fy+IQhI08df0vVbjpHHjA3f7q3EslpGI4Y
b5gAkdbYjhVM78RljlFjs6qi4l0ohp1UKX/Mqf0WWCReIUAli9BPhkfT9S8qIB4IZ4meDGrIUgmI
42YOOCZdj2iir1lHXmHACsWdmq86PZktU+C2dFZFYn0wUTKYK1CzYnk623I7ue/IQw+JOWHo8cE4
I6zpwoCr5Xbuvkj0Y6gI9UTGByvKe/oV+jlUA4ftO3L6jXdrYUkMa4PbyFmYyk93kq3OvZH7vBCg
yn+7VWP993/pnPpHB9VX3cxwHpL+v3z6P+8+hv6n/ftv/vl3/rZW/edn25/67qP8kf/Hv3R+3Dz9
179w+0H++WX4xv/xg60++o9/+YR9PO3nq/rp5ocfqYr+f9dm3f7m/+sf/tvP36/yf2sPs/8+RP94
hG5f/j/+2e0X/B//7eGnUZ9Fmv/bsa7i+l9axPh3/2gRM4N/x/gQ2KFjmJbjmqb/zxYx89/JYdh4
xVwz9H3X/s8WMfvffTKtfhjaAf+5/Pt/togJ99+x1tlGGFiWEVj8U/f/p0bMAQn6LzVigREYoY/T
wcFxbHuGbbn/WiNm8iLATYHn0qIgIDYNccX1yFV9lN7XlD1XTt/9eDY7QN3YjGY07I90VkwCRnRc
0G734AvqZQghZk+5nli3g02P9ylrGWsCBs55cO4AkYi7MQM4aazzORd3YFWptQ8opw/jrVQXtuHD
HNjNIk7mFjaodve0tBrgY6ZfLh3DUqfOb8Td7Qg9CMKyk5NhKPpdaLALW4nHT+I8S5XussphgJeK
m5+s2mA27TZhbsCspTJ7OcSePkq2jOfWjvdlNwV/mD6OK9+2tg0Qa/L4euU0vPV9m1N3XN7oAR3W
DS7SzoE3336cOD9MsdorUf2R9NLuygA0MrfiU+CbN8J6jlI92XppIoRa1QVycLGXPkQJoo13yeic
c3gXeGKpkwlbi8snXhGFQ2vZWrUGjtdG264J6w1CFJf3Wr5CDSCVpUCua4taBkdhB++ksbWnbDok
VK1vTY+ardaiLoiw4Oc0GK+26NHrVECf1YSxHCcqszFv5aWO9aiD92SmitJNKhh8MbVgot6XbsV+
PWkUUz81Nya1C6ZMKNOwQ7zMJreGUh5D7ga3PeilT7L+1wqfxNQ+CupI9swe9KZOs0+um7RytC7O
i7EVwOzDdW2O19bDj4XvtjqGtw++wwQjJT1zl6rqJAqfHnQahUhRgH93Mp9WE5yGmWGvohk2rYhv
cR7K5yqpn/zByFdRB5TaraKcbNtCGUFwnnMPtk6KxupQpZ0kq8jjKhJXhr/ta623oozfpNduQ64/
HVRRUV3b3qbJoO5oBIrfp15vYva8mwuVc1znIhX0NMw35T4YuACGuToQ/qXtIAOz7tvFSSSqZuxo
kJ6qDXkxFe5yY+JIInhcE5O9HncvzZbZkQJxZhk9l3SPggr8a1AaECOwhjCCstNvy+ZbRkOFrnPj
39s6eazHrzYWX/24Q1hsr5GF/dQY7kKvmo/UKXkAauvXuQhXGKF/yIJfCNC8xaV5wpFXLUzaIfwW
IACaYuuOj2E736D0+TWWzBPGhljkWFRrUcprPg9v81D+iuEPFqT7uHBeIjd9qLrseXT1ycWwkLqQ
Q/sPw8g+Z3u6mENAsbrB5CAhb5aD+Jm9CHERg1UiryG+kkV20IX3wl3PXGDTrOns4Nta2ruybKAS
ADX4M5TGicTLtmaXH4Wz2HnKo6cBaSRjzOpDetK8Kv1uqwuUUxpy7/3BhZJ2Hof0hcKkZ1BR323v
Xb0WoLCR/gmkfKTzTQFms05A0kjhMrR+KFyoVJJQX9wdFN8zM+gqGvv6p5ngeRQkYA8SoRYyy4tT
3OiU7La+OwPJx6AXxXA4FPjJljtI7qccNbRx6bTxUkwQkBLusm3o3XnCIuUWU0Q8mHgkecuYC9Oi
FIB6tbWX4+ZsWHhg77nkysUICx1QiI4zCfobpyw2vOc0oyespClnacCTgbFVrJNhO8aaFH4UTrfa
mWqfyrrbjw6tiVklX/FkMgYE5QBsabqQqmERFtPr3/NKkITZovYJ29p2wBmVKgQsk/ASTVBJNzFu
TWTxtzF0A8uY22jljHtz1tepHyiMouBcKg4ahQlQMDb7LzJAanTtsyKn70Uo8TGN6kuz4Y87/5fc
zm9dZNa6M0lr9hQNehjAwqGByGJC9Ua4WY44ZMHqC3v4LNvp4mU8WLNiugl/9BvpgkWsTj670xh4
06EqMMhPhXx15Nek0vmZlO+5B9QL0Iazka4K9MLaXg5W+5m7eEKaWO38IabUyKqHteO0j7wN3A2Y
pketsWhzsb1Eklsi9j+62C+DUz77sYi2SZwrsA5yNxo5mqKxz9yh3qigwcrvW+mu8hSKL0AoEu3O
KiXvD5A5bY5SgJLv3Glbo+BBXyTgRmTvVkbWPri0DmN0T9+L2sFCUTfoAKFJUwzhECYny5A860rk
IC1qZU7rlPHeVt1yp6MefmVkUEmAlRFS6AkKnflbuPVb5TCGmqYi3OomUo9YJP4EmOH6Griik9zq
sczmg9QQYyIrf7ZL1B3P1RvgFdyyU1avgVqGjtQciZGf3ial5jvlh86m6cBYJHkYokNCgVbRls/D
0CyjbGxXHISv4CLeK2kSknD7b4ouUb6gh52AsdgLwmJX3wecn0vnUStBaefcgfsf1KH2EUaySpBE
GgjKO6htAXNoEfSP7siR2uuRlTrPA/OQXkaf47Kv2EWFqa5TZ4KUiRmDu3PXopAA/JsmseNpcVYk
40FZkkTCsTSeeQXGuF8pE5xgpnV82bTVIOFc4n9ck5vmMKfjGgx5vBbC+cxKwsaG9jSgHxUvS+Z1
Xum9mihKoFKTO+EORFW4BFpyrj/BS/gLs+o4SrhCL704hKVaTHeFjN+mAIV6ivrirD5LYY4PlINs
o9lZT323LP3RXo6AvcfgR7VvRkn0jmIiePoaiUYe3YRXvjTava/cGbtFc5l7Kj98HKia1tKxCHaN
1RYLjo7vcmolSW8+q+gB5dV0NGJj7Q9etIzw2bKmSq4i3NKCjxiz9Wqee2MNHnGLVyHZ4rwjlDqX
e427GNHdXNUaERMBipLlsn4J+7qgswUujW7IKUMvxNk2hHsnpPxsyK1dmMy4RKpNDIYoDavgQE/0
rN6s6BYpx9e9gkawFZVJSsFD6JM8oxen9i8Zph6i345cT9u/AQdtN90+luaK0CtKkqJ7z9cHK60e
six75HyIxc3khpgYA0+YH77ZLUwef7QOXtB7B29grx64+5VExSZCyFvwFXuSbUdD+MxPVNSe4l3Q
Deg8Jo3k3hS9+arkdurrYNEXzrs9O83SDYf7NiX7SrvtDe5MD+yEhVTp5tj6aOJxWgSrxgRTmvBs
UN7oHXAS0pEwhuWuLetHfufz2NA0mDia/gMAE9UAzw3DR36cxoXobqyHuTixP5Azm/DN0MXiddG0
yoKyWHMgYTo+JzFch0OgO3FJxMF3LHMjDLj5DGA7+pmwj0oJEQ+vxmORvWdcBpd5q4FKx0zUSHaT
0Zk70kRkdhYtiU6WL7NfM4ix+VPs+CbuuYM1q6csDT4YJDH/irCYCCNh0w/sPeVS/ASJXa9vk9Nh
No4TWb9dUol1gmGzyantmjM7Qs9txZl3M00CIOM8n9Nesc5K1a3jWbx3rkd4VsT3gWhpc5d0D1BO
LrZN5YLooF1gpJ+jT/5URN/pWQBwoedu09KSjbGDU2ZmhDu3S8eFmqSJ2Yt9s8J3zpGAVyj1u3E4
8zuTMWHCAHeU8IG9onNm16syfShu/p6x94qjnWOFbUx3xyAMy6jMAPmVOBvCyiUYkrFBFZn7bCRZ
DTuoX5DOtDAsB68aX/xipCGDSQnO+rZEf+OrLtq4w7gUoT9I5p+Tww8YWRJR1lXZbVQ57MHtPmn7
xC0DzW8IKEbsmofOwghZes6HEw5v7CntUsfsevUsftKUBYjaJH0MmM0Ild2RRGhY/hR4SYZxPq+b
s2iY8AYJQ5WJzmRQRcwF6W0jClpkn2Hu52vF6sZc0L7icfS2VoMJp4IoM9htfx7Jki6b/Zz73BFk
Td2bJGZWmMSYbs865cgV4yifLkJfsG5QFcEasILVfGLAkWy7mde8G5r7QFnG0VLxc2f2CRKYXtNq
wzCgsB4bs9J7vs8igBTGaCPfUhE9ExzQt7hMgiu/ygLG7hpjhmmfY6J+D6qz6WAzSJK7w0MuKDWF
RvExhNEOuwpmBYgoyyLrQcDD/aNWCAubnON91sfVyW9p+jOwhC7MrFPcI2/hdNjRjkcEaA64dfQd
xAk1Mhy0Um6H8deMkQgrBrC7xOlw6fnVr4G4zju9Ib7nomD6xDumW/nuFNGERMJj0pN5r7MQcZKf
0MJTRkJ3euR1+YJIlB09gNkFpheuviC0UZK7fY15dek4M5kGnT1ZIseG3JlnrYkDlIUP95MPWfBl
u+3epaTjQXSCni3bkMt20K8kFJP9FN4S4yVkw7nCYJFFEUXVLcOghA0ZQeCx4cx7z6Ikj1FqNsue
yblfWRuD/0WpCE9kQH57dethA4i/T0IwbygQ9V3kIhm3dCqWdE09j5l6wJYHTIH00GEYuAoPHm1e
BWWoAykOECj94xxY8VkD3TP7+TBE/v0QuylpbnwUQJyyJniGFzxeCRvfuWW+d2rSzTRb27v8Rg9q
pv4QTXgHkwEzQ9JX09LphbUqXB5meuD6LQCK6X7uxBPoGBwgemLLiNpzU9BE7GY0yiS9incgiop7
asPFMmc1XZSCWYZt1hR/hGebMxavAqdgGU0hBphsW7Yze4jZOB7knD22/LaHvx9sTDcRavRBpund
SAoSCg6b8mhme3DMUIEZZRBP8ChrpiaxJuaVEB/gumvp49Qvqelzj7B7170fN+fK7n+1FP3V87pN
rYIE7wBxFptQZKrqZh8D4l/1DhjYIkOOGAAzUPDiqMvfDxRTPxZG8DzW9U8BDn6pueGuGqy4QCg8
fff3wwg8a4uTFyBdxS8TmyrDiTiOJ6F7esLpqF4UgRgO2e0DrfPmgmJaazU71I2R+FOrRlEuRvdu
cFCpJkKfA6xyOW8wphnQFjfUSmevygNHXdlBcxc0Rvp6O4s5WYb5llrDR+sQo8d0s5IPhiP6VQfX
dGEozhg9s+2XtHYPhhvuTKPpP3CdYIn2RUunD95sh9HGqrOy7lHAqF8ZGG25uhgadBUszATu9Xvl
emuzYhaZR/lvU7tbTD7lR9jl3TJJJ0U8jH2/ZnGgSnC2qG+w8iO6APGGobhrhXSuvcsGUhFAWFpF
3R4Uw9PCh1crEXZT760wZLqfu5cULA5RkghGTS+9beBzS/r7qeM6lO8aelr//bSDqLOBGbEcyGiB
EA3ks1XKdMuvTTlWM8hnObvUdXRzt/r7KR5rtZ/0LRQHRLF1QVuaYDdPbW6fKazeQMuL35yIEy+3
PQJnUUk2JO3Cm9/Z32vSe8sGL8qqUBDtfU6iHNuDYZMICWQPaeEccWxdVSj6O8XjgDBA/0Fhm/1T
AAUeO4WBCz9Uj1OwD9gPl9xb5itmMhBK9k8pm3JbC69f+9IotgyuLyWFxqecxrhVkyAcGTRZJS7K
lUoyk3r1ifv/iBGfKMezJIxDMS4qlK1qXvQVMNZochGCagrWLEVXDrRzsWca9TIlLl5nUcl97VIJ
JAqtaBF2PiZH3xP/ig+YCysFXaywT1WH9yjoqJHwXawrkrjnunJ8LgdzF1Ohkj7WFHK/2724x/8A
GVljoA4dcTbnxNnmEn1sjplPtZ25zQxjgIFFfq63K/+9L/W1ocko6CmInEueWiMCGTo7RUC5A65b
eFp7MjosCmEzck8uP9uOo4ZD4tacmOgzXghc7noJ0DXcaN2DQ6Vtr/0rYU9ExfzHaS7j2A6/ZLPf
PLAms3lnTHTytl16yqE1LoZQUXqTeeZZ2DFTxyoh0RZUvzEVrUhW+Mi9Nj/0/vhtem7zRAL7koqZ
qkY8k0z9JAUxyjC2RZJdYYuKVRUH4Q485JanEWUTD9GdmvOXKBMW9X64URDDGUOKiostq2RkkHWM
k4hOGtGcc0+rAxjhHbAautoTgZcrCgHQR8m54P/UxeisZRDlZCCr7Bi5yt/OQXhK6pg9O6xmrG/L
wPQthBq3oHUbFsVkZSwseSzPrTPS9V7asJWdetfDj91ZN7KVmZxuKKL95E6bwcSvXETGoaTE+OSM
Vb3L20Yt3YZupM7H78km6aFRRi6oRqB1OS/Lk8ex8SkusuDRdcU9OhmRxIATHsadxUjyZEOkwVon
cRXdeMlQh+JgXX1j96ivA8bxdQwmca2UTnZzjU5ad98koIcHpssUHZXuzpfznWHQclMiwn01brJ0
mD56pf0Ccjc5mCFeKCGSD4Nz2mcBxZwFWH6AOB7P+ADnVVgUcgMZiMdFkzJ1e9LuMQxdzyHNl1eu
uwpM5ys0qD9FEBHbQXTfxL+PmFhR8TTCl5MBFx2pODjeeMyQe3jD5gQrkSuQH34nw0dVotHC7DGO
EThB5Erx+pnSOZHpEZ9J5rw0+pT6UKMSINBXZqw3qAPZRwtfN52dEa7OPVaUDaKUcXASpqQY5rEW
ahydHQ0iPpC64q7pSjr6fNKltmpQ1FtvzyGxPnAnIeFfDsQfu0Pt1V9BZVaXKCFVX5lIQNrvjDVI
kmBB6mg3TUiykREtgcgje+btMboVcKHCJTuG9tgO2tFaRNp/tTsmooJm7msvLXWylNx3uT+uZpvY
YOJb0QaT4f9i6TyW40ayKPpFiEBmwm7L+6J3G4RIUfA24b9+Djpm0YyRplsiqwqZz9x7brkSBhyC
UmCWT1pGYnlUeduyHZFxW8g5ZsJo+jzc56mDtk4Agq8dojtNHABV8InXhamuSaWOQ7RN+IyJJgKM
meTx1g0jtRp63Cdu0cMbLxEwRueq99QLr6YXfcTFPOwZMIwVjn8uloMKKUOU6IyVq7mqJC1T6zbN
Ab4X1iuL6IJpIpBzovgyZZ8xVnIhUOsX0QZ83xJGgD/7u9BtkAG1sOtESlJn3O9V21prtirv7PKK
7cAmlNALvx4UHTs//+JztEf3EemrAn4bXvkeG/rFCNHOTEhggcQz9trowUpxsHahvMdLARtgGYlF
9JV6SbH3x2it3DQ/+8m0yQ0iJipMn/1M9k/HQnTj4h/OtIx2LmrStSiopAiVYk4Wmn+DmXNWdQjg
yGN/jHJigeYIK6pwyafKMlqUMMaOVtjmTSmss9oE+hgHzSGyzZ9Wi3LPMvdspoK6XxfdWtb11mpa
axeM4S4qCRtNRX5MhNxjWuw2c4Y5CSZZtnF64qLIOcyRVhGPYcYtM9BJs9NsxV4o+zYa1KtjX1zd
qPs3jvofDn8APTJg1BY5/S6OglXSGNcAVjNvpvliAKSd2QQw7S/2ygjuLFQaMktqzC19+FcaFSto
fK94eAC30MJsRO7uKhOL0xzpS89YG4JsdC51XJz++1IvQayWTwSP12ePJrc46kujOPoct1NOfgUB
BZqsFADSo4tCXJSHRCYFuJhF0xWPbOiRs7XsyfZ88ziIKmJ9iu6KOb7eSxhK6wh94uo6NlV8EDG9
oqgZxkqAP0SPyR4rckPXk13kaZzpjd2MPneycZToPHtnolQfaD3jOLlHUTo8eux+ShO4gBYNaBlC
yhoT5QiWGLGKB2Vs2gKRVT5y5lPLyrYyvtLs3fQsJI5d/JqnVG61X38Qg5ivPB9RaOKkMW9cMW6L
dH4w+0Zvww5ad8HQWbA4QFCVucTuBSiyPYe0zLEL8OYB+kiiHKVZ0IC5qp11OdCSjxNQjtyaHeDu
eHAse5lizA6hrWnzA26W9ChLARLdToKknK4KANoS4A2aHEuFollyl3tEk2JpUuV1mYu/LAvfWL45
lretPZ80wKhARep64O8N9CFpXl1t+dQYRcWTOX/XBNJ4XjGsRy47QCruv4nr9ojC8qsskOfVXN4E
qYgV8VMPyGW3Xm4bu3GEutDl7SMplCjbp8R8GKTkMlSLjOpnTvLvKBXTec6iz56abwtLCW+svOpe
yx2+aXJ2HYWELoX6UftkBgGFjvG6Mcmx8+Y1RumwYW+MPTn4E6jqj8aRsfbNtNxaUwLky2zVzlAk
d+nUem+466+GSyx5Ndanvij/Lf9AdzFwoP1gEAl5AdxiPQePngzk1fDIlEGqRQRt4zX7Ig+x3Rt+
gj6D+Kh8fs3dxN74pFGRG1DjOZIC5UyPQtEcXtqWorR9hpxNzi909Bh36DJrvXkzh7GMKImodun6
raPDyCTQPcF5GTxh0mFXQA2TWXFRVkHEssMhdQTTpDlY0RZ4Gcl1Tck5Fi/VQnf2tNUfS9RR62h0
rz4DmmgIQQi4vrnFyPn63/dlZPUxWXrACCtooBXL44YAvthbSJljgG0rrkhxRBGV1Ol6FriZBC/j
ijLihfLtoZ2b5xq8XYbrFeirefLC3sEeCy49BRBsd1t+0Hk3LGowO8FT3TJ41sCYCJKVB+BEb0p6
BOdNEUJTxUC7InwOgfZqWi6JjrRCO0GtCWcrLl+cKLvno3G1e3wenTe+R7afrOOrVTAzRkT6YKPh
ZwRG1kMhgefMOPgyzQQ7aZjVu/vUJOe+kCArHH8/+vHfMps/DJiOmAg6IF7+V5chTUOdTx1b519Z
gobKolgG7/CSBp7NZYnAm8wT0pqc6CG3IFo4fLhHw/6VYfc8gBpbiUY+maX95hgWP1NLtRy4xzaL
BRic+iHL4SAyTtOIibjwza7Fh9LcAsN2d6Punzrwxiu/nbLdgDp7TTTmlzKI6FUCVK6Uzc3QYJb8
yXvRQ6fPvOGV8Kq91VLUtrPc0tpBekzyo9szC7LYXaAi6zbe4E67ERgdbnluGmW82Wa7rI8C50BW
5ZvZxK/yoZwQWZr1wgLX9V4gSXItdDblNLAQpeuNkmzLDVAQF+PZG9eQ/6aC/YPBpUAIBNiEfAdv
DEoYin6ciwb44AmJnxL7rp8dTjBGrW6PjDoOneLcSg+PXzzskLfdhhg2lMAnZxrMhhHfbLO718Sf
pSIdbS7bs+AfwJOX0A6LHXgvQrYcbDp1+oACejtiVyPgG6eeSCmXyIwkvUXA2kP7mNPltfFcbPA8
Zwel3a9QVj0r+PI4Dtbe8ry/kT18xJ3Aj2i4DJ6db2rcYm8qDC6eCZDVSmoUnAigauaszGDOFsjH
zdhHi7wyTs5ZzzrfqnF2+3O0D2vntZ7IZu4G1FVT4iXbeF9GCaAJyn6aRO032a7Gq7WmCTc4Nt88
kXZn+mAEUS+1EMGFwSgF+zTu2hR1sh74YGH9iXbEcZ+kjv9Z6CeAXZnRqZlT9/IZ+vN9sXFsLItT
bhDs2VNZUk67AFh6sJRnfogvluEv+aTurQH6LQdra2UN2+OeKpIub400NWYHH/zM5aLNHmFKTGmi
Ac0lcqcASSOYZsZqwc30mHPYifU3zgoiwBv1wMwey5H5Am89AoFISrSOvOPkm9PR6f03oylI9a5p
7ICy3KDDO1tcaifIKw9N3N0Rl7MSwj9L2BfD4yB0g0NvsXFpvmMX602vSxyZ/jGr3lQ7GEwmsJpF
vc7YhJB24lh0FElK50Ru9cUw3uleHlOfhzDL8NLmu2QM4ye7QvSIpw2s6/jh9/ojmYIfDLQBsevm
W+J0WItDbEf+72R4PKr1eEMeeKaWDCFVzGRpknSA+DwyiYhyuVfYzLJid0CUbD2omf5Cyg0TFlIr
iJrunQQdbk2crWIKrrKJ1DYcifcMFXnyyFyPNfwkHJQkm8dsEjLch5t54s8Aa7m1ZIenoAyGa7FY
bQs0l7VCANEbmPUyz8m2YYzzht33xsv5dCYlGopBoS7NmSB4XfNklKpf1RX56VaTCnrYrCbbN34u
Ztls5A+nHPs93NosqZ36Flpo8+dZfQvicqcs/mMG9eeAiAeDyARvTImvvCYLtWMVZnWeOtsyXnYO
yYBWXtnICkJ0pCbK3xS97SrD93tUyXQcPYrFDD/MEtjpEQUnoGu0y0yptqd1EixZYFbirBVIVgyH
iqCJRTAbImeo4yX7rp+PyABYtJAsgFaAnJyJsEg+Vt3JAEtLIKftXvKEVgc4wxPTGN4DMuhWrlhQ
WBRYOxTlCRFCTzyB29w9Zck4v1lO/iSEFCs/y+/J8mY4AYOjKkt99MmMETr2YCehu7u/1F5mkQsg
Qi3DsXmAO7d8ydpxPpnBzmHCi/IBQQxbpHVQMqscE+Ze+TJkQuNowBnP3XIjCpZh9lglW/4we2vn
sUCFngavOu7jdUXYnR7oLkH7TWvP8l9RfmUPHQZSyfaQ3Un4l+6FY43FF1bS+C4yo1/dytxL3tuQ
gEMZwLGuXqfOme5Raz/iGyg39oxHXecVtbT0ire2ozgLrcxf//dL2clx35pDvv3vl56YCawNx79F
1opt5zq0aeF4c7zhe1kCcP2n6jhZlvE6SvJSHThY8PyHD4siTknXPUZAs0aze8eAxh9EMPzRwEvh
wUM1CWjcB4Kfz/CoAILBca/SKPq3rkvPPMHTY5GI/k3PO9I6KWmEGDAlDS0dfBo/FBO2rRaNBQ9f
70LeJCiaGVgTo39v3gbWIHU1vOBO+qni6CUCR72DBfvdqvw0M+Opyxf9yl5gNwJbZQk3/wohHjxM
Z9qBk1UmPDnpMjb00cAydQ36bDuqJYmyYLtc2zhCyQ0YI8s6GiYS+gaXWJCzC0k1NpcwRE9drLGX
/wnqk6ozd12Mgm0m7+9M32OExJIX3HwOM9twHOWOTGVUZO0HkUSXpmy5zm0xrWuSH9eddUxzVq2s
Z6naVtAz8P41HOb0RsVBEoAUQOndDVxT7K4pUxKykOqZE5Kk0TmJD7C1CdcmQ0J1ut22lbmhu8/3
Ro8bsEzrT+aTX0aan3xs1KvZZBE/lC7NGEyC1ihfEgNrE1EEbIsBQUzNU1hZR/TJByA+F8w6+bps
w88Ybq0g6Be7FpTi3KpuqVrcosQ8NuHz6IDPR5XiIsCtP0CTx3uO0S1ZgyQwNcmzTgQ9oF62MyHX
M/NTcnwjmDZlbAC3Cl8qZf2m80QYe5ClWycm70UmR4pkEEChk28odAAUy3Yj8ZrK0PuWrfg2JRE+
Y4ZjrVIIu0lZ8poXTptu22I6qn3AUUgPNc71DTGRbFyzapcUzjUZh3rdkTOlPf1bTZgNxtr9DclL
WXdLaqb0eJn9DglyVdUbEHIIAQm+Dou3Gl4FY3YYDgpDmdmgcAYNQo3g0cv5hj5CvvvkhaFP0Q0s
JbgQaDLmK42bPwTqVMb5khTI2n4uVHbVYrgPs6FYo3UfDOT+UCygTcAHiEM1Xng6KK258ruJpwob
/wp88yFE99b0dAz25EH7D2vrzIA1xnzebKinb8oeCUXIKdm8xRkSO8POtCSIIaHWRYqf3cpjRa5C
BQRd4z50IQPw0qMSlCmrhoa8cBniJu+ZpePPRsVpI+CYvXheAbH8mqvia5QLRTolpxNItnSKWzuS
8xEZCoCRXQePTl5sBhw5BxKpHqbBXfa90Xs4li+lCoeTLFKs+43eS1mQkmhwhkrlK4SB5m/Tkr5l
lt2Hi78VX1twNHvnJnu+BfLPUlY6pEhSaSQYzqkmQN0Q0m1kbP4Df3qBlQczfj4WRFBv2CgXGzQk
9akhuJjA63IfMearBgs0uFa7spL9jXFDtJoUH/024JMbUymgu19P1Blv+MgZ+hvOJlb5Bj0Ei9rH
CdMYutb+q6EdXFWm/gPVx2JggkbTgVO0lmZGxmsCPccKt0OiviMUTUiFQz76Sm+wHbzY3l9Ca4xN
BwV7H9jus91al8ytk32GymvtLMZ19SqV/TSY/hYQSrBi2wZnI4OdQr/D5nV4yiBmBMSfmOGliXNF
7FQB5LxyT9GEOoz+1lrt56YKuS0Lc4v7AA8zWER2ZRlUlvDJGPiWMqBGrGKd27DEQ2mokZ5qn4W/
DIwZ6ybsc1eJ4dEBUnoOpnMeBO9Y5GQfnMn+2u+HLxrRZhQoWIYBU6PpZxu/ND8wPHYr2dkIFtLw
m66MB9UuToUVX/PhQPQHpFH11pfDvscW8xqmdKIVjjmBoiN8IkU2GQZ7AxrAwolyqLOywO/D0CpM
IwKYewopz0ZiAun+4rdEq6UQLZKk++kndMZoXph1F+I9zcyB04ukqqp4s5lf5Ck78socEJq684M7
PUHafXG7Ib1CkkbwUVWHkekulpFwj5aNQ94aBoIbalQO5T9+Cqr9pKxOGM1uszIvQ0DSDQ8D934r
PrrJHCH2I2MlwXFf6HE7DrbDBjd9zdqwBmuPD6Sga7Pze98YBE6M8bGEYLMeAip4vJhMegDGkH34
weQCqnqf3FUCu8ZTIe457B8JQUaCCM+1rRmC14hyQt09I8NCSIh2WNZ7tx2tfe9NH46DIqSIkcSK
N2YyPxz/ILWneJ9UE0zE4BU2RGz1a9fXxygsn4J/TchPAxjhn+l155nP7qaFYGDkfk7+h/tCdP11
9gnNsZijo7DbLD+LkKh6KZdUiDCSZptVn2D2hoKSomsHQ5LgHURVkiNl1dROeMHlzJjk03Njpg1E
zvVjxy5Xo5WF/pVi3GRShgOD/QjjtPLRV685+vmVTxgXQ5ALn+GM/G+mhs7wREjXMpiNTm3PxNwb
s7sp9a6CrbXl4X5X7k6XZrcfh5jFvLG9yIrtRBaCMmzJo2Flox4CeEzs/sPF1IZSO1Sh8VQFLuS6
VD8nRv2hCtJDobF6YTYwT0IZWXPFmYyCemHZxLNEL10PiE4bj2CJ0p0oFffJhA9W9+5ZNba16cwG
t9I8ykMUUa+M+ckywPaJCLgY0iPbzz9QZyXbcvJXXevfgL5gsOStEYvZrrEqTrDlC1rAcM1WmNQ7
m2nL5AUnWDnd0YN/7ISWDTEjwGUpAyRQvVWd/vvCCzAieIP0gOCQ0iWxw40aYPaq5D4ovL21sRCp
4RecArAMJ0cskWhWWbF3jEYK+a7YtXywdo4MwMm35cmEVj2TU8f/TOwUNRCxCysHJc5Gm4Y84UWi
9OyIZjNdlIZU8s9scp6GuKsJWcv+/2VafpnPfFuV51G1JMa4d8PsliKsgawzZGs11UzD0KUVR8QN
G4bSW9tENyEMJU6+GBlYe/RjiTf9Hf1JboNoWWQX9OdDN11ippkt6IGm6HZJVZ6d+SmcfhEbkNsY
D8+hH50U8WZVzsR0jPXD7Jj3hDHLbJXH2ABIFcuzjWqkSe1uzbwuFz9GYV+9qL6iy74R63NpHWav
Lky6KpBvOGMxAWJQ4u7DMkoIX184F3f4xBN8DUdSq9vmuwtg5jisvksuDAP+sxuXB2BY5db4tKz2
A9kSn2fFQUp8Np1muIszVmYSi8U6G/3HXpac6bS9ZXDM/azd53S0MLY/HKU++EijueE7dtJDAVF2
ZJvKB89i6hS/1nU6o98K35Bn7a3F3IYHkb82tDmSkvJIOVLvhhYTqUIrFjh0bPNVmT0lLH0y4Fm2
RtYSd1x/IhXZ+QyHBQDRBDn4yBvPwO9akKO+TQb7x6ORhki5tsybG8ZwRSrzQdftuSWRBCSohTPF
sw6q99FUceAooIIIN9nbD89ZZj6oNoM4VcKrCKijcFN8qXI4qIrVBlXXES0L7QyitVG9FCMK+Y5y
lVHau8WdiRfm2BbgkP6gZ3oDgMggEMfiWlrej9mb+8baM5E+jw7DOLOK7kbEBZc3PABCQt2OYIUk
80ubjw+64oVnao48FRL/RjTO3vFp2V1WwjC4UbdHZABlLC5h5yzPMX9gbCz3a3FDF/qRJhh2EgYi
kq7JIm86451zL9LeRwsLscndQz2hLgGYzV8eMeu2huzX90Ks3GkDMDf85qN5H4PiEDTBIwI29peK
hpShF0Ozl7ZyfhtfvJmheypi0NADe5PZrz4wySxruNcyp5AlScJSwcvAoHL5l3N7uucKq2QcnvKK
lJxomZRqeKlwI5QkZ9rWXOTEp3M4q/I1K/pn2bm/pj0SkOdtiKBFZt5QoGLnw+qo04d58i+JXbIp
yQv0jf4GJNQz6Q2nrFoS1qrL1IM24LCWHPsPBlSWufN+5owbzmUkEPXsJbSuUM7lR42kuyqRcaXk
1kH/fPY1cqwEnvPCqTQt649qvB/cw5gCCatCKMLtx04gl+PFNYMX+qBNN8bkJC5WlkKvLT0eGOZe
8mLmMYDjlYj22CRhtHYqxg41AVyL8L5Dvle11q9fZl/S8x4Lfi+Ps++OWY3yG73OwbWP00OHZBaY
M1fRJZ6av7FhOKz/YhNbfHEirxct+7mCvrEK6a8MZwBRqBENSj0TCGq8Oe99VvwdMQ/Umf84GdXF
YShQNsOF5hmN6JqD8KZL0oArU+3SgrPA02LeDoHgfHdaEGPNRQf9tythmHOc1DJDsIAxxgQrhUpg
bcU87p3qnn0+gXlePdeJx9ZKxq/M+vZwht6YHZFlvo0ocZscxfyIaH9qpuewgzbrTsSHC+Mx6ZNT
pjgMW95HuHc+LR5rW8BbT7lWr3VjfxMHx4ZOjiwg0LQHZsMSOF7cRJ4pNrhxg502A6LUgy844hZj
O8HTSCnkl5BCFDJ1mz1L0mZHnPADctGUen8TUwlWKIaimFLadXyGxt5asa8AGk8qAh6EE7pM1IdT
9So0vXKafaSRy7XMHeH2/BQRagF7XOi3WGDqap4Qarc3QaJcBs2nrp3rYEmiW2vQK6HF+CrMzEst
mnMbuBRFCQEtujiWEFYQYBKNYkKGpBd7L/PxZmdkXDV5ebI93tRK/OpG/IOO2fHkIps01CNT9Wdm
GUeJN0uDa3SH/i3O0nsxzhdQb2/G1F9Y8q46jsV9R9G2QqQbk79CZvEcvCRkUK6kuWbeiyghDDCN
ECQHXZ7l79c0/XFk+1ATbWoXVrKDaHLgI8doMd+4jJnHNDlItzjk/1LeNG0NDCkdw95a9tBzqXEY
oSlDrGbph75GVNo3N7b+NOeUtYhSWgC0nqvDLQc3fwmXqF17v0FTvbu9Onkjj2psCrCYdfcnSIsP
y6/TTVc/pRHrs8b9Mzn8NcakTqzguHQnwe6alkGSAr2Ry18MTvzRaHru2fo4dPwGQi5MHsH8S6wB
QjOxap2hPQrr0mjUCGpon31IuAUyV9LLYzKv523BW7Zq9mE341XTfJCq4LGv/oRJwfo0QGa1GAIM
ld5Dt2RDE4HLjQOgrR6q05pjhRuCVyAPvwqBBY4ROPpVL2UTPltXkxMJnvAS13a0hj9x12Ab4f/z
QBswE1uOHDf+56acOWPCR6TE15yOLL/ZN8fWgFbMvRYO/1pL1FiI15sZDB97mwi15skhfGc9ZyOC
anGohb0LSP+pC6TGIDbfkgx9tlX6p6TM9jUSXNkhUrcd59yFaM86V34OYfAIPVhSrAdvRjp2NyNP
rrWP5LEou1uaT85uHgK2981VEy5uGbxShl3H27Z+TEPzEiqGgtiNnlvP+UlJgRGTDRrO+2xz2hXM
/p+B+V06DA0sj7l65WeIebkkk3BCh4p+Hx8Sx5nZo9qGixd2xQne0wf7StAQJuAaPX0HoWkcbajx
rCLuktCklRGkJjXO+DtExi32Ehr7Hory4P1zJzgbuSB9YcgIDA/yx0lg1qes/gBxyS7Q9D+nLmO8
EaIulRBJ/O7qQcGiGdMfWbsQU36T6iuT9LkQHP5gwR6Y0KWISyxCnEmNWqcSq2CKn7PtDYN9dyVx
ubTz3vXoGixEr+xuUL5T1KJ/FsD4UybBQeTe43F6dM38GXw+NFmoyV6QUQLo6qEEC7LOLOZ3aSw/
qhTsUijOrhCfmc+tkqg+OUJM2dtULlgIPkXrk9mTWDtG31BCioCg7pHkK9WiLRhM4i+S4jAoRSwH
URVZuqkdqb8mmBwcaa+wpX/NQX94bfGK181c5cp8d/jIbqaODOFGnMfJMZ+snjgiuwQ3MT46YGYp
ptN/kLIIxhgt/9CMMFAyrDwl2nRL2M/FevBr7DWkeq2GCDTq6OCVt4E9wrIwmMsbFPojgF2zc1GD
JDZxV1H2lwxfmuJGbhq8feQX3aMSWBpEb0xGA0kc2P6HWt+dDnUi9M8A/iKAgNzg+rQQQoHq5FVL
dtlIMFQHd2ob+SC6+JmHlju867nqrdRA3DsRXVobjwinNv7YgDRS6MXt4DIDHBgx+qP3RsExW3Hz
wCrtldnQo4/0cbB9g/h11KMOsmIve9X2U2J3fxBRiHvStzZ8hnYXCAK5AURA7vRdKJbmk1O6e7I8
xXubnsrEMMFTqK8O6/IhjQsiZaCk03ug7GOTNBWjc83a4G80w1Ifik1To/xhwm5uq2p86Jz51YX5
5OLNugxQLVdDgSDZwI3WpP+CuDQujau2Wnf2o+94D+nkeOukaT1c1r+BnRZ8cHEJws+qvPJmwlpv
6ft2jrau2WI85NK/xih+hniKTw2s22jxOWj0tywOs5lY8NI5AgOC78+9lP6rx/YfMUgn1XX+CWJb
stMRvrRG1Jti0ASH9reSo7528L3pdnxe8Avkns+cVZh93uPZ7M7cNjz4i8G50WW/m530veY4Tu29
AUdsb0on3RQmkZNRy9zad2xOdvs+j3awuCa947g4Meu0v/Sx6DeyAC+FaBPlnkS5VRjPShk4sygA
ILfXjNE3jd1+Kzf+KSPCY5bvqk4ptyPW9lGgWatEM8xlFHRNkNOsrsdI3KEL3wnf4ukVHoSk3Nmb
Vn4T5p3X1wAfFxPGjuJGNZht/ApMtXCuEYnLKy3R64vszHN9t2IOCLuz8oMsE+6JmpqRPVl+VpwV
0qQm1L3/ibLsJ8DDg8ofVJPInofw4uMBQhEmxo0G08HQP2A+lUa7SDtHPzKK/RQMv6Scn3Mj1Zui
Ae5qzwniLvnqoyJfcYlQ73gjhURwoAF9CrMCjlSd9ZtUPwJxu0yi71ErBOahIyllnuLsWEv6pmTK
KvLTy+ocMEQzd15Q0zcV6g3lovNo+wrpFvJeHtNX3xvQI5kV8JKirrC3x3/ybPq1U95eCohTaVbT
klZL8TqXm3R0SlxrRrMxK55/OKP/cqfxn8DDLwrhPz1k1E2m2WMiMKE77qkfeiRcDiQZztDQWZsM
LDAFcevAPd1aOAGf1EPSEb8NwGheYYkA5RTPpNvTH4heu3sipAimiZz2kCfReCHVgcDGhd7ZYEOg
4i96pA5efPcQfzAiWETWES3xzuv5Xkef+Z3VJ2LTlo/lAKO+Dx7+C0f778ucuC92I8yD+I1tTjWN
DACpToQuKW/QiPfWXqFH2qbeCCK71ulWsR4Cf+j9y1h/zzbkE2fOsbZ4pEV6bsNH+eaxwTyVXfWS
20EO8wSwauo9Jinbv3TEAdVnHqJgmAtUh0GzYXZwq9H5HxKWMEdjKdzBMX8B5JpeaXyP84DtnQEb
wX21/wjsJSSDj2eNZdeLqqd3cqfkJYuehT0qDq4WaZQqGIaicOvYSyL7YCYgHn1ykXZQGWNilpnI
smk7hwuNdDK7fl/1aiRvWsDV7tCLinjc9BaSQicxJdI38it6J/keala2Ju0QxmxymGykIvssiJbx
GE9uJWNjgZIHOxSOs6+v08JoL9KGTGS+OFUGdSdF3zpo4d2GvvY5yiLAtbo9//dbcN1mxWAhRuOE
TWDTt0TfzZhgGCaOt0YRg4Tk1QqqzzYlZSkJuz0XFqjkrHW36bJLnwRust6fqShsJF2Vz3lb5WX3
34ij1S5ApO4CCLxGnORuJ4Op3QRPIJQpC/xpusZwDI6BM+qrlRAnYLUlqw5QWTiyzn7W/3ERQ9He
+Br0ob5rwdjQc2B6NAL+nsriXZOqdxLrgHC0SHuNsHzr+zZnMp6+oEvrN7or/uCStFfxg8NAYjMw
7z3Y88CY2/XWbqfHI+bY+Qbj6H2c4Klpf7pZOWONipBt1lBMsQ1UM0NQVBtVIvQK8+jN9p2U8dMO
Ocrn4GmTBTPZm/0AUQpFVS3ibO8V5ntQmAyqmmQvS8de02dWmpemKVEgzj2eCj5jpyBgp2EOLYHs
CrjrWEvnUPfRvRra+tzUzNlGK90WJkQ91bFUqqq3VgQS3zdCRGSnmxrBEiAi48FfsnyrHttcyZws
Lazl+khI4u7c9BN78WflGNVj5DK3GRsyAT2uCC/cO9XE2oj6dogLbx8TuYS+V/04qnhqmKf5VVEd
I3IiyoC2b3ZAh9WJu54TNSGVa7IREwO/NRM5QkAEo0o0x/kYYqYucT35VZng/6venWbI6SgSZnP5
p9W433EIXKWbIM3LebqqeN5aZZrygVJYq4J61xcsB0onvoXaLPc+WZC7lGG2ybnwwY0xcbFCxTK1
MS3RwqDU11q0atvU/GdNbT7LWlydioSX2mjfihoRA/qHOyobmm1rXRcOkKmobA9V1lhXnNO0f0Zd
v6HrJaFuxIid2jNJacS5I+GpIfjR21OF87SrtiMbwTOPyivcjbJ5XsxcbsqaTpGX4JWWiWVnZO6n
MFCHrM3v1jwzFX/QOO/BWdre3YCCxQ2xJDNZFk72+Ow1w7dvDd1DNLKjN90D5K2ZpVn8oyk/uMqx
1SeRy+xrSM/uslRMgHyLgDa4MobnVCDhoH3BJeWP1yFoX7nhMAQl0trFI+zaNPrl0iOYJ3gWHc9s
gXF7B2KfBaksiYUb8Uz4OdR0iWTXb8wfpEzNI40QVqzJP+u1RHp8sthvEsRb7Oq5rEFTdm9+HtTP
C7UY22o8b6Q8CxrVV+LguDM9CFxosc0+rx8MiPZbpxvQhhJyHhoG+QYxKiiA2AedgO1Xll6XVTqC
UEN2kMbDawwiwXMUWlvRxzdt/TYhY/vSkwetnLXhlcC3mDDXGar7gT0hPtIo2A2bRQO6m5rmVM8Q
92ClU5O2/+nQ7f4zb7AJzAGJkAbrOBj0CwZuxKeEw8pAfLxjGRjCp+vktes97yDSHqFFJmEj6PbL
jhmI+Xa8Fx0jDJ1EG0AoSGlaDkXgXOe0sde9uaRUZwPtKnam2RaPVdSXtF/iS3v7TLb+Y0r+etfL
5W1g+ABX5abjkSiVmVkPJGxwxc78UgYJVAkuPawnR6OQ2DYjrInZk5hagsWWL7pFOOfJvti7yYuQ
5RqyoLkxXDLnudtdtoX7wopyXF8hMuEBnVffQQzrHEYCVrNJ8lGAKWJeLRIc0v24l7NLw94xMUpJ
lh9sl2ivnB09KcanpvYcghVks820+yRHplvonM/xBDqgCIjDgam38uqxPAbm8OY67UUn1AuGWy2l
aCNWpUyvRtn65F0iyQDcIdZ5i6Gn6LQ8hm11khlYZljEBkLIlbJqPvLTFOxME0rB7M8g+d0KLoRN
M1CTNoW+8S488zYY3B2lQ1I9HIv0oLwWxs3Q7AGCI0gyIDxyaw9b9sT22jNADcbAXfftRLbPPCw+
RRMjCzwNxPTJpz/gGi/QAaxkTtgr0A2y4lgD75dU6NG1ylNONs0q7sX/2DuTHcuVLLv+SiLHYoKk
GWnkoCa379z9et9MCG8i2Pedkb+jkQb6ivwxLYaUUCYKUqHm9YAXQDx/4XGdjdmxc/Ze+1yD9buM
ePeNYU443qEhGSryoJy5fx+HzHoEQHDP3zo+BnjZN6g3aIqxZ28W26II6JNh2V6oAliKcZcRAs6c
kwIyHbaWSBhWDyPqZVmf8Vq+x2PUYiZLfxcNWAsJ1YmQh27YMuzfuQLyu2GS+ZYjO+7q/tIa8tiO
02+8O/5aTsAzleWeOskKHdfOXhp0e62kpXVEHwjVswune5LYS9zi4HfzWaaMP0f0RHsFj2ET2NFx
xEtMurj5IptGHKZQ9/d9W8HzBzB4VCMVKuna9PlKgzI3Mn7csAHNnTYaU8/gnYxyMQMu2PMw/c0B
hr3BcZ3L2IKi6ML4cQpy531J7XEIMPZFSqMhqH7BcCWXzi3EXTbO3wo3D1JD5LrzCIuo94wfxWxp
A0YTh1aQM3vt4lPdI9uXFDVn+v/Dae6cz0jAH9Y9OnVDk9AREzKwmhhFwQoXeeHsOh3Ym7aLn+gX
sC554YlKDlDpyNXzbS5aH8MEcvzyp0/nj3CKdkPoQzNC9mJOFTThurvnDUWAD0esfm8N19pP6LM3
SW8tQMS2ORnLLzKc6fH/+X1DDHqGh6l4bGfP2y4QQdNxcoyp/BKqjhmoY6Iutqf6liZSdDeazcEa
5uHkUV6cui6/UAuw2AV8FyM76ukylyy6ZQG4k1RJehMdjG7DrtydjwCadm0q6NYgnzC3E0HEm5z8
BotU0Q9kCwjx8emkqDiZ98PirLY9iiZwy0vwl7wXhIgw14gPbs583NSpPFEHnpuCysies5/Zwz4y
6/p1aFD80TIJubsGp1XvV4mafSgsxLEzKlkhNSHmBBKExkmjol8nhtPcjOFixvF1AXEUeZBXFJ+l
EST30qxv6AVfMHcsTyq5uwIs5jkiFWMe2gnkg0lBEVstLQ5fvqSGvcsgIFkJgnXHWjM5os9QNXyA
IXup/MjczICBbC/Pz3UEwcuG+0rPYNyj493QgGQ2MXm/QBKdUoYVxA6Lc+jRwPfidNv2tCqh2sv1
3CQMkDNFTmWPucyEXlsFvzC/wgktmMNRyz13RaN4EyuTOdSEncMO9tLswpvGAfvRAo0oEwZ2aTic
GpQmK2pRxuURQHIO/f7NABeUYZ3BktHdqCXneUzN+dTZUHBTwhlmiAG7yewYgdskZhgWXC6NIhEm
IyK9AeYapGP4/ZQf2Ad6xFD3nUDyOeEDROXVM24TaGbYMYcpMo+mxSY6jyhWmooUhdY4EUvEIa4/
xahQmGHGP9P0k5EEtGl9sFMFfN0my50dGhqSHYkGLcZiXywlsCGRFXRtT3aXG6JyeO3HHlLoA4YU
8xo0lnetE/M7y5sIY6/cCmAkZ5DbJ5Tm8RMoNxdHJsyasXSjJx1xDmin9hYXmr0y9SUdCv8QNmH5
lCrYxa0zIDePHEb6rGuPtYijx1gitp5srCBJ6K7CSkV3bjls41Z7e/iDMfb+LQvIR23mVyIx7krU
qYTAojDM7LM5iulRU7xFeDofyWkYnpBAbtyRdLPaLra+LBtkJdammhNsgqSXXXwBkU+yBqO6ZeeW
8YHxKHuXD8d49vpoz6z2ZKL6LsfGOrV28ytkqQTaD65TI/ScNeQp+uzWTng0YjsEHJjE4r32tImr
v/SxfoXVoUOpthryON/6TpU/d0PyYocRcDFTebupbtULwLl1l8pPegMNlle0EYO55XypoGTQEeiq
6tX5TcpdykCJkryrGwynUQ2EFgBg7c9fkhiq74BAG8Z5+BI9+oU7S2AJgW9AuezzENMl3oGFmnZW
jrSzZ7/bmN4hjaYAxYC77khauZRJ8ooSjok6ilOOFxQhogJAmzrmOZmibzmFn3WfZDceDTtyYCt8
1zTZG9aDljSjKJQP2GyMc+QivddmmD5N5O0i28S1lLJztZlQz7Y34nwmk9Xup7fWDXnxqqrZzHLc
qc4eH9xOHArTJVrQEpybmkI8BVXIzEwCXVmU/2S/Q60t6VqgooQEk+5ZcJPbhpYHUwqS3iKHBcdl
wx8AdCchF0k6ryIkA9vSzkFP8ZW03ye399PX0M6ng17Kb+LNcKylxYGFliG/bB8jJ3/QcEnANGNP
l66/FqKndvMBq5Mcko+Je8xcgn5m0zNugUPCBwDZIMvfgtMB5xiOUFJCX4r1yDQn49Ar/1h2hcIU
kU7Psuj1XRCDGYjs/I50euLOWgYlAG7UJvf1LkHSinpvvKkM48TqS8zpDBMI9bsmrMnbiAkbg8MJ
BOJ+/zNWej4kOlKYgpW9QXarEe4SVQpdhNzAdBBvsCpPyeDfgyVWN4PJgC5P0jfT/wqazjhowXjH
76thWwnOyo10IExUwjpb0zsqeZue1RIUTnoIpvxjQFjfY5rzFMJWsFyk7FKiqlMVbby0pDCxppjz
ZZbc4UjrQelxbkdMgXAnPWcHeCnD7QAynwMJu4tZ3ZgD9iiloNzY1Wh9icS8p5ifn1sdLIiOaGvX
0J1j35/eIrd9KHsG+lZP2EJXAuAwRoLrmASXu0aZ47MXOKAfCRjq7WLeeoyymfMMP4JNFOWWvmtD
gdPZz5qHZNoD18CYzeDwYRKC2wVz7RRYg7sNmsbmlevENQ8kXQivm2/CBNCUUT2TGTr+8mrkfyLP
rJexacEq2bq6w3Y3HSAF0I5uHQzNwOXvkhCDGG2A8jOBKJWj8/wVjPqjpDH6kpUmtHh6x9rSxV3Z
yWE/DaF7luUMut4O1aEvy+EivEtGcXQac9vfJPM4feBcOVlp3Dx3SIpXXjU651Yod++oEvtEP9Y7
p3bFvo9syXm41U9oBSDNM1o/w8KPKPspJgyJzsRIFLPk0XaPlfs4uuSWIXuL91XTUWkbPcCnUd20
KXA0ZHtEJ2T98ESqI9hJ9qN3lbbv9Zy9KFOEz7Ws3luq7cclJzJb3jd7xrJiN2H/ScISr638bHTJ
dIJd40RQMOlMvvGGxSF6+oO+/S868F+/GZ13C2sY3U/xz5RfW/x/8cCPf//v5V+eyvzv/+MvffHz
l2vz9/9ZfMfVr3/3Lf43KVj9TboIhn3XdZX0TBa4f5CCXb5iW57PfxdKSWmB8C1K0nr+7a8WpGCT
6GFwwMp3lOXwieiLLV8yzL+ZlrBcn39swZ+ET+b9Z1jBlgl2mATMiVXy+PNvf1WCvwiUhScZJoEN
NpdPWH1/PsRF2PJR/pvwOAUsVRv5t/HaabITDZ2zOZfXutPPHqtON8TDEdDFYp+brq6NaAhAwNOU
KBOnpMDjZJn3KM1D+klQrKBp6IQc4aqhiMZqV2ztdPiWZX5jZHQjmnkx/SfOug+lQLHnPVRVexsG
Es56ChXB8uHCIv+tAJR7o3/vnpw2KI5GEzKTmseHwj9ymsKUNX5gYsk3Oae6YZw2BRRFzqk9aUZQ
fbAkVXuzD/ZOwk7d0AtDl6heM1IgdiW6r3REboYdBmq6gSbcKfnhbDPc0ax8RpZprKuCoxzgdu4h
LIUAESDQlY3wb3PfveqITSqtOFXWSf1dy8bb6Db93QMmF7Ry4X0QoYQwhYIo2QBfA5yZZr9olEDi
cfyjJshjHzYEbMnGevTq+nmoklMwMvZwbaYxc3nH+kE6gLln3l8Su5V+OuSEcVhhycE6whww8DCh
xNOIsCe8C5D99ml9RJ8fLHwzhngCqtA4wSW3re2fNeFfgOF/Kfr8WkJWXR4B9e+eGGnZDg8tD6Dn
2hjK//WJmdKWrCH1zlHohQBxhAbktW8oG9Q2zwR7B22dIJx+lwk2xWjiiNMo+g7BxFVKK2hQOWFH
hJa+VNhx9nlGFkA28rXlojYpC63P4Xs7eC1DsMi4ZtK7dLVAV2/X0SEfuudshrekQQSVk23TBAAg
1bOLbReZ00gc3o9f5a/ocy6OMxq7EJvXCtLFoWzxHUzcpwIp/Tqru4DuE5kCJKSt40J7G6lUt20i
CwWkezNljU8uIqmctvdWoh5hhk07EoJQTeNqbQOF6FowVHOXneiewqSLeUDzCvNAQtgUZk+rJigk
wCS6tjqkynDBMK05Irow/0gZZGHLGjW6JTSwaA/tgYqAtIWhugOu7K/Kok3W3L5jDXt+b1g8gr3m
uw+8TIGjv/ucYK+5OEdmh1m7/ugZIiI+rzl8cE6L8NGu2KgJq/ZuMHrlHPpCYx2J8LMaS5zOsfgQ
6fS7ChPUrv2ORB5xinre8b5uafhK0OG5PWHc6x+4JfhAONHAwPG3JGPoNvDPORkXW790PgNJRnzn
xWyfop+44eHEyRqT6EhrHNLOx9DS/KsUE08MMesAgfHaJvqFXZBXMB1v+az92uPgjE5i+DaX6R/N
I48jbQQULLbeLPAgnDxnlHdks/55Tvoa87FSAqQBftAuJr9HZfpB4tQM4Cgw05rOXl40h3DpdOCg
e00sNz9ASiKotel+2bILgeUt7zUWGNdxrQPkrWHvmuZPy6BxJSP00ClSBNQW/cPQGWe4EcE6HPHx
JKT6rAgd+fDthOQkg9wKxNfDqrC1D8bHfoN1dfoPXjrrX1Zp4gZsJXwlXEcC7cPjv3z9n1fpAWRF
6L3rvKB66hgCGUBZ8LEBE6CEJWxVZsYjC8VClI5+/3l5/qsU+I+CAtgKyVL4fwQFnIkLaPp/qR0k
f+D/JAS45ADYFiB/SKee5yr7H/u+9zfpm66F+sx2PdN1JXfyH/u++BvHVcBrcGA5XVju/00IsP7m
ktpGALdnm8r0bdv/z2z6LlkE//I8KYG/VFlkETiUEiDmlqLnn58nE+eMrjk1DaEHqLLe5eDdt62M
040t6GkFyJa2eufRctqil38CrrYrCAvPmHanEkBNEMkvQnq+LFxwyAHBvGCLo+TOsSTRL49SdAGo
56TdpNtssdPV+OpIeX/qF6NduVjuMp/An86mz9IwxkVUC1h8yB5hRNDpQQkVjpj3xsXisNj5psXY
14aP+WL0oyW3nhfrn+D4ug4WOyCGhwp3IMRFOHMquPj4BtFtYLKqHiwHVlS5WAtT41eP09BfLIca
bay5mBCDxY4YZvg18SdW+BRDZnQsplgXezyMcjEzItViqoe90aPFkc75W40eGr06OLIKyM5Qk/PJ
VG6XC3yURlEcvAnAQDWm2cHPYZ3gqczwVg7yiBwGKcJiumwX+yWByOip32irThAppb2LfYgCAwv5
zGm/mMtT5mH4tgiLlou906hPAW7Pck0IFPbnxQRqLHZQr8K8kMB3sLrQOUa0DGK7vwtdQggoMHGN
YbTNSuAfKr9KkvFW/WI9bVyGaXhRTTypGm/quJhUoYDummeBcxV9VQRVys3nL3+xfmZl8pTF6jse
p6fR0w8UMS8GaUp7f8HkjbhjO1yyQo/nxrPKN6QNR2g5dDdmhghBBmFLYkg1ErCSkf3Kil1tLQn1
v4tac8fRe6/s4Smzi/him+YusagbJ9rbFkqHMC805jM/vPpYqUUc3+fSbu9DLJWqU0go5PATzmy2
Bt5nxzA+cwRxK9Af4sKV2mQlhOQFHOrG77j8lztifPVSveL4D9dGI5D+t+YtGv9J4Lkspva3UW0A
8iMdxn4oNH0abLn2OoZ/skL2OZVQfHTxGhUZkoSRHz+ZHILRMOCMRXfKZQq1pq9uwVxtBx14Z8sh
YLKsdYRoIzuWmkE45/OFq5EcA2wBW5Id6N/r7mJrFGxJ86SJJt7Mg7qZp/QnwfbvRfnIZ0J0kjHk
8vMHoup2yNU+q6o4jqFxdtWChdnKtjrKCDVy2TzPYLe2xJWuO7f5qrruvEAeO5EdKiEeZAOMlcib
5Xkf1OKcxJmBCRFVwfRIN81dO3EitkFrOhzkCYyQ9NrJ06piREhprdVGkeZINrkODDjMmFUmAmaZ
nGsyryy5b5uea9Lah3hC714ayf3kIi2WTXEgT4isewATTGaGbJ0jMMGLYHyVMnl2g/CIs72jhx7c
EuQg1iJgnQjk1Z7Dh3aqjhnGqgGrPfgkVKNCBhZtj9t46h61QkzYGsD6HPDraAYhnK1m7nt6UUm1
H4g7wiWFxz6N/V0Q4YDq+F3UjlBZyk1Cy7PwuntleAXQdxQyuXB3tNQcssEAkDfIpniD7KOdphSk
y5C/GTdF+lTqcJ+4i5q4jk6RsM9R3SW7bhDH1PdZkOxflUC+PpC0jaoHsnTl+yyg/IwyTvAsFMMh
5+kcStRtwdQdxlx8eSMBCOXVonHQJb350NoGPdEx/a6D4WpXTrHJTeGdBhffrMRLdKL0wTf0SjGM
EqUbz17VnBmdqBtgeIgiBoQNU//bWlD2vMUnv+IrjrLXlO2rrMlvAB/YQIoYehGgVG6HmJs5oive
GJZC/2DitiMxkl0gbOxHS/QKr6fRfXZyPKEQLy8yqiBKrag9n4hIcjACcd0EwYZri3Jp63nq3KaV
v0orYlJTo7ltU7PepQDr6+Yc0uM46yQYt46l4pPrtw+miKZdCU9upa0m3YmqJj5iSGlRovlHtoW9
zbSMoyoQl46p7G/KvAVtnk3DfdE+6siHGV3yBnt+7BwdM40XkjuHqjm7swhDW8P8ID156sQHEYUv
6QCSIQ9A2Eph3hrTd5B8M5FI3wXJzw5O8c1IosDGS8p94La82ZT+q6aqv2RGCkeQ9u5dBmttldK0
vWaJ/wLFhv7nrh2J37NG7zlX7otpVB8ue9nWNZuzmKkvM5UhCpRdfh16pLP1QFh6AZAJZbmw7hAL
/BhG/zK1rkezucAqPVUkT2IJlyir9RzRyl6eHELB166JS3CO1r0109QPTbnN2wfLu3M98BsocOWK
uSNn3lHfNDauN78CZKJk2+w562S9T+w5itlWPqSa8yMilYSV0X2toxu4VlnPCtp77csQtpsuVL/U
jKTeJQo3AyBrUFiHZMh5xrLJJe221QIpoT0eHNvdBb6DNyWJ2cMw/BYj8TOJxUCFybRn/JaV9eAs
7Jqyc39PUf6QNIv1PtfPxRAd/Sn+3XmEC0CDylZlw8SZVy4gEq8jPoO2v6Cji9w6jwd8KayJNTCg
tisOwrXvZIEPUhtIOHtCK7L82WySn87/iESEqHkZNrj64kXub5pnGzc8mM0PcbTv+LDe4M91wTHI
64cWKa7rTFsz0LABmQAfa8Bf5WnQ5d7J4QZjrFWXsmec6CvjAbQEZJDYNgmSMb7SiqBiI6cHkGP+
UJDkFPTQVV1wMfy5gO7AYHxJA6I4eshE/JCF2XckmWMGNkGfsHqIKLvReXjrqqvyGGamWUg+QGId
MT2E1Qly/xfTtnUWyuFk5O6XinwGU+OjQ/QIgHr9ZiYDDdnhWig4lmbh35BguynbGXNG/4Zcl8ZL
++16AztrCaZlhPjUpTVnSC66lQkoCSOWt4LY7oSVeTV44W8BeZnBCospq0WwTrOWhFCyC+itsEP4
42NU9xMaIOeuDyBcNuJumIq7lEStlYi6M+xb9o/y0yodsZkaRmaLPsHw6Oc4QfVdm/MCINLzxjK7
E7xLezWUzFewZq0gORIQHdgJLf7xJpz4XdYuufOYoVZdMhe7krMSwtr0i1ZKXnynzLQADdAM583r
qmevJO8PiT/lqvVQpO63WVbGvr4fC9PYTxkMBt/MeWrpxHhVe0Jz8jyINtnDhV17fvvCLBn9cyTI
MYxO6Rz88uTooNNgTIoueBVb0wHHzo3r0V1yPHhEnQLG29N3n2bnY3BCCKO3jvMJZj3c4IkLWTXI
wuTz+M2QoX8LEoTAzh5xAvODaXrrPLSdLauCw+y1MEZ9i15k1wJ0BCIAE6UvX2czfmswNuYhLkKn
weM+IK8GwaNczwYk537aU3M03bKFDcTTQyYyQvfw1dUSH2TNL5b7MRX8TDbBJQjnriQBAve8J+3u
jVcTZUvGWCbAyTvWxcYC/r6nXOpWkxPv8jC/Sws2rijxPkb31oKWL4JL5VPDjlzLnUqK59Twvzja
r8tYTUQwIOl1KCpAubGiWqH11dUGiqt4lwF2oQ4gbdKsFPwTzNq4bYvx02SqvJ57FCzae7Kc7NVI
3M8+aYDWVOZXG5XX1MSQ6pOBtHMv7cTwJEQRsth2Nw0AE6AZ+iF1s2BfLHocLHPXJgnUJR7w+EPh
e+/xKadIj9admq4N2+w6BB/siezc/LEGVubjTDYTtIAK31RNQGxuoznmoYYNVFRIVyoJFFKKeDxb
IsSeyJBOS4Lo6YgFGG6865Av+35xFJGzaMxAdlsx3pdQfndcI8Ac4pcmTFBDAjvO3rKoV1+VleSE
Woj7scfXX3HzmFWxh1uXBIYKQZm9cN4ytsBNifGdidnBUqlxyXCPQewW6D2qYh/babI3C4p4QDOz
l++p3Z773rwvuzk+JUHxkViEecFnCdbtyLFBM5+zIr0dbbqYscI5EFFIjSbCTXcc93NJoeFl/c7g
9LtpGqB0WWNWewOTG96AUm/9kffH8NWvNDHlWXQ1YA3yPxrp8QyhO9yRiv0NvLu7Y2Za+43ekZLy
lAVdfBRuvytTsG50kftT09bXLEQTWSxaphmxtFFZ21rn7rbLGdIkIaLRcFR3y7+xQ9p63GmPZS5g
RBaG50lFYmWja1vl8BwY/aINIJYc4/HdNFBz2gGYtMLg1bL4kDN1+crJs18w4i/RYtmhWZtA8zdh
hGgvA1v7FlBYbhiFx9uin2yOPvyRxZRY+PF5TmlGTT2SgRCLS1Pd6qehAWzLBB13dxsQJ69Z6TCQ
7IAoZOsE2jLwZAbBGRPIMvV2NnD6TWeWHwBOl62apjws5U4br9GQ3FR+f+/63iNOyZcZYCNk3Djf
GXeZq9jAneFcp9CJ3MC91A57cGIrwGMdBOqqotfWvQVZ++Foj1iZ9jI4aX8FrWTuCroAm4pkOCA7
/SHM/7Q2jzVK9gc7tIqHHnoNnfSJWHl/PmiCB0+JiyW1nlSxCZk+ewy8mSFWxZXvQSbKR0zqOJnu
abMr6gYjdXmXovrlpI6u1FeEH807lJQxBXIF1SutmYEzksMovikq8NA8i4ldb5ok54qjiyMmHfqM
2UYvZBb6q8IZoAOa4t70znPJTw0oG5JqiS1ZW4vNvskeswJ5clcULp2BDKRFQIrhn6ClYMCC4iNd
kFNwAaVNahQ0A/oKBvc6yZ/77NAMFkdrmzCjUrSQwaKmP87NkO7S2IRYGrVocWwk2gi+k5GjmIV8
z7fGJzhyJkd7UOiIkLCm0TQuzelgoHDZUoN9OERiw+oFt88VR7rCtpXn0ZXlmrzGYjM7QGFHI3S3
eFHpmBL0VtnOZhwe4rh+QMvZ3TTwVqZ2erG05lCU8O2qrLjXXv6CZNrdFo7BJi1KWEEN7VKwEpjq
m+x1wDm+doSPTmic1qAt2TbmeNl1p0Oz2Md1e4cNLzxXcBmj2I0uZRM6NwvMwLbLqy/qZ2bNS04T
2vU5CW+KlLTUYQ7e+yZbW0PwkkXZnhI427qRdS3DJDqYVbmGiwD/xMk+KruECwac0/b2oLXBkfru
oZ3FVuOP2TgeITOBhsIvFfYerEesNo+0UoJDAdJuk1cpjl2QYDG1wB4d8176OenYBAIqLnTvZndj
lfJy89y4Lk+CKq5U6LR6c+ycjNHuULhfEjm92U12EzRA0KFVb5QjzlYQ4EoYu4NOup2n022YFrtJ
GumG1J5xE3OBwPhd/VaqrcoyH8U2IPiROMxueWnq5lvXnXGbpOGPL361DO/HrDpq1VYH3IPsYiHI
z7DHusPF91C77fTb6Bv4/BqnOndOekkr9TvFWbAZnB5oa86uCQfsmubWte8T8oBOEDkAqFMXbpbq
1bC4s7J+KbkfVdLch+7yYWVSnhG9Nkuh3NrDeZrGSzSIiMs2deshrTemfh9lfTeqGcsQQkBb6Dtz
HM7u6Cw5R5gfaiIMlNdQ0OhsNY3OWzO1nyoLHfbd8iOjUcJxyi/WYTfuHKyfTKeoCrpEn60iXyJ+
5NdQ9aeWzIq0Tn4qI3lAqEMSF2jWlCTflrStVYmwkP2j+LTXnWNG55bsX+Zhh3QJAw44ihBTae94
U/m66aR7i8R6EoSVJkrY8T8aXD4oZwkZtofmrQm8CzI9PtJcPbcG2Qa279Dv0pQL5rVbIouzJbwY
i9BAlrG1hBpnS7zxJAg6FkvksQ9oNKRZSMgAW+LE1JFcDqg2xEauIjKTbbKTG48QZXuJUybYWKwN
a82U41AugcvZTPSypVz6L6QxD0ssc7oENA9LVPMsn2eglhyN0WrG9UcmKW460p3zJeY5J++5qu0r
wwtnTcPTgX3/jcUr2YY2yx3ZXea5XfLdCsQSc2nehxAcT6QC0yydiJkelsDpZomeTpZcyiWMeiaV
OmiIp86WoGpg8CwqGDt2eomxRuq7PFosP6FVfmJSAc6yxF6zj5cbGsbHbInElmRj20tIdlL19+yd
zonB6KJfIkUNnPVdxhBTLyHbrKPHBonwUS/5272FRh/AxYHoO3bQJabbWQK78QVHKGWuE0neZu6U
t+xe6b5eYr4p4ihXCP5GSYdSEsmfBe0+Qcu2ypaY8Jy8cJfccK04RIfpcK56IsU15mcwMzeCrHFz
CR3P6vgN+3G+DZZAcptk8pxB3n5ewsqNmkKy+BNgHvyqgO1vLZLN2SJ4F3uUGyoo5SrR9ZYoNQON
K87PdAlHH0R1FGHcbVmCHiIVciwPIUNOnv2V/wlXJ7JjCVsvA+D7oRYHTQ57SL2eLMHsKmEM2czn
PMN1kZvoaLGgfZTuNSPTPVnC3cOgvSsxC5N3hRpbLBHwAVnw4xIKj112O/XaXtVEdKyidmpWRUmI
fDZICpWJjxg63iOnw5vQQouSIs7EBBuQpE0evUsuPRDmbTjn4E+TGg10dYddwV+C7BdhrMP8rjGL
g0X3KMFalEPMjQr9xqD5WMeAJmXPrYUjtaoVh5ot4Y6rxbSEHJUxow1LGLE8/ZSejEPr1Z/qbVBn
Pxm17Emg5Q4hHHDO5jRuOgpghjqQlmCS52E9OtRR8PJG3ug6Pqk+p3eAvZhc6w5kGuzkPG3vp5lQ
TiW1vCddi/qlX0tR9He5wYEQMTk5nnUG72Y0IlpYeJ6ni0k8xLqVXKmovp8qenleVN6YcX4Sk6DR
lY5ElDgV70AZPZOjFbwX2EC9XnJcy2t8ikhgfUkjYh7ij8QgSwhx0o3EJ7MtdUcXhuaNiTZ+TWBF
GeWPY4v4szWTZw/pwLYQfn3fjd2ZNW5FgTgc4rC+g4fIYL7unhg0M8wM+d04uS8oJykPLBeJFupI
V0WPbdd+OX2O2K1DeBxelFW8cZP6VjJq5NixL+Pw6IvxMLjONeMPEV+AS0Msh7QeExhi3pTS9AhN
Fyp+9hQHJEcAT4PGsATUtfU9gcCcr9IHwMbkQZnO2XKbOxdjrWClnWt5SFIQVqlhHBMfSWmRmTy3
Caw9Dv4EjVSXzkFMhT/AWTtnXPk/tKY4I0i1Y9gsaSr6SEqttGMnFHeRJKk88PthleXFR1zzwU1F
vdHxSkU+1nlHuHIzGOpD+22wQduO8svX5hrRot6ikuOW50NOIAAKjJAsAa7sraQ3t0FQd+OE9Xs/
xR6M7OqrELiLjU59VA4tiSau+62cJ1Sf9oR+AOwT8qwTGCSmMfR4K9tovn3YJiRaLSjWcF8WSMFN
X1Ix6uTcOAaigRo72DzsrIE91KEe3UXDNbGp/I0hFY8qCtex6+Lr52jSNWX/1BPZDinqJxnzZMc1
o9NnD6cyPyQDhbzjmZih29B9dPPsXnbZDQjx7OjkBjT4ICO8xLQ1cAuJWZPsJ8y6sIclRACOrK+K
+FcK/PoMJOsnHL64/vDIsupsc5LbtA1U3Fzmw94RQfOC/OLWqFrznAmewkHTMnChw1SOwuMr8AZF
7XDfx0Vx9Cbr3stSj0MgRYQXdtuqIZ/LKNtXHh166A2y5yTG0JaXCfZ2kaptWLGtYrNaG4esAtk1
zhxyGgZHlOscWrtU/xqQe2B/Np87vWv7/DRVXnJiAgTSC7byevLHW0s9TyyNZIbce6ROrJjEW/Dq
wDPCGuEFJk92K/XSvZhtwinrae8y1PPxnCEQN59GOwUMT+TIKvDzx6AXpFHw2SgVMH9EJJXUgLgv
E/JQ0+AZ12F0203NrYxljAokeOE4Ga+ZaKFwAhHBzybhJuBYr8Z72tMV32NSG8RI+myT5cbtQfHU
s6H6vO0QJZYtraNXOtTLGcn8aawMg1417EsNV9eNm349JcaFOvUnJy1774BxTrwAg0W6qgMiAtkU
afaEuNnxw06A7RvM+22/VT10lmli8joorK+8uCPy5d6p+40N3bjpAhg9aCD2haY4dGvUNhJ3x46A
+ZD+1SZvWczSWT8HE6uDNga18pJ2ONTT0HLYhn2VvmQ2CnWT948QZPnqEgBG93AEUgxBdf/bHhfc
uREYazA3ybo/2KmiHW45iLzdK76adUy3aN0MsAD0LD/ifpF3R2AlYp+FbAZKQEg6eErFv2Juz64/
vZPpeixbGZ08VjNdSvMVQhBDxq0wEZuSaMWHM74NZ2g5/KbRIeuxf2KftPjRLZeGUbqbjd7fCSzn
yCqE2kgklxvTgQ7lzdVNEhn7yM3fdbsETZUVURhshV5HO9Lh/2Pc+y70YFCY1bDOjYEfhi6l2WXD
vbLpNhYVXdc0Q3iaOQB4jKR8xaNZbsqRxCvLK4+9f9XQWg7uBKNBzbfwdNlGUpVDjVAO2lyIC4XB
gcYul7mcB1GidsnriJQBJJ4Fq+h9UPS7zlH9oyIpHE37qwgI25QNVwSM/HaU0GFbivPMyouzl3T7
oSRYi47QDaiXmu5iB3gYlBdUdboanq1fi84pj9ZIjmRbEuTrYSTzvQgeTEaPl0lShN8lgUO6y/Ou
3hpjx9yy+Y0p5oMcY67GqKpN8b8oOq/muHE0iv4iVgFMAF87B+Xktl5YkjVizgTTr5/Dh3VN7c7K
djcJfOHeczHn3keqAb+EZhqv2Qa0FWdqW8Pd1NMP7KQnvDVYwWqHcV2orhid+IZSc4Qc8joXwbhb
ReM4E9zoRDd0zF156Hx44CEmTQz+LVtME4hd7oTFZgooBrRVXQhT1HfeAzOK51wtwIMH6873C3NU
gCYhTp7sDi96YeJobb/PEe5zKqXuRLc3sRKzboPrPkSEC2DtWBKc1Em+XRYmk9BZwXujmELjhU25
8N/KUb7GC32URfHOZwzLIc5OugQjNsUEuITMjxqEgnrAvO7Ab7OnCdRl8cEto/i9SBLWhuEmCPWf
SmNGjMP6yqIB5uuE9q6GUHgO4ZZlXsD36h40qs69ZJ61lBG4HGU3pwZR5YbZQs+MCN6TbpEW9X/T
UR6AIg73VoFhzKAOhqG61zE9B5jdzCIvNOnIiwo6rA0wEp+GbhkZhBoWATI+N6M8TRqSHMV0C9Aa
YI9IQCX0LiAKvDY7BUJ/x/r80jhAXlBPLrvRDCdf3jo1RafBXituUP9eSsRfN2WnOTA3TCsg3Krz
kCj8F9SdsWm9YxsHH0Ob/+cXpXWQbq22aNwugmnmKHrByV1h9eSqZnZ4S81rQeT0qcanqxRYDb4X
ZnINtum6YL/Luh+anqeYd2Frc7e+hY8Zxbc55DXYRRehzFEwmeObxR4H0IFoComvvJZk9lG3mtRC
MhKPT5Y38tXFLW3FZ+iq19mNT66XnJMBzRxVSpmA3DQ7EukuOCovTNJB61xyxU6u5MfPw8gzQalY
1E9+oj7dloYW3jX0Dr2DZ4elgzEB6e3oNth8MvbZEVZxy0KcCL6/3OxSf6/BDdqvX9g7Q1fHo2sv
7i32eVoiKmkT+ffN7HGnmH/FuHxX1GtMstw39GrR3omICCuIfXIxrjJl7Yx6cOufJoRUIYrxEgRs
XRj1/GG6CWN5YH/vc2jb+UOoas2icrmye+F9p9LIh9sgSCIZcgzt5aXj7GH2/0VV84xu5Gym/rSu
LZMCGr1bzBcTB08M47fB7A27NF3xgOqubeYnp+jNLkxnXIPTh5QvLSoG/wNlRsOiu3I46uODmO69
eHjxo+o96RX5WuOLo8/oPqpNUHUvFHtw3Ey3FUH9wrX1m4w9Asvefg377wo6byz+i+Y3JhEAleOl
2naJ+5A1Vy/wHjSHmCQHMD6y1SKznh0ojUD8xnyG9CkYR2IJd5zbjCfy8JWMsG7X1Mhe45DNSiHM
N43QABQ22LMgeCpr+wwA/9srAIyaxCvZWbxWc3+UOYNlNVlQnkIqkOx1bjjHLC80TN2peWIGCVZL
2JUBIL7uIT+1g+cpUKvp12ZgTweq/bMT9Hsgmcw6wy7ZNZCtlPdvnL0XGMzgPLF8sY319aGtTkOC
XyYEcm37PGapXzw5M7pdUgrwaAa3uFg+Es86xfb0mQicUeT3UMS03k467NHmkbTwLPMOTaINyv9m
L3C4Us/ybZr8kx/8Wc3uDe0FlXX/4Kj+SUDFo7rIH9ZwZmEn3zK+zo55HJwBuoUCgiXNEdLcL7O1
N14+Fm+GrOhgPJshhK0L6o1nTAAWgFbx0oS/XWyJbQcHFzzkY+wnL7bLx9KSEBAWvBFxBrF3iSm9
dPabuOLc5i/YhOkBTfGJ0XabD/HfRuePbeRsBxyL0sLnk4pxIUck5qKjnvYkFw2R5XuusW3JbJKF
CP8teoaeuHdRYyavUjZfUe3d2RpCXeeOYgMoZh/gsFw/EVfdJjv/6oplQxTTsm99GwTbsHrXkSL0
gNRp4O4bAenGyovnnBOerZzgJrB/fGqOgp8X4fAARmCQn1GHmzxkvUo/Ro21t5nkbQWWsr0VrPFD
A4AAzH3vXR6/SYDJFCeK5aojtrrlbl36YRMw9bDT4Ek6RBoSFnbXV6hP/fa4kJPFPISIcIxfaAM9
Thi09KbnaJrCv3G3vA8M6ti7thxV9W/r9GfOumsSezQSAiBHGD7h/WU27lGN5BHXoSr58da/5r5S
uHb6omH+otj+8S5t7KYfEWjgh5mlXO2bd9qtP22vhzm96J8w6o9CYLImOpgSArlrt87uCE8gSPA3
aIPHyIVx25hHA0RrLxb5MZcDsAaC6DdOwkaNuwguc1NvCJJ4CKrircJI8JgTGQJvqP+7wBDJdPvE
V8LqA0NMx/CQ2f1q6PeH+7jrEPM2FMlN+5nyc079zCalL4MPLl2fAQosyJHpYeVMe/NQ+gmJO8gT
6jSg98fE3HfLdA/dm2lKeCsh/B70KL6CcX5IkwZ/VZZTxFSJONUTviw0P5tgMj36qejadhooIgDn
vZQLqbXpAScOrKaYLzIPy8faoA/s7osGE7jUSDhyfdLrbH1qfpiuQlUZiachPfTbniJW2jnhHmP3
lPPn3cpi1TXL/uY5yR/YNuk5t+FCe1/LMt9NwgLiGyWQV5zsEuU0wT13h+8wVammHIMqBXQ/fwdA
d1YDwL8oQLut/Tk6hMp/K9oVtWVIC1yCzzkmY4zKudu8DXZKOlx5blyI80xsSEMlaiWJ4a3VRIau
Ack2XiKbSFZJFxggo4b0lB86UgRU4YFaQjaycf3+i4Qi7J9grDbrz0K71jbINCE830M+7Y7MdNlM
MEI0lnugbMbKkSR6T6Isvd58j/Gf45soqHOIjo3BTqg5KYh8eI5GNGFdjLk8sex/dVz9ZOxxUshb
BVmwXV55MEPtL+KHcGo02Vsiqpch8/e5zNo3zwaYTrhsm6w50kvwpXmvZWycw9B5vzmAd8tv/ohK
vPsRIYMlUkp8sPkdegIqNCt6B5X+6pbWKiHi/XfddGZ76XyPUfTEHffu0Mpw2cY91cGw05DrQIOi
ig/6FKOWtYqOIjYVztX0VBWt90TYAm8jR6VtdbtgthB4AXpNyIFG1UCz2FvYe72YvbAbWHyuLC0J
oI698Hms1DbjaonCFejZM/8q+IKJo9uYuoAsqgYmKAiuHIF7fFkA2yTwmIT4ZoP4nSwu3aLEpecl
8Ufp5/Lc+nN5gDfHSCJo5H0nu5OI+m85d8tx0eCQvH45SbGkH4oZN+vybY6mbtJhgIDWvKeigiQP
XYRA4B4lBv+OaJu/9RwzJjUVORGC25wWqSYNZOd74oWQMjz/gf1Tlsq+FKRnw1+J5V6U8U9qpUfX
Jw1cm+i/usCPIQpDYLv/4CwJCZiBjUKwZM0b2YhKEdKgHUqvRQ2jBG5/rIW+ZxNMir1wcQwE4uhj
7D8VDI6YLLc7K9FPka0ptdZfKnIwt6YDP6h9IMTDPYgh2jN35gacG0IqjfvUsmAGdtG2W9EQalJE
Z2WlfxapkR5mRGK0dMDpUNu7cEC1rzt5YiUU9TgdFz0797JexMFTBO1C7Hos2hfVsJICTAj2vh5z
DAs18TtpoP+xWXmXEUWYBmgWW/oeJ0hwP7d42UVbPHcJYV7SAcrJnXqK9WRdrF6cTU15nw+rcwPE
Fy4GeeKBBsGZd7+tXp7gnEcMrBSu9IaZ9ZZACr9s3wedPStYySfXnT8r2RebVgF4apwuOkzjt90D
E2gWaM4hqSg8mv2dsh+ySN28JHgKyQFmPH8B9bgtuv4+IWIRQ84VrdJmcmDQJdm/JfZvfAp3jfC/
ERPiCEscmsNv3WHfgd+CXUQA6B6t3xlPyC5FPjhOSAyjEcBaJ/MBeww7zTrCuqQY5/JLbHm/gZA/
VkL8TOZWIQ9b/TfDnbtJtf8N5hPpBqT3njgAbcKTE1jnyGfBoSuleeczsx9wumRz/Sei5ilt2qQh
R/DUHaHtX2P0DrsYM/sB3KOvrI/Q+M497ub0uUOpHhkoFDFh7+jlKClq96fJVykEQu3D4Hdvbbg8
yxQHKMsw7lmLqiQf3ppo+FksAqWsMALSbzOBI0qqydNXo5AK+YyZTQp2hDkXFIffJBjvPV0BsSvV
cxwEl6hRD1IfXWJhgunqKop5aUGLi6CrRS3KV0wj6Br0QzsQ7VoS/JO7iUJQTu/uhLssIpzHfsso
z2CHh+tI4YaaHonjGfahQ808Q2BhQ/jRlMt7vMJ74471aS2Dl1p1L7i2L8ZJHhBqPhoAFTwg4XPU
2zextqn1Mki4PTBjQzaweQgsJGj/RBqAb9C/hzkzNRpSmzFU+Gz75j3WxuxL/Gc+hPxVH3YZre9w
7I6IJautRgG2MhevINM/k2E6uOxXAUvvooTDL6XI7IOR14cGwsKLl0/hq+d3N7DoJ0UBUVThLSfq
oyWLZA15CDM6cgB8+bZGTJHUC7H2ajMDW9y7isbeINDbJx4hPDPCOgcxspK86SqXt2a6DpRYpk1v
ySrPrhYyTp/tYCSoTbDjb1gLErtQpOMjib0oXexnL7LemUv5l6lIHjLSsQn5ZbjgansPylplgFs6
LgirS/7pkUWnsnigXQr53LWAlgxBuC3K4NdNIT/UwQ/C/xQnNuEdmOwHi1VKXXLG+/NPnNsciXF3
SmAzYX5MgNvhT5q2eV2wOQNPLcz47mcL4Kp6+BRQCD3n4tgh+cb9b4SiBsnAFeiZZr7vnLraH7bh
0F4Iu6uhj4G9EJH1N+nejLGf+kCvenSzXZ97JkfMXcXMIUP/RtlReMU3uJpqr0rnjG/D31vMCTda
tE9uRmZoBWVrmPN7hyymIxrgh75ymu1KKTF8PQs1nN0B9sMm1ZALEx4HN7+KsMrZR+H9BNJJKpsg
LibAHnv0XJ/5WIiusGIlniC2v5Q+rTPSW2xX7IUweLo6+NPK9DcLP2eB86z0icaOPfHrxb927rFL
GtytSNHehar7FDG6Gcgm5fpdPS7435M0756qn5QF1B1I6SYyDYk28y0QoJaCyf0WNsNxIrGxb7gv
3lC/BE39pyxS9zqC9t+wbeGlYGtFDsgcHMakUUgwFA9uAaiuKwDKO5D5Qe3Agh7IT3Ea2t+hYgzA
JTPu59SG3pJ4cM7m/peSD2FaRvpoWAPPDDP1lDjeKc8bde4Mg5Cxgq0Q8ZhFsk+PKvwjCiQDTmd8
dCPTAaahBl+SI2AOSCNfxzKCiKqTISJeG7rSTmc87imk9WI5m6pUB20sqBEtWbN92d/FUlZ7YsfI
Am7jN6dGoOQ0abCBkTcdzczU1iYvtvdCte8N2ei8lZ868o4gQxmU0rZGBcL/hPjj+1Jmf9qU32pI
xl89SIDVcmWaUwG7PVNhTaBDtvQVhgC0j1MQfSyF0BgYmqex6Bia9SjQ4rLaYd7o4W+1zbFwkwsp
DUywG8rhLhg5UNKz0IN6GdEBEiXFddOuI9bY2qC8jSecg5LxWJwazLGTzS4yH3d9AUk/GJtTHj1j
fyiOi+p/hjFtdmDBPiN3/B4TG6zb3CNhIRGpZ+jiWP03avrHvo7u/Nz5yoxHOg4SoK0ACQU63r+k
BUwRO71FQ/tT+M5N49QsZ+mie2wRm3tP8xDs6IfMdsUx2XaJc2r5M2R1cSDI6WpafcPqSZ5BTF89
Zh94+tAF1u07uZpA+7HCdEz4Lk5bvhZtF7MDWvaZWdOGR28jdCVokvgXUx8laZSDQlltQu1SoR1c
q07CpOMdo6xTIRXx3jNBgHp5oUe3YZtBh/TEndG23mkhH5AiA99gpTC2QQ2CSV8LFRbHyJ8/U0y2
oy30BYnmJm+0u6/R4eFd1tfU7qaj945I2iAfAk7AxLieiOW4C6Dq3WGtRRdXt3I72vRwMg5IL8+t
fUwGXhCQke7nOIBDHovGMmsAefBnKsN9n0FqImgKoE/fH1u7xGLlvbumj05eLMESCbVDWxvd2bBb
uXzocROPUPm0CeghUR4mBdnsk2d9ytqDRclsfmscMuun9AWEQ3JHds5/CEe+qsq5mcBnxkeOhh3d
92H+NmWEUjH2JoOzbO6moOTM5gHZEOdocxGBVlDHoQzxCeldYQ3f42qJV/X8BxcaBhBAuvtaMACQ
MbaeRLK2ImEPQVC8rzTqLjF4dNWuN++QTdb7pocvD6iuJQxy1+UYxJogsLadQdYwNoRcYjep9w7K
Nr9coruqHPjDMn9o+aE5IjJSmukHo2a+Q1W5JZhjOYHs3pNMOZ96hdx+RHyC/mpUWyPSF1MzwvoL
56e4cwt2+M1KN3M9+8u155tMGGrrNdbEnuk0FWslZn+spoJVCcZBgESJKViaE+3Zqw2RAIruCbzK
5PWkwGcdB2W/s7J0vDoziabKZHtEd/+lXXSxW5Wd/fIvZNn5wZPVgynTB7sdvWMARJk/AuEp8jeq
5D2Kdp5fMcrnJlIt87aa/6j44HVc7I7h+htljPh8WvefbZY+9SUBymQdOlX9rAnrwWnTvyxVdW/8
ERYqSExm/v25ZKff3xN8emwH68PpnA9Y5f3WivTeiod9rRey6/wx2k1L0h3pCxpU6e0TrrRwB0fg
Crd72gPwuctfUG372+KgS6vYdCQHo1KGQIOVKkGF6KdvA+E8bjZv83J6h4zVH7g3/sxXTxU/Cgrn
hk15uQuETwBF6Cb485KdbwqYKzZ9ZeQnyHtCYmc8YjnD0H0hjaetIKKWmB85uleLNQ8LRF1vIyui
UwJ+WuFonG3s2RFthZtswIhNzm7E1drMDAobZ1sxlKw5HBFHMODmjUWL/9iSIXEug/wlVWbPZfop
DAzgATJqkrByaw1JdRVJAfPw7Xj+h5+aT48pPUtz8zRoQI8Uji7z1UlhvJTwWJSR+4jI9U1twTcv
yvhbuc0JcSRwI+Ejbh70zckmisryVbrNhOdCvzZljktzzHZdk/F3KuPPOqgiApfdlzHOL9ZQ/ZSj
fm2DKkSydSH8yScGnld3RoKWEtbrW2B6R2z3gcVIo2LAFpSc07hU+VrS7yHyVtWgWDuo+pBE1L8W
zUU/duc54gZJdZlehtHUu6YIr5Y/ybPPVn8Tu+5TiruTi0kB0kIg1KJ3q0a+8ZLZvyANYixJLy6J
5tsymEHwVU4uyrIvn7IUU0BWkA1HannGRaNa679GenAvlM9TpYaD6yA/zhPrwa5DpomonLYRa7p9
DHZ2ifTrkIYUlXn/408M0sglJ0MX2TVWF+9YzMVb56whzsBFKyBCA9PFspfLDnNSum0UBiGOu+Lg
1v5fa1wStuC/cqx/le0SdP5qtKdgfC/Fpughdw5ogQcJZE5V6SN5A9zdbK/Sx2RcA1FXTqpD4mIz
M/SKx3g/U0VkPVKXXNl3yOHJl0bwODbtl1/orzoO0UeH6bvNu1GsiEGxRtb0RY6CyX8QztgBF7NR
VXD4hAGXIk0j4QTj3kbQ24b/uaZ4UCm8kMDwDXbW44jsAH7YMQvCmbBjxCxkIweEfGcHBNlnfI4Z
GyR2+iSOq0PF5ngpwv5kefWLr1RFwKjPmKByX9WK/LcW99vlTT/MdfFgWjRLchGfM1rz3YDwA0rt
lb73E07IYZjhfXhybSEn95IY+aWZRN0TUboDETqxKrR2wJImgf4lWHmh5SxAWTT5PcK4ZNObHAzd
LOjmV+Vyqs3Wsqdqq9jx6NC+ybp/17JlEs76exMtfzA8PdTDzD/7YM/8jgtgqYFgtFlIOFWqHwsJ
ZxEaR32UM7oNm4GcXl+ArlwzplFrL7Bha+bqmEI2fa8xNkqcZtAV/O2o1c6j9EJCzfbaQxzvBmVN
qMJkP1nR8i/MtLPryrA5ZoAy3G78hsgNd7xg5BB31SmtrbVzL0A3jGI8TqHzlliCKkZsp7GJH7Ik
bhA+EI0JvupFPqcN5wjS8W8yJPamH+5ihbgcNQaim/hu0HQh5RhRsJv+SCwA79C8TF9upW+jDPV+
tJ5pdwHeE77BtrMnKMmGrp+z5svhOOcqSq8jm5s9jC3y7NdhfJeVD8wDb/M4CJrY/r7WuLkWiuJt
36+O3PYyo4jEiNXQoqTiNUvullCxAZJWh4hNMXFAFLcNdfSfn1V3k27nDSSw8ECzwXr2uS7zJ1d3
mDt8oORt97AmfyAGoM9SxGgEpOE1o7gu3jgexsomsYIE0L3jzRY21fgMVx7NUhJkNEr53jPN/AhT
okpPJIlb2yaZSFGwF/OA1v7ea0R9FmnLkh/CxKEy9n9LM/uXaGCTEgoJkbVRJ7bpe/x74tgUEYtI
rN24Um5O7emrRuOzlSIEYFUEFCTRtBuZeaH9cSgNsHb2eDKw7ZUn6u7k2BsbdXH6ZxAQ+2w18bkx
oQ0TGBVQ+0FI42wrXnpM1sXE8BoqEByLBSu+w6aPPl3rs/R6SI9cS+maehCoL7DmH/TiAXPp8rfB
JIHn2t0WrgvW0XLvQ9P/+gCnrwb+VemLc4W5hMmrSxRxC0Fx4imZs/G+Afy6m7PhabAWb99BcYTu
golEGvNY+qHDQJj+mNvE2mGbDVHGgNTvY+Qastm3fALoZB9SYjE2y8ibk9mLt6k6fR485r89Ev4d
w0B8PzPfJfkR+ELGgTelQHGBUKAcwEwnjeR08HumG9HFhf+asqtrwxHlOkO3fZw3BaMlfvHG6RxK
Lz5DVv5viGsUyoircgtJMMDK+Epzy31SCLWRi/NRZSl7bJ9bZYk63uDFhwTsjTsM8q+hW/76jJIR
UxZvtfPXHam+poacrQhU4qaACnhpJJXhXKRbN1AF4TT5TzQ3h1aunoq+C2Ddo6BalCr2buOqIxoz
/q4LiyER8mZnAVidGSvNhs1Lt8vm6SCi8cO4MX86O8/OVQ7s2ys6lAC99+QP/nwY0uCfhSt8b0mE
EXOceqhh8++6xdFmqYpBUygPcV8113lEJudqVxw7VByhb5t91AAsxnc+vMZxffkthpI7nH9LVUiN
kGh9AzTb6+bNVgYWi0sDSW//mUHnRfbOAA4gIwP8fnrw556/g6558JI837rS+xsZ4Kox5vuylJ9A
Q6GUphMDYm7dZCBSAq1OnS73cpSPwn0pEXnuqj5bdlFlH+Yo8fbehQGXPDZENGMgj7+003xnAG73
Y4sqffEvZnQepwhfCgIvb49mHAS4t7q5HP+zzNWJh/xaTU158dz5JK0E8GVkD/tsXHwaUKfbG43g
pfc+AlgYe79qrP2IECJdVqhiNcJwD8PHIAH3Gof+Xi3mpolt0pmFhLlG/fGn9yYkhp6Fb3/hbesU
QbIoouWCMJH86R8/6l6YBqNHyfjeRqYfkaiRWN1lESCETNnX2sreUL3ehiRCQAYflFEoA8KKbmVr
cUqaRNS7zrpPRyzDfNo03hAsfKcZjqQyYFNUzsNk83uOSX0TwwqRgpO1flA9hw3N97s3DdcyAuzB
/ynb+AKs5uLJZlvHxPViIHhrjQ3to6PYxjG91RMeDtkl7Q4kPAUeZk1wbFvI5eMWiwcZPaImDbUP
/lVB86MkmrzGAYHoJMOu9MKXMvQDWvzwrVRlcTcu16UP/A1x1S8wlT5QFjAvlaBXiWO6pChKVCat
K2F0r6VbbGduLiOJPhhGfYU7sGV9dPGbOWOy4oJPVv490YkS9mNCmNyui6prQ7AuQyhk9FZWfooo
+OlSFK9FD4pVG7RUhIW/LuQQ4MotNESDA3nG5WXB97QZs8+oRmiZcwtmbfoeuMVVNQhxZoPSd9Gs
Y9FUUHhN0L+kgMRBU7Jb2oKkL0WrsJtkC8opQ9UVa+TxAeqWtmBmrLthi5L8OFr1sUpXmJKfLNup
LR4b1fzYJaaGCWsTJ1lGlqQnTiqpum1DNg1QYZ7XZF7KC8RMyvNlBimbNDlZusuhR7uoK2c5ROP9
oPOR3Wd9clfMIO3VKwjyU2jKdeXFZGKMfskwQrVo84UWxv8oBZF58wSsSYQWe7fczvaIs3Epx/Jg
IJeDLzM315qffEw4mcXIfvI/KFyxlXkfKqhd2lnmjwO7/hi1ChtVDaJVNu6DafDf+7NDrni7ZdhN
5Fy5pMdI2PwdMRWCv2TuGkgPL+F41rX/kcb5s3cxIU9OaQuCqy+cIJh760vELOk16lv8lhlmDDM1
j0pmnFfFHZ/ZoW1QCQhSBL0BNu6gENtbcbyR66YumofPclhOInRzPiIER3b27qCSRmV2HIla4qqH
mb/AYUXmLB5N7ytU0sE7b27y6va+hQJiwX+GGQlQNnDuQL4VbOe2YRB/dxIlT0HMNEYToYPdGOEC
HVaSaOB9BzETEHJX1fRUuPk36ijwj80vgRsoO/zpVdbBZezg36CZpAyH8lDhgd9OGYdt4WCpDhMs
SUmCOho12EjQlKM951RgYUSpPp7sBE5ZixodcT17sRQLgG37W5CjHz2BsAQsfcChuXPSSrP7XupN
EgKadqgM3Wi4Wj1I7Rgb8dx/Mc4YH7t6kSfS4zeCv8BTTNEJBQBeYBtpSDFkNqtAAKN/BmrHNCoT
v9OkTu0C75wQGs6FdLw1XVCfRN8+My/QCCCTe38W+Slxgl2je7oyMd/1hBhVoSBwuGVv3unFoieV
R/yKtADcGxtZ5MED12Wws4pw2laF+6hSTsKKgf92qq61iD+jbjhk/tQSX78Q7SMJTikcYLJyedQt
is6uo9vJKFsTpBgNKhaQGVwEpvBZfk+cnJxzPSarLRxFxnINw0m7i+1r5X2XLvoXyA8HhSrh0jXu
Pg699pJEe3ApNmGX5C4yQi28ziNeqnWvyLbGeaxTZhKdf2UNo7ixN+6IuoG01egVizGyISGzvzFT
olrI+yBNGR4irHRJzAWMVD/Vgf7I5UBBH5+nhfR55scbNAiXzPpQlvPe5AUmgF+o7Uh4KNjLvDkX
q3W78h/DSl0mxPBWZwMj1V9z1jOPB6bSrPHRTZAj8m8CUB+kd5VB+k2MBx8+cgZqDnq9oMOgKEd9
sOoJGXWj0iu6H/5HwxJSxsNXwNCut3gFEn5AsNjWzu8CuNxTDnZlGkGHTMW+cRm6o6lMyY/S+Cj7
noreQheaufOPn302ff064el/AQ3kMI6HFFEQxpmCzcIEQnbHOLqYUoW4wax8yltawZLq/SCsoaNN
LZKd69OIVrFtkbjjJXuJ2WQpEGmzwCefiNGSsqcQpRxylHZ6S2M27ot3XF8+giB3KoOngkUIIQFp
thE0e/eQDfMlot7nPZ51P2J7ZUMlAQGNBKtmM51mNzI2wSE9buyi4+C3zDU30ftSUFUEYsZpHnPm
lXpgpbAGeSlobYf96+hMyIbXIAAnnhCdd9ZWENy9VTUVpXC7zzpKbg4jlzKTh16c1tOhXOIXgrjI
Yy7cP0FARQiz5gfbJ+iIFBdO6q2ZW8Kf2CHh2LQQSEcdA1aKbr6pUxVmrHDlHF69whwKShNB1UPt
H78UJNt4gsdfjuMrZWy5aQrMkcDIJUkAAG5KlsCAseL5XxcmR6UJPl3s1Ra/ZG+RiWuUr+1NS7XD
+Ppgw7+Z8ow8S7CEA/gRXK4LHytiWkAmeKyPfey+qYnfZsBJP7n9wYQYauriyEVs7ebCx41iylM8
sv73SOhTcfKjhuo9df3fdrL+I1uPWRUF8LUSguOwSbs7wL+EBQ49KqVKo84ViGqz+T4gsXjLiYbm
B2hDU1qPyAS6/eh9YKA4txESNiP4GrTzQ74yraCPI59pdaQYokgDvyr2PqK/pZqJ/KlvS1AdebbX
HYdj7fTQ1U+p7EH1ElixyYPkULWye3bq5SgJId4rj2O3tcK7yOoeFxnTQy5sYA3N/gb5LSPMZe/Z
zR6xEhPjkeQHQefn0bNvPP9K6rCt6r9TrdGzWgxvsuHYBPGfgqhAIjyyPevvj2EoEDVTJ04Bom51
ZZXymUZyX8YO8Z7Z+5S4NHiMI4Fpn3jDm4+UxSFDCBz8BfXdGNGWj8bDAyEBTXPaSDO4lNJDc1QO
WrlpRnQkarnLmufOiIuxRHggIEhuHSvuHwMkn2TfcuIhGxqZCZ59j8WAyXmBLIUMQ8T3S4n9dFDG
payieZSd0UfpMFhM/JHAsrzlxWNQ33O85k7Jm5N1DN2VS1Kw8ZIn3SZIBKhABqYhcEVpRAuUzTvd
aP1UdY7NIAu/hqJrV3VDz+i1FXAqsa1c9eVgbfsP+eKBr7hB98qzP2fTl+6d6mgn0Nwcpzm6Q4oR
f91yKPY/RxCe7sUuxpdJWtisqm7eVAZrLQEmd3naMt/AI0SHSGAlOgGGr9j5v+05eXHnhvE0uaBU
rJwyAV6EjrViyo43yB7XuhpR639TjADE5xqVKRazprCoREvQ8QGyfKSK/XsSuZ+elUA3ADU6ZqeY
yPqt2yuWLQ5mXC5ZUHZ/Betw9vMsK9z8PI8h4gGJ6cTQv1AmoOWH4I+HJglfa5uqnKij4FzzvXSu
YOYkMHSF5XDJfNQVwHjRAa3/kI/ubt0IACqY3qd2DU6t6Vdx/z6LdSHEl3hScP7RB8XmUifTntwF
PoeaMslPoubSUfQpn7jimfL4IRfqoyT16ApmrNxeekNBm2WWuxep89iXybJhP4u72f1ulPXPDwnA
sSvvA64XMvUUVRlmqUL6+kHObKdM9NjFc4bqt3kDRMKZ5vPXDHTJ4D0N02M1z88NwoRd5hM35aY9
vsgqblE/XlsbWXJbAYTzKnYupLb/1i7tn67x1y/lH3+wz20SM+LQ/XBMhvQpClmpjQVuSNdzHmhk
YfGgBUNSilAZxfmt1uQ59oFVsLufSuQtSG+445FDpediZk9WVr+2olSdHajfxaDvxZLz9GOTh69g
b9qa2E73n4hp7NToHtm4/s/emTQ3jmTZ+q+05fohHgB3AI5nnb3gTEoUNVBTbGCaAvM849e/D8zq
7IqotqyufS9SJmWIJEQCjuv3nvMdZkdec0hySrJOpxFQ5kBNmJXTxrS66KQVNATldC294SFumKoM
aXTdSJkQIntLRAMeTiJF+CD1J03p4WaA0A5H/9H1u/WgBTfDYF9Pwso2jILQokUPagwQWOJhWdsl
8oYwJ0GtbrmZ0VOPl+whohChmlbRmMtiIokfdQMlCd4SIteUeCPTlofLCGeZ28nVALt4pg9wK0or
l7UZokoBMiHDW7b2JoPovjmDcUSQH07ETNCMQdnBkG3y+q2uD/3C8BkSymGMFsLy8A1lcmfhVtlO
pnPT9WwLnNwI99hZ+0Ml5J3SkH21nji6SGgfrEqSJl0Xw6oIK5R6fVds6mYe7TsFU2Pbo8cbM7PX
ZHhq7Nq6Aim7CU1EOnIOvhBJWt9NIl9Hkx9hpWoIGxsgYNJiocfmZO91PUl4S4W6JqVc3QV5D45i
0G7ranjpFCY8QwPX1rJSoiAwrzyVGtfjFCDP9xBrBBNtbdAudNw04I1239Ht6TwGAmFNmNVYIb1F
rvvqOTmyhiqvETb59i5wXCKo9GmONSn3BugiQrfb4Efvd4SfgohYkOWMa6kg7yaMxOPYJQDUMMjT
1BL7qRm76zHMrKUXwgNJpvpG5IO6KwtxH/Rj+2Tow8K0S/kshH2wfRtmd+S+aRGOD2o52JSV0heG
TWKZ1kfNMss7/L1G+iPU+52WY4xtx5bZH6aaxSQhKhM7EkbbhN7h4Djkbwe6+WiNxlNfgrVfZnZD
VQgM5yGCOLCnzUynstm5ohvWvkZr2/aa4Bj5FTWnH6wtRyteA49PbBL+kdmD3Mmuu636Nuab4FWD
FII4FpmzVnnXWek2hJbW5XtO2U1xazSefpJQIe4G24bO0dcEhVOOM2yQcbcpcWdAH9H4SIycWsnR
aEGzZDCHpwuyMGjJLQDsZLdZb7Kgp1l21U3iyhxjexc1nloasbwtVK7udenVN2Ek12ZmEp9MFs8u
Ell9KMj2WPRYaQ4iyd8a5FZ3GVoIHJ7lCQHsh5FQJFMfsg9XZnkKuf8skVB1K8Br2KTEtKaH6hO1
ZLmrBgHB3uqc91Zz/FsIysTKlZm+qVEkEmIl16EfGDSI+DIre8cqunIwQS3Zx7s38eXPSlwG9DUe
3DW8QfNod0Kt3bR3wJxiFSRIwXqIa5LnvWEWFYMak+ODbfYfiLLRmZbhk1cRx1iEORhJMgUdyyNi
08UIZ5tpfmPq3EVJWlU2HKOmo9QIwx2mC5xFOYk6spI3YgYDkXX7rIsmJdWzlTeamaGBbYpno7Ie
mpyyiUze+8kPoO2Z9DdVaCQEyA3i2azF3TA211oZVbuBjLHbqQrhk2Q3ZjCAkZ8/qaKfg0Ui5Wxt
hSXH8r7oPHw1Y6w9DlKHhYJSdj3YeO4Tr5zu0e7dU6+NjxJwEvimwPAPQrnWVTrprA46MomGEfHB
miO9KUDSo6xVdUodYseoS8J3v6pOQeaTbmZbz+SVo6Abo+nJCrl8vKCOHkIPaBAdE/eUtbq16WR1
o+y0v3JURlXqVNV33W12pIm2X6NVbR1yvkrcIDcA1rszMllraWtav5PsOmp/cE9e3zt3Lg0YbSzv
Lj+0Ah0ePOJT7qbnoI67Bxb87qEWmNPgbe17sDEqj4Fj//nFiKhLouQQx10P8isgtB5Fzg5X2sAk
CVCR2flHi6PeB4RTHC8XnyXDjcikvEIVLG40F3bwH9dK7ZT7jDUAU6MNx4eMAOfY64zS0nC8Nf18
uC6CiSQoK/RXDQMHXPcJOmho+YkD4G72EWRWca0BqEsGWD7cLFMXBtsv39JDvory2uZ4C1oLatEM
TF9cXb1OGnvSSAzcDCPqZMdO2vu2IqUtf+g6DaalPe2TKEUk2mYnXyGoTRHKqlCaKy3qb6MaLF86
e9qd6cOlLjWRVhpsKBaOZZfoM5kPpyjktYmOn1R7b2JgIElDQEB/k9Drhiu7Epm605BYwxzhJqbT
+KL4SI2tHlK3dT3/D5TR3Iip1/xlzSLKymZXTHMDKoaO6ksPAajz3qOE5MyEuiJ8bFQNiMBABxCX
gXpgXsBam+ymDH6EJVGto6MJNsyZ2RvgxE0i+8zQlAUkDmdd11tg3ZvsxK/CTntsFWb2J2wcm45N
nq41z45P0Q/U1i1udBdii8rIpiqzH70X+s9ZRmMzF2tOjXTn1QFy6GbuL1Ze+CjneHUb3a7pmPUV
N1WwdX66o5/KdQJWRLU9k9t23F4eAYJeQb6f+5KXnxMJ8je34h2ktXkDIecsQqP3VjTFrAPOB1RT
DqCbgJb6RDaYxnQaTVAMerFucpZRRYNT2tw3LCKv/+sfLt/98eWib0+87zZkiP2UQleTed7u4Wfq
9B+seqREDZzycPnOGMmxCoqOcxOX7aEtaeNoqCSSxeVbFiO6h9+x/Ic3VeoDmWTC01uh2tpjtaVy
LshZa3+slCXZEgZKZAcqiexgMjzZRqW57Qen3U0Q7wqL2UkItX/QsPfHVFYjOy0EJ7tWtA+JTZU4
0CLkzYiXXlxc5T6Z0r5ZbiuN8KwkxiTBaHehWYzAsO2XLRYe+JfeBj3UlmQzN4j3vt89xBJAz/w4
utPbdIYuRsX0apg9+FsmTEON1MfX2T8FyROkLyYMCJydRJJv2o1A0kazW6YpmgNhoiXNi51Tu/Ro
c1LH6/Qza/2HzlBfEmVD7CGmIn+P0zfKQ8hd8ZEBkrEn9PR7Zbd3SV3RGeREJvDTof219DxsnFqL
b4ud6luWDAe83NjgHzxuiMh5myupdwhqp+ZHOkzHnuh2JtmwT4x41UwCT28xLjjX0Ix4zW2smDdo
hE7l/vQ0mlR5wSQ3ZkvJmsf35igpSGyJPuiFyHHMVAMj3NKm+GJ756TW94tnx4b0mIWsy2obBwVb
yCk4GXQTt31sgklub1CqtkNbrWKzsTZ6OG0q85n2b78AIn1UuYHuTn8KRPOF8f7UJ/UGewQCwcD4
DlaWpYnpruV0t1A2Hwx7NnL6+SFKnA8YmXsnwB1giBWyMVy7zF0XE5p7AXQwt67FSwXXoqvHNXKW
doHSV8LU7l5LbbhnvPliBRXO3oj8Ph/bBRW6f8wcANCGCnO6jDxrkBI2HyI/UtHebG8tAzqWQka+
SFG+YNRgJ3hQKrlnbn7H9pluFSFx0saH42/0oN04MxvHInO7T6Zn3vWjk0LUgs8Yukv9PueGi7Km
LeoXRxZb9iLUDRrQ6QzcrgaqNXRpAOTMu/3kNoanbSCcTke2EF5UXL1MMQ3uPsLf10MxUEIjaV1P
rjHAYf+KBkCM9heyg1utY28fpvvZbb5E3WUZczmRv7g+IqA5EBkdvRzRtwhnXTPayYjBYRFmCgbT
mQWOHNy0R83bW/2tLLszeFXoBV7xPtii2SY2jcosuqpHwNGhW4mVFWonz7vWE99bYepIscN3BCxQ
ubFqMtnr2MkgmuJ+oJfuj74o6NxEj2VPzz2sgDbnzMNgeX+6rFh5Dx22pnTMc2Scpq9f41YcFNN0
KB6O6raejudGm9wDd2yGJGbNcP+zY3p7Ylf/Pk55t0X6n4P6wlHPqsMO06RtUJQ3mYUK1846HHZa
D5Cwqe6xqEPTHwcyw7hpL6KopRcVFmy5yNRqLUscLc29afEbMCmmW1+W+QGUYL/wiZFd+m3LbgKF
jVIt5gRVsQ4/AOeDAVPmDJGrZO+pu84xniKyxKAI0OJQdH8J9yD8I5PDrurabtXn6PaD6Zboit04
VviAvWCDapP4vwioDPOEk5OHj9CrcHd9ThNKL+IGURgOxpOff5SJera6YdihdalXMlFyU883LM1P
rqEi9rp71O34sUg4Pg+03iIg3I0jYMTpqC/PcOEoNJuy1YolkkD6aBZMffw6Ye9uXR+SuuOG9Jvn
ggoUFl2DbPaznnim90SpN9NITwzz7+y+/az2oFWopONTM5boFfsd2ruagZT1RpHGcu6VeyseXyQL
qpra1TSGHA5oOj0eX5uRLGJ9WkMgdPGecJbbgumEoQGcKPXXouIZ7boS29K6KsyA03OwPopaHbsZ
w2ThhcnsCrKu/33sYjoHTX8YBIqUKv1eEoRDYicryWjvCMt98rr0NC+B2oSHNDfvB6aTTqRj6b3I
1ouXVBQHXNS3do9otab06SftTYuvXMs+kw/5bNREGKOBbR2qMGP8HiQZftOifWhTZMUxjgQ60hMM
ZsdAf9QogsvZBNnNV9zYxwarPdyiCW1AFTW3BrEkOamY177dHe0WF0NqfTT42OrKuMnQoepp3nE3
cTdFZG8d8mAXrvDv8b9spzZ8nNMK9FaA4NmnMGb68Jr3/NZKix1XxXVZ1y/9zJqJ9Osh8xlvyo+W
qm/WpGUW00qqUHNZ6AjnsX4QG8d21YEmMo71g1Dal+gp2FvzyZtedT8jMTIDla+v46aHANtANEhs
DCXMaRZsim61cz+HbbKVrmcbCj4P5OB5V2xrEtZNyz1PISdgrMDk1fgDavcUBeWB+funLSZ/Oflw
ALSuuXMDncnFzFXMJuMzksx3FNMQlhNhHKRO2P2INCEMgpUexfm+ilRFEUSA91IJH42bnd7UkTaQ
xayatdnPOczCLA8D0qc/vvjzj8HY3TPHeMDAPzf7s2Y1aFSNeouhr1RofZoMMu6lQBrmQgoZEGv1
5VsLz9nAXHsTo8xwgqFbETcDeBE2DPMkNywOcv4SepjNO4HzyRdIC8vyqmdIxHWNLUEaHFamt2wf
EKweLl8SEzlKw2fFWI/SMA49ipYagNyovANOSVRPEs0UIM4l35SHyxfdRCcW126H0Mg6pYV20+Mo
4VKK1lWcv1R1JxazlaIsxRZ09YGg4o9iGsxdo1fwAStLrqqOFjjM5ZWeC7SKJmCZRrtr5jmX7wXn
1pDstlO2gkH5onQ0gxR3QJAt8TFhlKXKfBFp8+AKqgLSJrR7JjMxUUS01ryxDdZB5wpyM6JZD4en
yMSx9aIlLKc1Sbc5HH3T2cAkeMYKT2+R1cgZklNN64oeZHCIGlJ3KR/uCxBcFLPgYItr1U8OInJm
gUo8mm2Y3+kKa3TGvT3Ci+9qEz1u+TRNdAejoQ+WjhPu7cR9RYCumVFw7WUxLh0WMB+Rzga1DGJc
eBtUd5N0qxV3Hh4D+Vw3073tiuthol0t2TOz1F4NvTpatXv2ZhdWDfxi7COqB9VeRZ72VfsmYQGf
Bspi8Pz7QHbY85cBlr3MhdOcEwsfNPJo9+OHIYwnGrqfFtWR0/ZIU0q5xbC81bRdFbaYgqv2YcoE
WzcR7QYzIINLAh2GiruUnOv4zoC90eQMhopU3aF5Gdlc8VGzEnITWssEM2Q1hHusYO66MnGF8Le0
+HLSxi93QZA9ugHzwrQeGP9VW7jKzKcGTkpPozXHyrrqPP6aUejXRW7fQPVHJNJihs3M5EdtZM9O
zo6LWwqcb7f2OcFYXMh8GQZKcbvt4yO4prM93lsOn4hONdAq4MRGXTKge5JTWWPAkFAMdcFTUdA7
mTaw5e8/7ASx0SAj9NNOfV0oS62ILN5rURAesDhk9NIpBbVuZ7UWjZy+R4oMQQp6MfPsVTtUD31z
Hblh+lgNw7Y0xBPEVmztTAXDY29lzHJ5ARn77+3IdhCYFZHFJrJUI0xXHYYYbu0IxvqMxNPpu0Pb
CUk74iEDXU5eKOaB2NboQy1FiSqmqbpFESYCtUL3kCeSEpPpzeRX9k3caeD7qNYtoP4jbiW0PYqW
EhNa1GfkYlaM367whM+iCrQzBq2vUsOHUYaAqXPdvy4ieWPVn0bY3k9CR9KeNG9txf5BK7nSO91d
G8K696V4tCJeji5e7JR4jBt5TXDiQ4ObZNtkmAab5pMZ9NlGSrUyTQ7Jrwj9jcT7KH1aE/aNN1H8
ILz2VcwARjJwkxCYy7eS1tECV/j3IWVf5iV3QHu39pStYotfLFqALL2VPE2gEbHsmwwvORMtKrVg
ROArDb+/6UYJzRorTjKUdOfyfJsZbIyw3R8mTctIc03ZrPf6XtRy43nueB61xNgozTvmY/+AM/w+
SkEJltVnoxkxbmwKgqnjmFuYi+CNsFu0L8AzEDO45lfbBbQRNeaYhsknxnSr3hpZfJMJvz9ofX72
wuB56J1oTQbrLW2DameBWautEvenJoAZEJ26oj1zI4NT1cTUaWbJ7bLIvqOs/j4qpjDC4hCKEgxg
OxfrcyuLqB+DdHIKEBIVaywk9Ddr3uipLcikSEOQcTHvjyBjb5KUuRXDPBQR2jYnfhhF3dCjjNdu
QkXM+oS7BcWVvJKj0jZdSCyBRja57pQ7MBR0YIsGiIRldbzNKlvrMeNg2dLVQIag52+w0F66ia16
ZfT4Z0VyZOEloCBMqVh7TxyAqmcDm8aAAkSUmKIiwe5UWvJVafUelCfy445ht9JJG2S7364inZwk
GmwnLX3qu9qlX8dWNUYQbjXDHWhiMgfMEJxQyMitL52vfIRlgUTrq6naKyr2cvm/cWv/JG7NtPW/
ylt76N/qMHnLPn+KWp0f80fkmjC/GcLhSaRwiKtyjD+jVoX+zXGlobtCSky70iSM7W+Ra5ppfeM3
8cSZtrLwoar/ylzTTOebANvlKttw2BI5hvGvhK6R1/ZT5poyMN0ZChqBY5o8KwqKnzPXnB4wnBbr
2qKuVbEs/EnRPprbdk4WPaezlnHwK1wscijoH7Z3us11V8Rjt/Yi0K7ws7aDcCR4AFSE5ZwBTX14
SipJynprolQFRgHVhYxyrXpPkwnTiwTQWJJINIYPlUUAtjkxs4B87w/YN1qcA37f21fmhK691pA4
o5bb12UKFqWlBZC532F16y2ScSLP5LVnRRZT72pausawtfPM2gXJ/TgazpU2OgxEcGsOA/cyq2vv
LNs5evU0bua0SwYqONBPA+AIWtfs1xz3zZjpzMtyGOpjNnlPE2uyO0zDDU0PSAQhVyZ+HHwY+SpG
Srps+y4+yBI42CToSM7KBB2tAvrpQznItyFuKVCliNdAHUbmgXypu3Y8TD5LIQCpL92EMNx1AjdM
k6OvKbmmLfaDhhvhIaR16dB7XIY9aBkyp/bM4J0tGUItBsmqPTA8xxZmZbSbuVEzHei7vUBNRTWo
42segR3kaVPvWs0AFGwzaCsA/mDiHPRzYtxzLzLuugEgeI1EFYz+utTHeJF8JGwSrkXobQ2jLHaV
VzuHNqbb5RECuGKQSbCloSVEcEXZSat9Z91qNWMunPv7ujZOFiF2cQNgpqgKrByzyErdFG51rQrL
XYwJ+97IKA0EisEBdijd+b46t4VRbiEAz41km3w+ml3HbP7CdvFBTGx0Ch/5nhdSbBGWmUy0zwrn
PJo6t0PYjltH0xGgxyrcKm0P+RIlheExgLXrVY0FiptTdBSNHm9S3eDNLOhxz4mAVmONdMEZuhoZ
b6EQ+h3IQxykWvtuN3mwhdsP+xGRGsyEGjMWcn2Xu3afvIYhvfssstfFDHepE3g4tA7RprYPio+P
JIjLxhul87CZMu5S/dSNR8dMdmA1vgK3Kl+MDlVDVKjHyCU0GAlD/WR5uPKq3n71B5QN87NWjmNu
bGUU6yZL7103ZbPESg9o6wPI+ZFwA3VtumN0UwyVXJSR2RIRNFTIHrItoAbUCfl9mcynu91oKK8o
e6pG4G6aib6ByyC532qm3527rN4kJKZs++g2jpnvinToXguz2iZdA3DSMQ79NDwIVjAKoeaT0exj
p1XHwKpIvhC8tXF4yDEhoXca5WJ0rWd0gAqW/jSuJg1a+Gw0ZgREaENDa16XyJ87WGqiTq9yZvCc
s9GabXF1sqPQ2fdCHKwJ0Q62SY5bH49+yUx6LhXXWokqtXKkeOuQp4m4Cz8zWbAQZdbeH2uHLDn9
RdcdbzfFzS4VeI0GhGpaa91y8z+6MDRuExaWQqugylj+WsZ4DkpFTsEg7qbaK8CQPFaSbZXqEL12
Iqx2bmR/jV1OgoltgWHHHgvwsl/SZxhWI33WSTIyTfWKyaM20YLp820a5j9C4IPoVkfnadkTY7Uc
iJ7bhqmzMQfXfixcUhmd6bshJSJx1Z9Rq1MsEqZzSxIuLWf4a3iIhHSe83HYmjhpVwzWzIeqAT3k
9t4LogZxVRToecgBuRcUvGNiyecUWXiZ41dp0ARvHSNCoY7LgI2I362qNt0HqvyBNsY8uWLcuBYw
f7tWHjF42DazCaVCYEWrTm+fReKtQ6+2N4KrZdkmU7Mn9+vcF+DKC9ldk1DUH3AMXhngEJfSM9N1
NlbaxtZrmq6sOD03BsSau4jB9SbpXJykBb5dRe7brijlisTS5Ko2ntENeIeovk2pZa6KJhB7sLoo
ziqG4xHiZozE8Lyqo5m20QHP2UOnety+Gm4LV4EQ1Y3V2GAzCGJrSz8EbkqO4XEcEWECHWZtc6wI
Wh4jt0rbuSTbbXSRvWg9bnpWi4gxKYIBspFeo7hQa2XVD1wGP6YhvHZxKp9Gwy835I7iACJabkS+
HySETRSBHawMA74ZA19/V4Pu2tDHNnaRF74HKc2CEIEcDV99VRdoiSoS/hyldr5emVi2Sm68U3it
yEdA7ANkSyUI5UoQpnkb7ANv7E563lWriLDAOzsag43CONK7fXoVNXSrxgjBQIPEa6mjnywtmd9J
Gb7UeltDJVP6rgehlKV0Mc3MUei9LLGOWfwfCkVJnVXNqQYslQ6atoZ35S5jyGaOhNqcae6OgdlU
ouDKqwhAt5SgNbhBremaBpkDI0/7CIzJImQx6+8uX7y5qUzIijWjP2p2amaBaFoOiJX9dEDIrfk7
Ggt3RTNRRJg+WIfK2XcIAtFZ9o96DkZlaI9cXOa1WeQ7VpDuziIQYJF5XbLXPG87eYToGNqPgtWR
zNAh2cS58RbH6CGT4tQpjx6HUS+Fct6lzu22cMVLbPk4uz2npBeMZX+EAnAIEkQXkcpA/A2bcLJf
UgqJTeP61ZquOH3ImDw0y473EVUROWE2QlPka24NrojiHy1aWbOhsrLbOjQB9dQoyAl6tw52l/f/
W3yzqSy+fv/tI6fbV433X36Y/xRdbP1l7X2Vp3n19Q8P+KPwlvKbxcIIQpLKm5q3/6qb33+T4ptp
KtdmH05wtbTnavc/i27D+EaStWG6dC6VaRkuj0IH2QS//6YZ5jdp6jZB24YCcKdc9a8U3ab8OeiY
ZGMbj4OUlk4fRbjC/iWsvkv1Kbc1m05h4IX0NTRCIKNnMEWHuofpMLkoSzK2ki0sndjEBF9M8RX+
ylcX+vvYS0JkGthJLDHvFijURMfW0SU0fFUJsNYiPKTA/WOMH63LtlIr0A7AHhaYCRBS6Ig1p/4K
rSuVec3EwA/4koxPoSC2PPQmGK8ZIsWJrbCu3skyZ6TWWuTP+qwwTsyBmXn8HsOZgsnAbxeD/uzb
JtFUvI4G5GhBgtcD8YrHhkojGG0EePP/HUxnPz+yCzexG5hrW/K6l38myTx3gyuYz4jjU55yMNnu
NrhGCIgaNuBboxlwpFGvA4OIxdos0gOR9uCvzQFDkoIblJHcSQLaQFGKhZJIm2G8MT2bNqRzM//C
lJSEp/A/ldFAQJ7/loG73UpO8bEeQHFe/iBTSGbo4+ukeN5BWazcFgpFZmKf85Ncnj1Nui82dHjx
Sd+ziY9a0kUf8TRy4JEsjgR+3g5+8m47JW135PiL2NBx+WhnlLvAjlqgFnQ0AAcF7+5UfLp29FAG
TCAo0Jd13ShY3G2zbo3gPeo0VJAxfB7Vn9j1g6P3322bN9M2K7WqSgYfEbyqyiQrJ9MKELh0rNxC
75Yy1Tk4Omb9/Fe2lruMWlktrfmg8n54KaD5L+rKPbdR18FFwzwH53YFxZWP6yLGBBATRxMqI0ON
aO54XFL00PmhAkNuDZb2pm0EHZR6pQ1CYPrgXIYA9355CZTiJ9yM52g+TWTTXis9gAaO5Y+X1Jj8
4ZlYd4pTuR+Aqhix/aVcZ5vaDSO5BH8Hbw7tygjFfe6KQxp5Z833J+4zaK8NcBXZfJ7UtNDnM+Om
LKxnBK0UWbyxqbJuAi18B2d4OW9u5tgV06dXxP4WdsHlkYgd/J5dUY0O5/KGAUc/+gAoESp0Cuso
gqqujs8dWOD5BtZ0UltrTJMXadyxM/DQf7SEcih1ADjFpdzNp2PEhD5qXhLaSevMLVfFMNIE0keQ
283m8sSXt1tW4kfSH4NyuibiASRBykVyOa54vn0y7cU5erocrZZzKU82OeGusbn8isfYiHjyeg3w
98wwsln8XQvjNme+nGf/BhLrFo1lU//+m/1LS4BlkLaTSdSDA/GVvcUvLQG7KD2GQ5T4FouMl9p7
09L5nDR1vrz+X7/a3GD44xj2n7//Nq+FvJotWFltg3aI+mUtNMiyEOD5cOmMXLk9141/lcQQkpqi
3+iYvrTOOc8nzV+/7K99j19fdv73j7d7vOS8I8b/GeKxrpm88EcqZ897/h56DBUbrvZ/8m4ac2r9
P/yBjhCmbfGf/usf2KdZXBJNbS1MwUrUeWeymLiwvfOYOyEI8aJZJxNXv8tl0MOTT/2OOis+Z2jh
//pvNugb/cOh2IyPLGXydlv6fKh/90f3RV35hoShEWI27exmjy764HYs2/PxgBGqARtl14bh/8CS
3cU1+S/yeT463Pm7CuE4DD8UA8MTe5zyn71R3N3/8uh+OROGmMpw0GfbYIyFFRsMqeaz+4zzv4zA
h3ODI0KIXmwxbiVsi3/2+uK/OwBHwvE12CyAbv7l7XEnhz1jAGtc1fa+rmrGTzHm76EeuVPOl2k0
ry58mJ/hrCXp3OvaVZ/oG1iyoCcsGHqjkMnED8R2ZwsLKeS9V7w3LFERaEHzbDSKOJyC7eNYQDQj
LSYBgMbtgRvJoL1Cygf2jdmRfsyV4E6ZzbeJ+S4f2WgL2uKEr/9GS1ux8DOW6brn6NKSZEcb8n1o
U7VDvQxRveF+XJMxxgft97eXW4rhMkDX50tsvtUYkaLd3L/mBb8LMl1w2LB6aOXgE5UkFEOudEEI
zqtoP78H8zdt/NZISIrzn0qyDGWCRbAqadgqMd4KtLPzraMqvpBZ3sPy3uL8ZsI036zioTtPVnJC
F3cuhy/TE/TNCZJbtK63HtN8E/dsKCWxiCmxdVweug9+2zRIJ2Jlvdx6JieeNuPEj/HlLbPoHtgf
AVMyUJG8wfPLzCfxpaLSfGoWP0dVVTIAnmsOZz5xATwBBbXU2XY3reQ27JJK0rC0/FHeWHDcM/O5
ryxQu/y9l3vJZW0PXT6lrJ4fjdSD0pHY3/lR3EPsEgUtn9JfX6mmMS+yv6waXKQsjeRquEynflmf
FOLfabCIF7xUgm2H4K0W/t2kKL8Kmh3LSOB09zmkQld7W0XvDrrbwMtfMA5yr+etoOvw5dUawn1O
mPlNAB92K7PwYRT2tOtCikscipzV87V/8mv9pcYS3qHdxajTze1QPBf4LsYxfAfgwdoAWmDR6OmN
5KHa/LbPD50LT0gtV7pW7HLiM63QuPFjKpB8HqkiiLfTyFnMi16XJu/NBK3cTEkw6bigmpJzy7KG
767OSLREGMWvJPO7PT8zeg+Ye/jXgAzsB24/l4qxKrlXht586techH6n7tIseUk7TuWqpw7KE4jA
eX3FEhguLyf3ONCjC4KXni5AYFDt8OmqednTcKJpuQXGApN6VZ0v57pVfPXSnhZEwm57Xd1fahK0
vGJR2veYDLnQQyq13HXPo26daYT8UYNUgrMzAY9ZbXLTgrLKy7vcvGg58Jd2IJ+c9lr6810OX/T2
cjGaqA/n1aLPKdvs5q7nSBYipeYY+Wi1/qMgjHlxueTR5HDB9Op7XY7Lyw9FxNKSdsM5q+ZeK/+M
WSbi3Nxifbvq6GyhuzXf51UHIwDSICrK2PU/aWEvQl17E9ML7auHLOOC43e0sc+2lgYMaKz3GVZd
TZJgkrvoLSFjchQUY4u04DWrDpYYSeWnDLuCTPCIXqoYF+L30hpeGosV8XKZ5iY+LofqqzA0xn6+
XHpl9C7nhSKe17ZYzl+wMsBlhsI9X0hD2MkFpr2mwt2iMaZ1L3uUeRdR5xSHqurWvm582ULjk+F2
XdT2+XJlhxhWq3z6aoL+OjUZ8AGse29aPio3iZ6qSjxUTvCONYrqOT+oMk8pifkh7Z+AwL71Bhui
y/tAOF42xsdLQdvNIGEPrKBmYy6pDGfjcV6gPeHdvlzz//dj+H/+V377x8Vd/8e/8/NHXow0guhx
/vzjf9y8dc1X+e/zY/78nV9+ZfuV37ylX/Vf/tLxYXP+9Rd+elJe+G8Htnpr3n76Yc3b0ox37de8
JccE2VwOgD9h/s3/6T/+29flWf7JBp8a8+/Wxfn5//a4+S/8/bdHn8na20+jtfkBfxutWd90YevU
18o1bB2c2X/u8k33G/t7U7oK150rLWH8ucuX30y6qCjOGZ1htXZcduZ/bvK/zYQY6fJspk1/wPqX
9vjC5FV+WsH1+YkIj2NgS9eAod3PxZYzcQhJ5N3bLZgUJjPVfpoMTtD0SwPQuoYYV2y8hOS0tHU/
HNGGS9ssnk3VWU/2pIinLh644nbWVL6avnWlRvvkCPU+6WI3tNxZDU3tIeGy8xBAL2AgnUV3wLT2
WBYjxMYxfesbuRsZWCAnuDPL5Jw0dOalg8fVN/FaVeotsN0E1Fy50XWQTBNXusvoGCqio5UfSRo+
gUNKVyyZNsx249iPc0gLaY1dt09U+Y4f7Z2GCQk7ESo2lCA2bvz+I5sbGm4O2JhXvO+r4M4m6mtB
3ucimRC9OlF+b6buMjSGdpmbA4gcsvtEvsEv8J7XDFvg5h2Jt4VK4fp3EWHwLyLT1ggsVapba7ab
xaagm5u3hNYG0Jv3YBsRiw3aJrEe+6p6AdSw0ROAPHOQPFvda7NGOZOq/8/emSw3rmxZ9lfqB2AF
OBoHpiTYk6KoXprAFJICfefo8fW5oJv16mVO0mpegwujIuLKKBFwP37O3mtnyR0T2cg3Z/2Y6ZD5
PJyIG07tO1sREtTEDQOhkIqldGeMLV7no+xcHOrRh+jmL8JG74eezBTdcV/zsYL3O7S3Lm1J5VEK
x4FHl7Nvm29hkYoW1Z5vjNhonLR/0lj3Fm17qIcEbk46qS40wJES3Esru0ZVtiPr6McuzDek7mjK
AUlkAZHRZG/ojBaJHLiDBQr2z3yc4mtWnGvDi7Zgn46NJ+kG9z+DYU53nTA2QL/rayHPIz/IFFJr
ldl8GVvEbIa3wNXG6qMOvXeaX2LnTv3FSmKxS4T30UKmhqhWI5Wb7hxmx5Au7dG3CN+OZEz8dNHW
K5UJCMDu7O3QGB4u/QQXKk4Yd3BTMhS2AbmY1j0xBzA9jelJMpr0TS/FIac/9SOM2bYzvkoBmi0o
Qc1J2V1q2Q5nmASPAs3o0frXxQ1KgqytxEFYjlGW0yDBJ7WzM9G45413UGm+cGUqnafF1ekhmdMe
O+7+1+EQ06NY1ba4AOVY0sDp1CYi+ffL75/9tnDjkUkG/kJ0vul84JhUknKJQR2N1HEMgJOFnrXB
Iv4zqtqHtFIdjancSmdK90SmIr9remTzJjmzzHd5JSZ7K6xK22WN0x5zgm+Pv69+LwXIqPUM/2Et
p5E8HKYTq4x4C99enB/1r9RwsX9o5EHyJIAmD9yJtgR6+TWC5IcINQwg399rJYkmdCz9xs1uEEeE
8dac/ghYFKfxShBeedSxyhzTkHADrQ9qXwxAJmmFQHSZb3aG7yHQPXV04zBf2k6EQpSXuOpjvD/I
BZuJvV1HLkoJ0rd0Y4xqS7vm9fed/l5G2dYZswr0kb9fW0j/fNsYKJVHMHCE4J5Zkj/7lNSLInsA
tBQxyQlycKm4UDxi5o6/X1Kf2ExlkZEnuYVevJRXpZEhZjGDWoEK6o9dxfpGDd4fgxBCwi1zjYBT
WrLL3YSh+KIZ/XXg/L76vYTMJze4UREEzc5XTwwY6A1QxaKsJ5TlMwlUbfq3bKNmo9dhe1Rh1R5/
X82ODXINvlmppif8i71f1WTHtuEiZ5oW0Jor9gQ0/6BjI5NVte3x95JEgkRnGNVIgQ6RYTJiWC5U
tu0/r36/THWTKhWUH0tm3SDIipqjrgcN07/F3WN39To18CFAWCHJYbHs/Pp2fl/93tpIreOj+Y39
iGxJ+xb1AqtUjt3CSYNbMP/CLwFzkJ56bNvpM8EIs2M8+RHYIt7+Tj7wu08Hw3l2I4lBxxreytZt
D3NDvkKQCKiFiYHNRd5jeSUWpjY/62SiokK0pVFfg1KebRJaAn2Ufkm445p7GDQjZ4eTXWp+g4h9
X//LwmRq+XhAYvBYYYNk8gU//vdV6GYFuG8DK1OniC2kpUmv7OzMdrdTjnVOTbw0K3BmXKcC9gmQ
eF4axbhVGqEifHBYye1+cI/QTLnZYnYhfo9LmcqQ8BihpjLD4oR7rzilI3MZRnJOp5lrgHeRL7Nz
hIF/ZVJyblOhC+SONQL3GoholPmtTsj4FBrZZVgusiBrQIvCam32xV3bYsAiZokiE3icX93bbWHd
SUfs7LAzD5M9KbAJE/q6ST9ZbXWfYRQ6VK2e0BJk/YzMuV1XTsAwuyw2hINTBpQdpKWMD89tChfX
9wyXeyaqx+HlNbedF7ckEvf3qzSN3b0n5MUp++Q2G+bfELTTcW4fs4QdQ8Pnp3QLz7YMph1YQrUu
Zdht7cqwFoPKHjCK99mbQ0Vy6Cl2B35H7XiK5vnQR+gr6wijsVbywTRWFb8HZu76WbFYbjuX4MRm
vAxsXXIQBK/S0a1coN4WKLWRnbFt/DHqk40xFeOuMeQLDgX4dxZMpAyOA5NOKqE0HFHi0/bH6EEH
29BuJSs4RyrtI1TAEA0szL7tXOc4Hg+Zk34j5Hwm91rS8u7Q1xhAtGYIF2xGIAbSckL9qcslHIqD
BRmZ55Z4TRQCxzbNfNJIuhVhg/UGItK8Bd4hUFPbK+IsxGhsLnVbu1srEyhSYzu+DgUB0TOna6e0
v3Ut2wllbiaCrP1oltoew537SoW0MAT6uZ6eugyJwBiE3QmsFs7dU8MWBAuVXdEUL31uDoRYQSdI
vTLehj2cYfbVOkScm+MRr+txYRZvdIvga4PcHf83jwGJMLNyeZVEsJ2E96Y38bgaSi/elA2DYL2n
7BsR4up96csQ/F03xjUpQYbGfgnjqV8ct9FF4ZH1geJ9iQA4C4QtohIoc0iZ0VsHDA0O/cXVhKMp
kOZJ5q0i2BBi0qgucVvnT4IBcELkF/jE+o6lF26P1bh7Peu+qx7fQkzy4NjaOx0U3FUEQJGqvmWh
JxDMdwZkiZAnPG0B/cHN9XuFDAsv+dlLgqPb1fJZH2ICn0bssR335soKoUO5zBLMsIxPGslFPdBl
PjsEEn3QUXYF6BTMkmO0wq6XupBn69qJ0M8DpjSLwN46HRbk2jEZkCQa+zZS6V7HQB5MwDVG5RgH
Dtb5WqE7BwT74DXuj0GqJSN8Zj2aq77SoPxB8/8NU598buJDTxpEIuov9Namm4DmzSWZCWxwdGAO
mHicvV2/K49nDP1J4heUOIiBpqve9ARxTJ225qa0ZsQXDqTwBA5WNcXpZkSs8A7L9DnNQhIKh70X
zrRLKuAzOa1OXzizdY6diJDvGdzTGOR/LW3EhdhYJotcRhz4dB3j4gV6yHDg7Z9TZgfcAqjoBI+h
JQ4xzAEfs8s5jdp90JsvJMlEEPvSr0TJUyUJEZsp62kE4i7sGe3ft51rrATG6A3fWa3qXjI30fN3
u83Omhf9yAY7Fl1aINB1dLZb89SjAd5Iy7DWhQsC1c1JXO3ixxReMhKaYyfMGpiN/d3p0VMN4bUs
7evYlmeF0OVFVXAS9Tp7tZoYNwBKSRTgHEI4dDeX30sIG/yfV79fBonXHwZpnv/vn5uyoCgUyvAz
EoRXRqv9CW0pN33e/J1CnNb5EA/M6Heq7eD5Z82N0i0+sGG84V14ir1xugR1dRRGIjeOwehudP4M
xCTsaxt/crrc/VmnX9Llgh5h3HYeavsob1wJebZhQZ/DJc+cHI2dGuS08aCSr6TQvlxkT8SeqYQW
xxeIePOVlvpPz8jpqoT51rjlk44c6JK51HO2U1xdy/3KxkLtzUSijVBzwyrMRCC2wFAa45lhj4/v
E/mdBf7G08L0XKbC8iMnP1HHbow8OqSL37VgkUb0Lv9UZvKH1I2dkWUP+hi8jk5yRSZRzpV3kxi7
VqUEq9uP4qOWnDImtsL7jny3u25hc8E1FR8BUpsVyebLzRzxqwaicfy9aOSCHSvd+8v+3G+71BnO
dvKUlU69tRscGl5ROD5TlicYlUvQdf891O4tSFr9yPfhbn8OsZxj0G5v6FCuEba0oUWW44q5p4+M
pCxvrAVjne/SajmJufMxcZOAVmD4UmKUnVBlzNK7j/Dog+SoWGcBaHJkvURO0l/yhMwRgycZvcfO
yXM6zfPnnIFSTmXWHLowe6jCIPZLLWjXXa6/eagHdzP79waJTMkvKWCf0Hd6Ntz6lCNQHz17jZ1u
sQ0OflFkP4NpvGvCTY52Ty53Po36qkw7+A6Co53a5EkD9M9RQFVIS6xSTBO9DqzE5BCkMV/HOmKO
x7Ixv5IkQn+GbZ1o4oC/s/icqbXWwmisu4QIM0rb9FFiY7sKaaNjLz1uj0zfDI3THGM3V2tFO3NW
EWFBRQxfWln7GoQnt+6XKEe5Q0pJmbXErLtj+WwMoKczvH78wvq1Qyv36Iadt+ncYAvUAiByGu5R
Vf2xkCdjum+xtgVnpGYca5ZCwnERHBH+clK1xjhZoEC182EzLHkyNT8eZApjR5Y1OJjaVefYBLsS
ZwPkPuUjvUViPGfnuQoR1LjNtNdGzzjVVniKwH6lEc3hEUK7G2n4v/QAHzerINVnV8wI3Rv4/+gI
sacTaWaJ2V0n6KgJ9VkMdUd+i8xqaxrHdmBCrgHXABuyA9VF8l1sQwehqXKvciQU9r6yE+COjX44
KOzXPHrWoQoxEZGQWKIAQgoGJoA2A4YNmLXoZHX83cqZwcTM3qGW4c+ga/tQWbfOlFtVcWeJ8HGo
YO27enHQRurDsjCpbJG+Naa6EyEreBhYpxKGCowF4PbUQ+gLdHEzhfyYbYiTaLcWhUCxFQQlTRSA
UyVHjiqStvr0EObVIXRNA0dkUZBsNIUHssTJYMZQRr9NrvpkumRKY81u9f2U3ReYxNbOiGukLDEX
yYJD98BfhXBoVkGECd/M2veAwy0/v+kLsjrPXrwnNdE89gQ2rIsU25PUwy/PWtKgUE9r1oRHMJhZ
DQz6MTzrWaNtSolZ1JtMUqls8P2hGR+MOX6TYpg++R8o24qHscu7FxxNrPrxT6F78lzTGuObBnd4
zqtDWpMpgQ3ePjOhXrrmTGhxJGHcluBAsXZYhO34NqlcvRL7ucKXFird12z5YWCcJ14Z7W8Js0ln
vSCOF+ovSVMCgTrWVG9rac2z7vBWa+dvXMztte8J/XBCVri0pg0dpyhOh0h7Mfr0W+sGQoez8Lmk
N3IYKbVgDrjEzptd/iyqkQJ8gOvj4QFlM/DVIHCs1D1Ms3o4CaL8/AixslZV0984LG52KdJPfJ8E
lVrO8IzYdCiJrqOxad9cXm1GMNqXzGEmVdjOeJwbhBa29spZM/K7rELcHOjrQS2y7CC9kTRoI2Oh
IoSqT+ep6/CLDQjTPGaJ0iM72SJ0InV7ssdcikxTed0JZtk8pe6+0LDXez00JH2axn1H9I7txNbG
g4NjDFO0p95TWFtCw+8a6i4WcOSLLVVVL7yjgW1sx4+kn8MFvlkOOObENOKBgRUYWwMU5eEMZdw+
/V5Csij+eWXX2B/rXgdrStbHWg2usSZ6lfCv/C+Qx85vOaHreIf6rP1qhyY+ASxtU704ljiOcCEa
p98LAOacgQ7Lh6enSDw4m6wd6A6eIytS6wu/Dpehsann+5iovNzusuc59Y5RQnOkiBFXeu6gXSdW
uXPuzSBXi3L6M65q/FNbjY7gycyWTI7hcZ6KvROUkIoYIAJus18IRrLJiNOabRMDQq7HzH5zvO5M
cWuThlIZ+IyncAPLBgZOHybXzvC93hyvdRVP13K52EUAiTIONmIqDtEIzU7v3y0zsA+yj9uNAg7p
T0jmSCmifha5/BxlMB+DjkDTiuVvA/eJmPi53LYDYwgyZyAzCwn8TxFx2KdsPkOaGZtJiv7Ui7Y/
NY613CzjXw8e7PG+dWI6vS6plp1gAVjB//UhcDeP84ysqU7C5yUB5i7rkAApnlZk6hbKcFopu6rW
Op+zgcBp2X1KbSruVWwPj1DRDkQHZm+601EWD/gSai/xLT3cq4nKoohYSIfIBgWT1l+yWWr7utWZ
KX5L5VQXlX/FkaOdYzYrak7z5sjBWTk2ynbnAVLCeejFXaWX6kIQJKFadfbZdk7la134l6S+OyFe
y9Tt/CLFXhIAAkp17BHxyYXFgKaMmBAnKekqyJu9CLDTDAVRGBLYOyl1iLIbPLRqSwBPupmi7jC4
VrIh7/a9IvsMJyNJqCnmvcErPjnoV8ehf3UEDbxZDLjncI96brONs29Xw49FLzFYT4GeXIwlU6Fu
4u9xRInm5hx1l8xhQ7pPXtqaGygN+Wuf1DdI0vrbkIK+c+pzPQx+V6Hrjfoiu1p1eR8vI7hY2p9T
iaEh/BHS9S6Guc9D7SXX2mLt4i2fFQaOeageiqo5aQNYWliRaa49jhCM3cbg4QXPZxRfFtBT2242
VgVUvfO06dzD1jAVgrExtu8nr4ddgpl0bUrfmgKUh/abBULV7x0WZ0C6zC5GTMKervsyGMO1R5ZX
YnebMu8m3zW/DC98trFSbmc8DxMIq1uUtjSqysp3PGmilAvepzR5igvZ7xAmnJSiw1ZWQBrHJjm0
A/F+XjQsR+YCWVRU1EfL9FyyF5z5malCF5vhy2gLc1unuqIHITkAzu3rHMEyahOvXGfKZk8KaRcs
qK98gAknrBzqniXVwZ4a+1XTNNo1rnuLhWY/ILg4NjJ6rDBQXcbEaRa0krOxe7zi1W9vc3n1+yXK
kYdgUnurSWn75lCZtWCElcY+Og6aTnCOfSjpbN2X2F5XJd+KYTDBPIyrdrNe7JN6flGQREk3aw+J
3hwNjJ3Q+v5YvfOqS45mBRxe+hZH4iIYqCNhiINn/Mi2KPN9ni5Veo7PNW3KnUzkS5y/VzrcVA8n
ydGO2ps05bypZHmZaqT/9MVyGvXYyS0NGko4ez4ixnVWQw0F5oe8k52HtuUV/+m9S1ulWxjrdKeq
nRKXIIYwSofrEUTDJp7yFoEeH2CbDBew6clK9ERqDEPiPgwmN5NjwBJrOOe4HjVm5e7HNGzwbqFJ
dLvoIU/I/7Pg9zbDyFYTkHoazUg8g/gwms0A7Jf0XNtFabN2yShPmmXkX7KJS7fZpKRikTnT8OMv
bEmClr5D4w4YGD6LkjSxgcE5GKyYnplM7/UtOXR0Xwl+hG/NPEWbAB6kGop8zCft7OxDSBhOPRKt
MfopCz+pAAx3QxMgrJ0VE3HCQ7BJnYgkLq/WaaLwL+1Ynqxw5IbP1cUsh+lapWTUjfAG1/oSZZEQ
22EgpD/QlXJs3pEAA3cgyaUNDePCmvpitxRiN71ll0bjodj037M2+gaZgsI8IlDYYzXcjp3fN1A0
2bT6FV7QkgDf/kUPqnfNUAYeAKQqXhxX/uTxbINGUosANx/tVydniKGVKthUSx2OedFoU3c9jyF3
QEdzgQP7XUm5y/HgyTbz+q715MZOIjzK5I+7lTEdi97YjROAxLROh6uGfY27n99PU99yozgRRgVw
ZtbsLd9Z3v9eSBO4ubNOfeI4OhQ1wKoj08KTo9H3N48yMd4q0nXIoIIpi015AN+pmxuVENFpNUm/
SdoMgYIlHo1ZVKTRh1sx1ctaynAkyBpsHwiGdtm4R4d5TPL2Q5MHM2k+eZ/HZMaBrOPraSSzG4u+
mrCuXtXvCtVA7LG8D3eGHVYYUX4uKTXXQ9L0QCpC7ezNQ7dpIXv4USGeCgOAyOwJ9if0loPsPUae
NsftKXiqnPimV/axNuq9Vw/ko0b1rpoGtKm0S0wzIt8S3lvTdk+BrRm7WbMQ2+oW8yPvNBKQd0pS
QuliVGAp94HmqGHDk5pzQh3CC/77+6anQdGQRBJMSLhzyBrYz0Ad4tjrgejT6aI2Vfld5apm7zAW
gRreb81eERKFdaOw2mFHq9O3uzg9Gtyqk0dCfXoYau3TCxbsFLKfyMhvmo7PX1PNsXaYGNONWmfO
UiGP2YjMgTjPKYGXxrOPOCqp8WjMp9yEE5OhD9tDyEneJE3YIFH9B/FwzbY3q26P2qS6y3rjlEyI
zcvhiBZWrkstdzZdRbZlsrASsepPb0WXiY1nmwVIfau9w/S2hEUnf5DbeN4EBAKd7NZAi79uRY1C
EvXoNiEC5V5oFFbp5GSPNRDIdagF+kvT0pFiOHOr62J8fZdaVn071ZyvpT5290oz7UPbWdo2jDr7
yTWRcZeJ+jai/tAUDMLsxr2lpsHYgdDRwUWEZsePRRoRDavH5jc2TZQyjEB7lVNHG/PSNARahe3g
zELVnk2TCTTDs/LVbarHtqmD79owT7EVjxdOHWRi9eITRLHL0pBoRF14YhO0gClsUo+0nmBUs6ry
b3zeMW+8kh0+TFrl93E9yUPs2t52RCD6BOfcWha4NOm7J1gYHp1fR50zHVFSlxuoCTwCH0k9K14N
ZaMSg1evsvFeh3KDHsg0zgS/44PlzkPc2MSHySSdEKyre8D765I6jIvNaOzx2hUBezY6gQHV1g8q
7Pcgc4OXWCq5xtBw7M61AkQ9ONZzxeoIwmO+Ikmgd2to+d6YRogGgfOqWSiq2nxmfE6oCtRxcEA9
PrBA5Q/Im86NcEJoK3igUqjo66maoEJZzkRSRA1yRIMPJZr6oMZwwBL3ly6iP5LGsnYcK9uZi7in
DqZxZZfRm4UOidimkXq9FpRwGrtOfwizqDkwLBuZGHwPtJnpDKLdLHtCkGxQyFnb/7BAtM58zvkE
1VCSR0yS9cCnymmz21bLt0yruvItbfiTgJwtrfwOhDj8w8Y5Y4q+lw6CemsmSs5kbG6Eti8S8dVD
sfbpW/zQtn7QjW5vePw0cZSWm0hNL0350TignzVJca0xfmI8wgkcfXDZTufQ7Lb9pxXFBfsov7Bo
mH84le8nREqOm98cDiiGpB6VMefSifLI5UMImj7dWoF2caL4oHWjgzeB/CIQut+tIc9znj24ufkz
SvNi2v0HG9NmLN3ghg0DroEyPngv29JmHDSWzaO1KOm0iO29Jh1tLSE0GI+gyeOVSBGym0OJpWv+
21M0mMmb0tz3LiSTOguHXUZ/BRHqWxOfe83GLeXd9I7ARBtUsGNszYZNKEw/6L9RbDBL0uFzO/D7
a0nWVTaRT6va+g3FK4PJjMU//m6DYuLpo0ulRPMSFuI+M3kTevLFMOY4GRxOsdeC4gqoS0PLO2Hj
LIAeke5Vqe+A0IH7EHv1LHss6ImHg8M7K7C7Jxzk26or8X9jUZRddlKN7W4Z97qJyH2Mr+xbgfmo
qdk44v9cW+DmKUj19zYkWrZKzEvXp/PDECRID2P3p+esn7KVX/lkaNypCkbTiOESKsmDRhzCXkHK
3SWGd63qeLoUSzba3IbPelzvXKfS77h3zkHtYu0GWHYnU2p+4NgpiYWtWkujtFeNm3woRWXi5Ku+
srUt6snyOlfmy+DE0Umw/2B8xG6JNATZnaTUD8NmbRdpSasxCOhMX+NIhGvVgQeKI4L8cpJCKbYU
0R46uYXoz9HsDGwtBrncHf4UC/4+51XdT70BLzdBEXZ1ipT72qmY8VvXmMxRVxOopFMekS/Ljyw0
Gk6YFv8MQWb7DXbfrYGz0UoTQlq96RMXYOXP2QZcMR6moO32aeA8evQGmOQxfbSYEAPnqEAFRGr2
sbQ2y+QmubPwAf1zcStm+Vh07N0/f4EPkFmkTf1hVw3RbP/6179/DYpr2oh84GfGTrSXQ/U8ORWu
v8rCMkvUEfjqmBYqwah/Z2aFQ5knMNqY8LqT5zcuMiE9GqgQu/wdMxVYy0IyOxTRIekmnNN4a734
03Xpg7UIP6gFQBgicqYziJ0Le8/aDX344AFQhTg/i8Jg2Y+aR0HjxMcyjZxG92oaHQcaEukaoCvZ
hTP+kY6AEPgCEY260CYw0DK+krkJfckCskL5trFd72DTjlmFPSyroK3/uAqi5OzdKh0AutF49zFn
TL8eYrjtYGALEc0rwyq+q0UY1YliW6RmsW5meSuhhdFob4C0GS7o6JoDGLF5zn40Geu6GUIxvTA3
rQc5mJG72g56d+/GHcAUze8iMIxFm33qI/zTQgCMa9QDcMfHAfHGDh3JXjBnxXFZ1pDVKgbSoekd
ci1ggx1YZCHjAo/Jh+wc26N7GEkMCYkkxBIPpcxUdbnNaw9hKCNCP8uNt5GIvS413j2j+J5H75LH
6BEiEz9owZeL7pVtGgXZponhOE6qvguyaxGJFyOJv0w7rS6TzhJZxPGjmXYjOu4Om1tWPAxtlbAM
NBfAEttmDsAxNSZJgjWVpM0gNso/TfxQVVXhvREKIH1j7FH54MZLPhmk/NVnhloMM8Q10rIHEnu+
C4vPzAy417BNbHOUb3PNwCwtPeaSkZedOpn9BSxRbKuIjJ6IHEWL1OYi1OdtP7fpKfNC+otR8Tl7
9OZpYOFJLwXKVcdLj9jaKqKcNnov853KWYaCJbehIWML9NBDKNuHRMTP0gQxxRlz7eVZunGKitIy
MTOgsewcj+UwkyckfvSCyFazRYNSihPzHjpEkcifk1I/6kK89y6y67iLH3CeYRcgO3czt0xlkGke
Rz1+n63OH1QXkCHypJOP9ZBKgsUJqLsvynqT5iS/D2EEsp+Ga0tE/f+X0P6PHlmMAf/73xW6/0VB
+4EMV31mn39VnH4WcfMV/fyvh5+q+5PF6b/ram2+yz+yWvgylmNaKFYd3ZYGbtn/I6s1rMUEq3ue
sF1wNa6NZeE/zbN4ZyEp2NDMDADpXNHi/qesVuC41W2qdd1e6DLI+v5fZLVYcf+rnQrciSEEb2ER
/Bq64Zj/TVY7jE7vmDUBlo7YJwRpY4CP71MPjS2mMaZGaYPf0tnKPGa+nIfzrYvyE52H/kUYqXuR
Mk8gEoBMbQJz3jWaeJHYXod0CA7xwJm3DcfXbAy/VYpgh9oUpdP05kza4HvkW6xrlpgXqP4m0AFw
DSAr/xAXON7ltC1lORN0a87fTc83gmlYvkQdKISOJszu90tCGL11BVrs8Psllkjy2lIOk6WTVr7R
yVuNVvM6T+pZqJcRzNodQpH09YOHiyOzDetTz6dDzyRzzRP4zc8Hi0Q6h7HygNjGvDWlpnXDeAwe
drVz0xl9vTcGz60DLGxupL3JKtQ5Fcr7Vb6c6tPkaEr8lE1P1EDXjMlOK2H9IZZodQk0YoHRBFsb
R+PRJNCEvHUumjPT/6ZZwFST7Wushmte0n+qdKnDeq05nxRsH2Q7l4cgy6/CEAYT7pwW0Di/FBL9
V7JJ7Tl9MNUuNDDdu0TUI5pB89RHyeDPlvUQMGpiUJC4Z0U1S50qu6MTpJiFXHWErscoThDDEQb6
YYr7YRMl2GJsBjSZNJONJWo6mGhH11o8mhu2l2mdQbP2mxAqJlH1RCZCQF63GQms8zQfbE8ah7SC
belOJU0BUghhjlCKQASlcZGDrRzMzMK4YmzYDQg9KK0PenTMpBDcHvS2fa/N9BOaA4e+2PpTIkKQ
cabu9JSWk+r6cd39VTYLeC/SR1qe5KYgevEnaTbb2SSiXR/bh1zBNSxppmqlR9ZWTnDJqKFligpK
MNfJNmQb6auKCKJ1DtKBlKHpUJbBcDGZAK0rrcKuEw1+GtmaH2NthU7LHiX1JS2CD6PTaOFGzItM
FZmbqgnvgoRYHJ3AlwBA6KWDgQbnYaL96kvj0bZMSB4d8z/TAQvq0RmiqKDnWfDN1kMEE1jeVKNO
KY8ADh0UJML7cQduk3IgIE+8ENCJsWMKvty+eSM7h0dJrKwKlEI8hvEDYBDuLdSsnv0y1dHDjHc2
HhPCeNvD1OFTSVKpMz+ZAeANMaktnqUdKvESJdqBJhgjNpnvZ+cPyZi7LlzOfi7gd6dArZVVHDEL
rb/OWXoP1O5Y5q5DRm94tUpidiV74cFxtBcn9yYCIb1DSUtyQ+eSjTE0n8jdAu9g3ycZ9h6wit9e
Qvovd1gMAwhOPic3a+bA6dg0UiaoSxjDOO87ZvBVY+RbjRFYj5b4ApMcuFuXQ5RttPxD9FBDRfXU
lPmHDIbqxGmc2XBOjBfnCjDgMyBJoC2Gz4HpyjetO4TcuhsdLWOQ6yDL/hLcdspzGW1T20UdnlqY
/zkMbxlz4bMxgjPxnk/QXQiXRMvvvlh0TtcV+HU0AorQ46jcLdA6foWXaEfdlWzaYQKtN9UT00o0
oTMH0hptRdqTwpAy0jgNsEJXJRxT3yWj4FRZvhOB5E/wj65TNZyB9jJyFXMBptD7k/LMkrQE2MMe
3kzX5fxt7QqkYppR9WvRMKvN82zfIKT2M6979Ka5Iy+ZXJJ+mPHYpEA1O4X3apgRRCHlqdP7hPX+
HPO+NSsstk5inPWyPU38V5hzvpUqfmdxRM43IxMBle+pDQy/NxGSyoNmJwo05rwReevmIDh3l3nN
lMlmSAJ3OUcDRWGqozQsFCONqvIh4rYtg6KkjlAKFFCdNPGXNcP2c4/mQ5hkG6HQEk4DXWSrlkfd
Cre0fxhMjYS3TNjAjPtmTp9hDr2EI5IxS28p7eP4VQ/VfihDEKSIhbZF3/kmHeY1Ia/hRhuKw4yh
bB20M+L7VpxLw612dcl0uWvwgLhPyFu7lSHQEhjMRIXW8yxXwUdfYvpw2ylDl4FaaGj6B4+p+FZ6
6m7u2tfR0tEsJgk9pLzDNecgdHIUdPj02Jrd4DsLrZ5jwEvUWw9ljl6xy4bH1nJ/soFbXUD/6pIs
vtdbI/NronZZsJ21O4TPYTwTfOnGf1un/IAK2YAbghHd0nYt2qrbBp4D6n9GXZN9y4zpdaIhSqfG
hWVr8cREHSCVSXYsZQWw5SSCXRA707r2qnuTI8UluoTLULt1x1erJ6cyIAA+DvIryVPopzh128lL
xZR1cqnn04i5NeemICHUaULwSCVDQLvoXupY7JVGT4Xm7tKJNE8DoWWrXhnzdkRu5c7OIVUxkM3Z
WWd9jUqJyDY6Uy+R1T6mo3WvWcGTrnOYnoy2WcfsL2y7zZWA4lWCS2ADTmk+eCrJ1njWBAonxpk0
uCF4YlAphbFz+/m5IICUtEw4Qm7HEzLKSxGkdFkaC3bbUHQnz4jPhCv5WZfDExqsaAPal4cxcm7/
wdGZLUVubFH0ixSheXitmRqgoIAueFE0DWhKKSWlptTXe8kvdlzHtRuqpMwz7L12XsdoFGaHFshb
WwEDCdIJ0QacKmZQRIlw3tUoO+I4Tg8G0SkrNzBZxlbFUx8Vr50pEdUO9jUmpfU0w0Nb+eVc7EJ/
Hs4DEBG2xisaYSCklsuhq4nmVD18flw88UM0f08RbXw02FAvTGXvh77doicczePkxxyszB24olch
p8bCWv2dkP65ytAnhn2Kx5Vck96F/JVxQqvYaA7QSp5SZUQrhvjNFooeYMDAsFdCojbMUEPyT+Sh
YQ022y6AVss/aARL5HB171nbfTBWipjx42PArrNS6YATerhb6MJICjRI9ioN8s4K9t8RrqDZ0luO
zpT5BFkw7EvyDRyM98h2k6N+K9pwuqYM32v9UwAs3EbZJLbAPJeziP4wmp8broJN0XdPU9Wol3ox
eDt90Oy7ceanyOGojwR8t6hTMwyba7M1IBt3PWxA8drPg/UWN9FfJwg4qbV6xl24SghsRpndVmf+
h1nC0LN91oemjejKaMaHcTGr5ku6IbfvNdFYknLu/MppED4MZPqS1whGd2QOJ7pNp/gKShacjgi+
E1cSSQ6pQ5nTsUuzsxvpZG/n3nMV1OM+YlK4awv9SLTzKytkaIGeTFDvkgHJ09V7/ioJ3e+QQuMp
oQVlZvDD9MWmZ1QDsKa/faGd89SSW+jvBN60CzXkIWigXLl5jcvMVmgVxjrgqGU3jSj+rnJ7OKbO
CHfPl7TigFXj+tGhangyqNFXXpg9O5kFjUWsanRyD+I6WPCx+tbM14jO2EEE7yBZ11IQ/ObwrEEr
Q+gL0eFv8jdlJ3lAPhGvC48RR4cnp/I6izyWLGC9QTKs5an+MbVqazdQ8DuYVDfjGNOPc4BSdlCg
JVz8fbcf0r3n9u7JVBpmMmX5gPGMEwvJxGhY22DS4ZpMKGtn1ubNUG67G/hIt76EGDXPKGjy736m
zk9ZxW3S0mKs1TJBSbBp4AeyHwRcuQBOd7L04WpchoX+BblT92gmBeBEjlpmINz13c4asT2VITm0
bZK/tUGbcJQOu9w5hykTkrYc8n1mOI91k7jX0XhssktGqtMmLVjwZQoVXO2PzOJGor4zjMc6Fuba
fY7rPOOso54wzYskII7UFlT5TgQ+2Mjx/temg8YTtFCO0CuJoua1M9Dvp/rG0A5xQxOUlyRcVJpw
GXyeX0eBUpu8F5zpnBBpsNY5kOOmJNkK1G2bmx5eX+t5hqUKOmcfqPTb5kZkjMkvmD40WU6Uk2d9
1ThneAlmb1uImdMIISQnMEleLDlBPj96lXbwTUBa45NkY0oCN7HRRPPNhJMUI4SUmbzqTpFTA/KG
hb9mdWiQE3d2GgskaZHhj19gwkPfHHrLCZnOEznL7mw1jqCcSYtN976VGwTuDcVhgYE5E7pvcSst
4W8Gg6EglMXHfsbUPLpl8VKm7es0JnsjQmM1Yk1xU73o3bU6Yr0k8vHXIhcLFM/Y0bIVfJwLoVgM
S9wl7cleYTCmEXjyDJBISRxFexzKW0PH3IC+bDCUYz8kRu0wRtn3jPKYlWMJw02EBCq5LmgmuItx
gHsBeRd5GA9+4h9hrOqjUVunjh9p3/Pt7Ho1vHbWJA9RXDEyJ/nVxCykzLraIIui1stean9uN57R
PtnauGd11WxtnwGnV9pL5rd8USQPrL1cI5ycLGKE/HWRmdanY0xfMh/+JRYhvBOa4a0saAwzPhQn
ifwdUt6HYCRM3RHOV0TbJMJjlUmOGfxONYDDPHsxuW+3AG5SwlvWUeHCZWjwW3tD9pMu89UsM/d+
IpKtdqrPvOZzwdCJ7s/qY2QqIbR47VDVgBw4dH7/G1R+tB2EmAmjHYcDHlVM92OwAAn9J0VswMYq
Zk5bM3zjVEAvOoHhKvuU9AyM/3kTEzaHdYJwu/rRL/uSbC1Ug+7QHpjZueg7TJDskkwNLlpC4Sfe
rmxDJvcMB9bKz6l3nUTsrjo07k5mNuvyNGdQGUZC1Z4caT7rQxkW9JM+D0WSNDOfVv5m5c1tDMy/
AUqVQ8e+4TlS1OUkluI/zeR5MXexDGRi6zlr/BIp2dglDZLJl8KGcasaCquh+C1yVjfJONzBtZbn
FJwLWcmRd+4sDdQgpGENOS3XBRjXyohPPejPzRykP23mq4MOm31pdlQm3FQrJ0tI12GILXNFaT01
NutDUBORMeJuYa01oaLF9CpXk6SUC5KJEKaBVXEoxU43Qq9RCl+T2b1iy6ZIQ+9lcgMjRUSV5zY8
KXb8lVf0GgyZCYLKKh6cnsUCLPx0Mw3pNxvcZ2bzJQsDeKRVnFwSHvJjIORDGBb12hz5WT0g/53l
XLE02o1y9/HcvDSnVranvFXjTpXuewxhAaw2wH2XRwAnaQ/1n7B6EG0N1ED/nJoEf4rE5Z6xmrM7
YycmgmUvpdKooeeXLldI89w/mLD+mZXxjfYTZ0S8zisn2murOebaf9cFzYFPpPuqWvR7sbQ4ZEgz
XOb6WycrPlnF2QzOCXJypzdD8nkaPjJs9LVBCQw1kg/CM5J11lq3sOyv09wkW6YZDRQY/rGjPiHA
M0ZeFmU+oxrOaF7mpabNi/kQ4yqC42x+jRPqNx2A/crDEiy/2gNMTM9mbP4NiYG03mZT4HOSX4z7
GSthLysSTExo0wT3j0l/RMzZMJIA5ztPZWJ1LEnMZuVIh1i0oJvY8fFQmdBL1m1j7zGo+EQclN4e
SGWZJATKOeHPmMb5oXeIrmpIpp2LssPROmMl+svrSxxrFY0IzxazR/nVzDWLa/iesz99DfAhNexH
CsU9oUr3cDbIwMLjlPmZsyEf+3NkEMKzgNMoT+wH8OvOJu3cYBMxrIocPAOkPjzOdfOJATTnCBj2
dTnMB4NkocRDZ5L3iKdMIUFuGADgWmroRM2sqWeHmrBoN5IQvjJ0DiFxvdw06bb37jJDPtURXyeB
qlzs0b/LMFtiptUP4aP4ihH1zhZ8Pj/7lly0m2GOwq0Iy2QbKZPD3u4JUFH3vlISkyuJ2tkgkXXD
97AHi7kK1THvWr8Lw48Q0hoFZOdslqsIVOvM/ghcZq6n+ojebNVkESyNrYM86o2JEzc+yh7tzyCa
xbjzEcJ4UfsxGNbFmJavseVo6j0EiHVpgbqNqSDnQRF8NhJEWkQnUYYGV6TTAtMzwu1cf6aOM5+E
EZ0s1WYYUvzHtOZOQmvG8sHGc4Wch5BKKy75tojb4YOegumubYPAGkyx4zCKnR/p9w4jLYrkFA4x
W1A2pDsz5XiN/+YmnbjVZtEmzPJmY4IbWddnTCWKuM2lt2inQxVL/vPmW5WWO6zqwaXr0E92LgB+
79kLDgow8Tb0GW9hGo/B4oKb4Yp4UCN3TigOyD7GdTLBEEDw6U+eWnRE76wf/gVW/FsR3LWu+pR+
kb+uOQrQNyoMQu1REGu0dXMI/NOyhcdUUKYMyop5JCACTctcIP2UBqHDJTgW+YIMJeROqKztWJxK
l3MmsMivAXe7rZc0XTaZcs949CfqWHgRVBPS6a6medrRcdmbxBGvmWP89KoMaGRZzrDAirF36L32
6IvknH95BphHfhqigWw2rua9F/FfuxxOfa1uQz5Tw9f8SXww5CCBdnI9zn0sk9OiZGh68R6O06/q
4Wabij+700W/nshs7IpYbXEEkTSbeP1G98nMgo9NkeFMF6M3+12RciJipto0quEAYPXnLSvBRqRb
bdFDB0GAiBl1Iq08lr8IE2JXik009Y+ZI0swbkN3YHDCnC/xLuig3lpC2DYV7c0h9BlAD0WFnioY
uNB5IS3/xSo8xtVIOQ/DXL6VjCftQK0JfJs3pDgzeV8eZ0wvo4VHxI6th6Y7EQR1p/GiwMNEwkJk
IxNWyvHMx0eYBrBCA9KW/nZiYMwqD8cH61/R5MOauTQo8UrfhAYi1aGkJv/lLyr1diMEOW0ya3+d
qDe3NQhZNI57bJoc2DU5DZk13Dv+z7Fv3io1MYearEfg0+u4ncyLlbC5l5E6hsWBDf23yAgQKXFM
Bkv8bn1WJhpgh63iCyMYrPLIMqJegh1ki0YtouTUsCpLJu6KBaSZ+q99lfzWQf5H4VZbY1CMV25P
2F1vDONDmn17CfOMsm93PEHevvmTJDbaloRpZ8rhbMTIcwewuoeYdgpZ6jNAuGKTOywXE0zIgRFs
mqYrtjKsd2lOBZV5wCPiOQ5PED03pcHClF74bia1dxDR9G1z/fFL1xh9Tnafc3wVnGMGXZ9fVAJ+
cBrxrHHYDRczLj5Sn7ARJ85+slrR/I6iwScj8NbWl2H25d4dpcmgvdlaRgqZMXHLHXmqL6aft7ts
0mhtCApkKhFseCU2gesuF/LAGNrhiQiuJW3omp//l/sAy3/KrVDnxjbJ9YcJUzOfmJZLzQeCJ+RA
fNsZ+eyEm1zCHDBLrM/Tn3xBZlDdwRhRlFVcDeshLZxjK5kkpVI+hS0dI4ob5js9SPuBtS/gNbDS
LiE+nJOqEL/DMDkbFM3G3lW0otAwVq7BPWKYFb27Ah3nu1hDMR/JreO+TN3c7U2LAL7/05wGGwom
JrVtFuGvQZhD7uP8Bx6ZebXCN8Q39K9Nf8t4Y9BkjXt+IjT1RCJB9TSKDW8gK19rMRfzQk9ZiD3I
VMWDPfP0J0smMinaoS+Tc+8z8PD6W23ZKGJ8Ao/YkARaX/M+Pbs4OEqCxdau2TLQy0pkTB3MJBv1
QO7GNBwfyFug5zuO2A1q3DA0HKFcoDAsxmLr4W7Csm1t/GFKMeJ0x6E3ym1gZJcpbU+jEH/Jnbip
ZVlXIXTlC0DQUUlqm1bUxbZaImed8UZQ5khO2ExkCkDvMsyiR7+jGkjimhYpZTdvvYI7XKOfIgFT
FOlRjUjiyBn6QyoWK6dYCiZAEOR9ECNb8iOETWaYnjPn3OV6pxUqgRidO+ltjB3b5iWCgL1yIx7N
VNlbKeh83XpbpY7x1DRWtgtYfmRE9byhWTkMOrQ+dHIx05B8Bg2gNssZZ/GfOCcKwh5vzauaXlyf
kW/kRu8IoZH2Jhfp6GTVMpxbJ1l4rbPymSUCtinhzWuX93s1N8YzKtI99nD3OvfNKWaHhMSSD8kk
b6Bre343jpOdIig+uoW9fGccBIOI6ahrvKcBobVIMx+JtdhbfZ0dEIHQMuBJ8wPFBSQe2ohdyFTt
67bdiryhe+w5StscS+iU27wW7S4JkG7FlNXtgFacxnglVfS3ThKoOXN4H+f47qAUJWfS37eh+ILD
ffWctl9FxoD+ekD/BRhnL1EfV8yTzHa4uUHxI1n6bvw+fUsTZ9F5NdU+SfmwRv9zQmu/9mcEYThh
c9Thcl1ZeXziJOhQR+MApGU/IMtifui5TJocMA0i3tc1J/jUi30KxmGdd+prLm37ajYBY/xc0MyQ
OFEQyZTiFqrDhO6+qreDk/34rW88R2dnyt1LhtbGsSiMLCAThY+KhMBHu3jWcfnAkpkdWANcp3Cd
F5FaEbrp8N/UjFdi7q5zE5Bo1C5hk4AzCNystnUP/EeM59gOH5eguyBgVMFf1o1dj6u8Zf8YMfLc
m5P3bumOLRinQFd9IiH5ZzsELKRiWDWJGNhPGE8nRBew2JBWUa8SbCncV6VO4wyFc44oNnKDpkkp
bDcyQDFdF+CNo1S9aoyOrPzCXZK3q8SSbzQMBydbyHcO6vKRMFsIJE7r/uDdM0umZrYD+Ug3jNgy
g5WAjZDHNZZhPAvBNPuNRH+fhNkguENAVHKEnvRLHzafWmiUy3O/tmIUbXXnvbuFg2O5FxvboL1W
g72hM7JJfijfLMlaJbOPrcOovWP9MhYBsA7BcQC0O8HhwB89IubBpxo8MjF1WJ/uCsu/O+xlETaq
HUED2TqoRbAujOSXLuqT/oq9B3e1wifny/kQcRPvfSGJgBgLcvqsdekQImqHLIA91zpXjXHzEVw5
ad4/6Dh4N1v/hwEnQb6jMDe99eC5BuNv/DJgq8ZjmqUfOs4siBpMv2eQyp1NRWCK+mFM5otE9RTl
81kn6W9WMk6n9y0Ik/CLtTW8tk170e3EkL1LX4TRsfWybwl+UgTz93q4jS5KzzGMdtn4mSTy2017
4ywp2wOHDmLWAntF79i7Mgt+47i80cxJNMzFX37bbGfBhVovX3oa6fJkO8aqpscHqNCD/EEfEGje
QNWGwc4lgnDFy/lWExq3cRBBralyhhXBNadu6nezxKQRk9LFJh3rR4eldYxxAthq5y56dEvoa+W3
FPtLWFXArmQe2KcYcnje9WkGPyXAZ1kyiIzs7pL7oMBytqObJEneRTbTgbGbnSfrnDa4UcPEvDWT
xSYCGRQT8IcQEDS14xPZA/86GaOO73/KWJ+7aOKJ6MY7S8mniiF5ZphXVmqEhrG/b5rmqfGoc0gw
4fypjdvMDYQkTRkGEAtaLLRjI1SBjTSDca0m7185wAOJnAMH75Nh8jW2OosuDPOSUJPQV4fHpbTm
79uxJRiGT+ut68gzDAYCeWpvIoWGIppKblWzUmb+84U0jOG6/dhRMW1dqe4lAEhYINZlCsxLDclj
V6r2M+/LK7FxxwG2w95T9j2osWZnzXs9RG9oEG6FFRDNQ+SjoKXI8uzTQGm6tWpzxxziI6SbYJBU
uqvBxqgeZC/dNM/7wnyD1LxrhuEkZrISSmEtGnYBRb3cWT1foWDlSqoG50f06pkelAg4MytJ+BNL
dBbFhRnvXJuUIh7zlfPG/K5dh0H4PvjgQT3xBfrmMw0ZWM2Z2qfumTK9o6XKdo5bvbIVKLZFwqPh
OrdE2o+KeCSCnIy9Ub2mvHFoEOabsJgPJXP8VeRrsZxYpayrbd4UrzZXc9yJHSC9t7ZEblotK2nP
onwaxdFzihcII4xnaQKsHONV7E7XfqANTygrsh2BPS2c9O9MEfloqq2f6X7rGvwikz9+UyzvLTh9
a+P2fwnv5fjSVXCJZGmzMZzXy3OPXnwvp/rPkNTWQ9VRYTkjt+IM+ptWEbgNlUiJOV83/h/gmILZ
Z7cjTnM3mf7VxSVIGMVDil4JMN9yHaLGbx4ypMErctNbUi7KbptR8e+Rbjwi/Dm1EZgIvbZTa9lW
MgtlRtkNpbecgPm6DeuDEfqXucy+tKThsxUPWHdNU4RGstCvrnqLhL4pbroj8TSNNd9yQRHQhvPv
LWk9SC5N9jvO+eOcV4yxh+cYQ7Vr9mgOA/8HDch7yaobe51DaBXuo6DN2X7BCQQyeq6SgrJOsL+Y
vXeTUnSVduPJByWM7aJ4CTzjuWHQ0Aa8bk3jWdRVrJ9Npj2NJ990y841CXcsxJwHqD3PTKeuSU8w
aJgMp65KHqM+mw+ll9frQvypFwvAGDJM61wCD/PI/AUu+h2SrAIoFTOFSzS7twPz9W6MCgAR8VDE
ma7chiPY9orvkVVcYCeP2fhd2v6P68u3QaPqbfJXLJjH2ados0V+k+FwLwR7pyYiZsm5NYXISdiL
P5e5DWPQbxw/aEyvMgBMSBggWcv6miZ8+zVJjflQ3z3yiczkXlbLo8U7uimy5iAw7BL9TXBOE10Q
px0cv96Xnc2/Jne1Wb2zoWCw0FvvMjOxFFO6Y9y9ZJxktEmU12z9qQKALl+yghsiaNqj05Nt0yvE
1yRg5dIHmqavsRzfx7Gs9/9/TVaZv7NaXkYBV1Gc553H1mfVIV7Ghk7a5ojNwS3biS2N+gjK6oDb
GhEAgyGH8M75nHgK8cRv45HNSmS2jz23+RObxRt5kM+y59nQiBCCtiRrPnq3JnXASlWihGUmzKXw
B9zdJhybY+ANZ2DanLsNoHBuzK2ZG387oekimHKNNbMgn1/K2Y8VR3LueHdGwz/awqOW0YiaVEIi
/Jc5vEQG2zrDkp/+krK6fENcH6ZZkkyVvwtsOEFDheMjyGb5fVreItLi/SaKjoaXHKwiuvSxeMsC
m3hJcgJqv35yeFc3hRxOc8kjA2P8X1FyimfkqUfVunXDtfLKh6jrHoLqw5wHHMPqiLz829U1XYt8
KKOYk4h4SSkYD6DthrvPcWFUd+27pyouGU7p+zQUkIYm6w+zaqyGgPf6IsP1kAQ/dcgPMeLHYerJ
+BcIZvuJtBfrHw+R7uz75FPykO/J3iV/cl1zWUI3nCVcsIYpn9okemv6mASzZo8OkcxkLQ8BUbVZ
ywvRWLvMz69+bJ6drgbo1Z4cHxs4SjwOHqPv4GQoYITqc5mHRzUb0saPLqGuNgY4JsrrfzLtj4XB
PsKemo181a3+lHdmLke7HSipSr7QJH2Dnjrz+Vlbp8KsUzmGsYo6lHoJ4xRDqqNt4DcGU4Spo2Gn
ybFW6uHUDC0TkkOJYgQ+6MUZ8FkkL3LnRepf5HWLsAbLV2Nx1hItskHp9HcGebykGD+qGMyYLMf7
3OEUyO320lWsInzrBkphLZ32PHOfVl7xolLzbLEazgSl3ZCqFwz6P0Hkc0kSDbfqW96yGC9t7tls
KqJNCV2w1oiUwuKrJiAYM84KXtomN+XBCMzzwNWSdvBVMRexE+JjMjjoyK/H6yWXc2stUAg5cW6u
MooXlKFXxt0X6ov/EZk+PfWSy4EED1uWRO+PD4oqHW7WwWeuoAGeQbrfu9V0jqBDYjgqd0PsUndb
VyUMasrA3Hq9+EGA+z6wf0DzM5LVgMaKiQw+2RtazyXEiIZTX51afCMyxCpdgPIyHVRVVfKd2elL
56HSctDoNwatdWzLA/GElzzo77qO/vnTluhZf4ff50lOyVtTczmYMT0OekMPz7tHg4rKtCm55Xzs
EqP3IlvzDwKPDwVVZgW9wGkrJFkkNVssCptLIvWHp6z3QHkXt2fO25PrWrj9IR6d59EjfrxTJxm3
e84jHwJ+/1TG47Zr4p8omE0+ag0WAJvGP9UUaj1Q78WGoCJAtzQwXQ58+Rf57NkxDqmRblsFjpC9
9pedGi8ESj+NZoC+xES30d8tFsibbsAF4fa3URHBPvbufrDk61Sa19CQDy7aOpSMQAMT96NB889s
oz0OU/ZGmN8LSW38g+mEUQe2mNQ3lvow/1jYrxhyI47HqUcJM4bzLSqrx0iOrFIyZGZ1BPggT76y
RVOMz4+3puSTGAC+CM1sXKIFaLjRMWpd0tRCPut2n9pbvg/rl+eH5RH64wZrxLYZ9AGb6mH2CotI
Egzc2rTfkkl7F3SH6BEBfYXR0ZPKOieusw8cMZzGcr4M0I3WBnSqrWvm7kMGcjCmZjzJJEtWpdFH
TAN/6fPV2Wa5vK7zqzOYVC5hgp+Ib1OPFgiyTneHLk+cNc/ksvkR85YMMmisvUaqts/kWD6xCTRU
3B8Ns/zXqv43xhpIKWf+Ezl9dsAgJ1/GnqKHpJHXMzZgxke4WF56a0F+66VfzlPyFjsD71qGT9tx
BoJuyogNFsSR0KTebdvpaeh4hCPrvlwLFSobUlLsGy/Mh/IWO51n/1kS1nHxM/a2MqhAFCyM4Aku
b+anZASRmo/hns5nXoysS/JQ8S8VJJ+OE+yIcEp2OQyPncqnj7y34vcguKAldMgLpZkK/KeqAKOf
y2h48nt1sAKZvkCX6+kVcZead1EGfI4Rxmtu4X0N/mPDVovarj7qmLXmDOToMga0/ijIt/0yFYzE
K9x7sIzUosAf0kVcecsVkwbTF9PRZyPIuCnaN90sQXK6gP00Qwyyi/5ijWFOvmetmIFeCC9Pkq32
sfbSfRMIF92wuy1mTz6aKJyK1PZ2GgYYsMVH9Yj7bdqOywMoOftLx5yWkjrc5WkHgxm1bRL7KVY6
7ImdJsgTiNFuoHNfGcZT6gxwvXoAiji94LK2kkPHm+v9U5vGHzF7cwSFXwDtRpYH41WwTNoW0Vtu
cXQhGL2rxOFaQJw+1DZhbUGgNoligVC3BlqDqODup+1Lyr9AqDwm4v43bnBwLiO6hwC9nYm0BP23
+GQT+TLKAKIH5Rm4yITPlQtS5Wesf+Y6DhcrXNqfa98Z9pR5K+0PjPoKyUQ9IFwnMc9z1keMi7uV
jG9Mm/BXowSEMeUfrJxwEaj13/x9L9OS4HPmS36MZlkB5SrYnmximV5G/9FwqEoSG+GVs4D3VEg0
dMoOL0DsA1vz2SxHg7GH4e4z6AJ1ZPXbJKufJsGmCbngC4qbh0jiiGzZyLGEPOYATba9mu+AZQ8S
ZtiqK6JtINgNYiOiXtDhuGkD75+thLtPMm9botOBQWG1YFmiXRM2+goPAQ0frkHhMajHKURUkfrO
CnVsKNFgAYOADNu3SroCP/Pi9XI5qYk3nLqYwxdvUjebD9C1n62p26dEUBza7jHgdAVZw0v2Yvcf
IcpsjtZQbga2WrGIvtIarL7Xp3+7REzs4CUjaQBY6Fk9jlr1YfvOuJ3a8jQiLC85Rkl4P6AX5fHS
Y0laH+wIBqqbSP4hx0SgcaRLByHCXcs7rdHDJdr8IGwYordvAI+wknVRl97ZqELOiSWB1tNsTzwb
MaeLIM6yvR8GOaSwdvIhKtnrtDBHd53XnXUOpi1Xwc88U/cQtUj2ibr6qc9yjG0XLEk+mbglXTCv
vjqRgSaKhr8eGQAbVMOvKGaitTbRImlWLgvaDgFABmdsBbSTfxjxh3ZIOxv8l9g6SOJOYAnQNn5p
bwOk9KhYGvpFWp3Z0pFXf+IXDklsoenLBJu3BgkiPcIAYreZiS5cBoYoEePsCH5m3FVOShncAoUu
RrLQhUBmblcLSRoIC+AD2ryUs0MYMbbVpyBF8tHGs7mO5t7bO5r+OYGY1EbNY8k+FUMqTVWPmAKD
z5La6j7ZS44HA4EVquvf0THIAgpy9lLLxqawnreOnT46KQP2RMGpqYSNRkOP6DCQhaSps+4qwC4c
S0kxt4fBrtSmbOpjp7Wxja9zFKMcypk4GEv7x36LWU63zjKUIq73VvqGPBTeJHeNc4uQx8OUCL/n
uTav44w6yCC9eI0itX/wQYzQ3Mw7Vp4oF4F0lFWzOAAeWdjy+WYOUsUye51CrqRcffiokJgnwLlp
4wwr9RwyNFbggezijXSrfuUOY3o0pnPsNxgnNFGiEokv9YTbgnqvWiiCbLRKmApVmXirvg5fJJyo
nTeIdz9CniqopMowfWk0fwiIm5OwwD8jS3Y5RHie3hQqipahrZ/bHxq02BwbSN9nGnirGDXgXRMG
TpH96imiWkV7W4mau8Y663q4BxbYvdgKPyJBnTdLtgxF9CHb4LPN6yctjR8hGBMyfnkamuyhjxnO
uUDZZdL74PU6Rm84pHIz3sucyVltgeK24x+yvr7bioFBVqHbtjufGY3TnyBvRV1C2YBcy6BtyqRH
cqsd7cbZoyFC9e80EOjaTrxhDPA3LuEf7UChqgvr5DUQxu1+8HZZ6tyGjOFd7ZJANJc+zWfccwsZ
f2wUGr3BajqYl47rDQ2KsfY7FmRN7z+6ErdlBHVBJ0AL5x7RnoX6u2Ao5hjkggqkOWdTu/eWHg0S
805rKiu9pB6l2III7tkNA5nmcVGxGuFGkoYZPHQu4FguVKxfOT/ziH5/5gUFhmZYJ4sw5rlkZSQq
QndniZlX2Rgd+cav9sI5H0LvR2oa7ESxKKQOvwaKnHIQfoiJoZh41vSQQZuA7EJThJFi3czdzg0w
tiS+h2WgrrlGedMV3P4yl/WKhe00nUBQe+fAR4lUVz8eMCPEHFG39RrynIk1DbZVgKZoCHJ7a47J
Dd/IgRnx89APr1w5zMtTC6NJmx803oW6ohf3MvMLd5iz0WWFcGgWpEurEJYNiDVKtJ9R3iJT3XMc
5uB81XdqSZuufnGFLnNNVbA1J9ob7SjqJd9Cz5QjLQhbYrg7LlGjaV5y/j0yDraxRNHO6u4zHu/A
FKfjwB4tCaq3MMS55Mg/rsG6PhToCHx98mPvx02kR+rr4sqO7gGooVqCPkkhY0ZMK5nKuaupTGhk
iRceSEj3Ze+uE/XEquDkhidsJCiFYOQSclEDvadxZqXBZPonNEkWlDnTFnfSw86vz7aHcHng8XMb
XCt1Hn5UYXh1Lci2ncu10rIVUDIPN01aoVsqmEPOqjmanbtLkF6ugaFe+nIscU6Pl8JX3pY+flol
P0mWfRd2+1n7D8OQ/qqlfnMM8RnC1t2QHd5wAmt7RMw+MISt9NUVpk/tUuP0QB4J9B2LYNa+ixnF
GGidVe/m2NCReNjCnMkwT789CxEzQVpBiqrMqI0fV4felqTZTWPjgGOHDrXxC4YBuhQQwQzYnumD
EUW/xwNiXyaXtoPcpMlmREfFc04ji7G/epsm6huTI142dLYRfYZXi6+wZBvUt87Ej8VgIpPz3csJ
EImQ67tF/NMw7FyVs6Hxgo372cXfDPzoZcK15ZEtwNRjcsVnhHCOED38BRjJB0q7lhBOusiacZ3h
lxvqTVaTTrNnun6XLHK2Rlx9+uHdmaBChoGDKCtD90CiDyeJ4EMqMQ7BHtq7FtMCBEvYFY3VkFwy
TuhVquKXrBXbwKoIcpIbTPjfsddWuzBA3Nf4HkPePwpD/wpr8k73rLWWHr+sfYwn2mA4yxnU4apa
NXb+4kYQ2JPqO25GaMJ4UEBTA6tCmciA45MXqdiHmb0h2xxqRPLbdvlXO5tnWSZgFfWDL6f3IAv+
4+i8litFsij6RURA4l+v905eL4SkkvCeBJKv70U/zMR0dNSUdC9kHrP32u+EM1oryGmgv3hQla3H
h7A+danZPJmuu5s0Kkmk8mu/ozvPLPdMvASD2FpeUM2voRc9+njIVuEo0I+12RqtsljoBq8lb9XK
sOxXD2AsO9ACOTbg2UpBqTIz5h8OS0KPo2yZ9i3c7K7LED8l28EsXPqX9q2Q8ba3MRHWGAbbaTfU
uC7TgrXbiO+iafV8SdsM4IAGMTGCY4dNFduU4zLbY7HggFSJGKuO85MAPzwYp3ZlhtN7EqFhaimp
qjwHRqV67COBdfbwj2cNCKmUbMXRASGcxwdM86BIG/fDMuH9S+irrqUBabOcB2PYb8ePdjM+N/r/
VbCCj6phIdZk/xDCPGQqVtF4yWodNOv8mssWv3uiBdkuSzmljArXR1r8lJSqJypkvgELCJHCV8Sg
EsbOxVQNE2a9k1se9SejZe4UeAaoRbajDLc9+KVrr3qJo7LYxJK9WCxsRn/KjFaNYiEfYuMsCSZf
tla1tWTeL6gr7WVeMGZqkus0f6VOiZqU6wTNvGIms1TWlC1zt3KOZt36S6wb+xoGwj0rjC+ztHom
2zYic2sroEEz3GdmnyPe8r0w3tqC+4Wskx26iEU5ltlKmyd1qBSfAbVrB7Nyzy3tQjTkw7aL1N3V
vINpFw5SNUmJDSp4XfOwpJoZnLJc4g7s1beOTybHiLTyKtbcts88xRq6N3TsVIzYWTd1yKi48hda
Vx+IPMNLlVRHHA4uytzWuhYI/EYTyJNVsVVJ9RNiD/59xqlT+bPjIGdvygKF39rhxgMAuRrckCmA
RVusBfE6FVALK9b+Kz1keFp35jIajN/RgRk1MT9heN3u+jbgSbHZkWq+06JCs36LuNI2WuyliGWc
GE+QeNLQAHhpzvwjSi8c7lu2CXc/5chXVW6u3YSlZGrZNCPcNHiZaAPKAsRcmpHNbhnHLDB/ojE6
9D1vQDam96gIojWb7NVA3ALZMcnG0qJfJ0dsE7pcTaYWQAzHwFChw4Z78RSH4cVo/ORJ99SfGYMp
atAnA/XDMg3cjg/RH9aKM2xRa/QXusUSsxXgE3IcRtjVJsu+KNRJYG+Hi50w26TN13bsso8ttoCl
2ZRimQW8YOW4L2wuaia+9yIN8rWTOpTWwMGITTbX5eCNK4fvfUnvFm+6soSQOj3qfjA3QNsCZMCs
sovG3MQdJtbKuLhtaV3t8Ji4sb5BKPOWTA0YSAtodVqpXSWm5tBNrF/3Awjuf5xmXfFktqiKBj99
kcw8wxSqBxifknrZSArBEiY01nY23QvqjD2DdriHOZEpiimiqYZ9b6u9QBJKHj0dTUg2oJPNmyEu
nCXmyWcr99AuQLO2RIkSSEx7OXbILJt8WbfqJWvnGGTRhVeMOHLxWcTeVzXAGIkF97chPkOb8axp
cKLatkkXAGucgIVxnTgOI0m88Y6xaiuyLHyyIXswhots/kj5Ms+aV8arPEZz3fr6w5f+WyZctHtB
xOJJePNoMV1OevNXpiN4VBIpy9hMSIPRn/wyY7+nuZBf0u8aFPLNz/egc+1tFnhbRVDeEoRvtDKq
dWfW4x3q0Gtozl69GCcFH4nesL0nbiRfa92YEQscs+107krhq0YU2STaZx7Np5AbO2sAUd+uSWhS
H+MoETpBQXW3kgInpYumaltyJZpecO4DnBJtqmwU5TFAj3b4dodJ35Il/oN4deOxviLQACSS/gVo
qTuibA+XRqNBUO1SjpjIYY7cYy4UeGB9j9SUkWN1WfihjiSFjs/I+cTQgmw1C5UV8NUtv0dHNGiN
DbZGvll3YlWZRrtViW5gzJViQ2NjbfQZFWfG01axY4g152E2FHcB+p2gr+5yEIcuE9+sNH30VqnA
fGGtxiH3F1UinviwU1Yg4HNkZdx9ALBH5TpnGRuQEPtTNPQ3EZbJVkrzg7cTcqJZ7WUzzcMXalWH
nhO0C+sg6CsAIL197VX6zpXqVlu5teylbW8jc1+0Jik8Zi5eEQ5evJTABCOykrPxh15vXdXuuJV1
jc61r0lEbfeDSN6qsWNGEOLBHd3sxR+Mjnx2ZIKiuI6+hSK6ogiaFxtsr0pM3i7TGpa+Q69TOHnT
HBYiSli7zKuhWdJk4Gdb811R0tojmhx9XzNQOVapWg2Z99owydv2RBkyw/PPHbqExmLL4AEDMABU
rrBlYtF2dfBIPSW9hYrLL/zNlA/Orhy6R4shg2+xxJkhIn0Ntr00chROJe8W6iZkV3ETXKMp+XR7
dKKOETwYruNW1Dl02owCDz+zsdLcXacr+6jl+msIH67t+XBHFhqT9l4JoFkmEp2m2fz/x2yHoO10
fJhEYnbtWvUlE+MUPQa8vxucOy675kP2QjuUzBmsrt4J202XtpAAwtt2zkvgLCS+GN7sS5sSX+el
xBR5gmKmL/I/JpY8HEzOfQzrKKAosjL9iUNm39cHyKrBzZx+dRJG3KbTDoNRgLZL9XxV8XMA0NlL
HdpHk47jRohDOBXfGTKPZSX5WY121JGMrPQGUj7yBrlqDEY1CBW4bgqbWyjfCT1HtqFi1qW9t+gC
5TzCRr1Uz3Sj9gvLU94GayGSmKPbG/yTRIB9+v9/xf1Ig5rp+///SYfZBixcd/yTPf8XNzw3OHVa
qCK0h6hqPnAId11svVIFwRqwM5gJ8CwBQIsPLuM7fvnqQcRzWhNZFCN4nDtZeU+i5o2XXSL9jfMD
BH3vvUen13jpuza6KZTwAM2eW1tLk5ROvDD2A/nRJu2nJ4GTcqYduw9RDHdJY/bhOigSCzsArJWw
eJXC5TDNtDMK+VtitPVz5JfGAd0/yCyP/XEUyhH3ePtdV4ogQeuZQCTjHiNuusVG+dU4tOpxrEao
r6zV/Q78ZsTE3K7GdNcmAWUxYokWgfUJSX/ipOqSRDYxwl6xNdn6XhN4fqWWEAUSMPiUEZ12J9JV
2xDV4ULK7qiZD3LGGgsMf6XFHqrMqhVYh4QiRRknwtNOWIbe8ZD6C7aa+tWJAhKgy0eqwurUhwNq
S/WvQiOO34yXNvUOEu3mycOqy9VcDxADOm8zphMTUkKoIg9HBvNMcxxpR6g4w64P94TRtTSkk/YA
QnjwbHYEiPxOXj4ZK8uvmxUrqg2zhvBoyPpF+DX9S2e9S23koqW7JNrWj6+FZgSHSlnkehHdeOop
rGhsWG+ETfztz7pK10QbPDpUHljRUPy7/hNL/njhtF62cpiqqZZ4QIaeh87lDs9QhNIsY/eRvoUg
H9idl/nv1DDZtklZl+uQixFqFMmlFhDC2pIZUa0YmCs6tsgMT1agezws9sMknGId1cGe0bkza8WS
TcEsjwU+MYJdSBtgGSDRzPXYypZfTicbIaujfaCT9ViPXJ3cNSvmir2O5d+ondVgNOBTVXgYOtiK
8EyxXMDRb9UpLurziPRN+v7KDrRL1+QOf5SB0gT4H5BJPIf4iWUVwArWiRMn7G1EqdkG29pHrgcS
JWvcbp1HOTpNuQHgySakSW5eDkkst6igTezPghnUArQhKlMGUgX6V1oG0W4h85VItVgQpDcasZCN
GQc4EKPZnEayH+GHKxFxezkq63Yl9JKwPmulYC5NHAV7dmPZkH+SUvuvOPUbXK3GWlSeuWdpOeD5
B8mY6PEPqVO0tb7/2q8d5U9bH0rkAiRPtCTfTCzj0r17Y8qAyYbc70zpQTecW6s7YlXGRQJ7473H
QN55XJxG+4jQX+6SQvsqFYmc+hiBNCn/RkIDS8y1VN9iG1XjiCqIf2oKZpc9xuEmPFfpHOVbgBRi
a7snsX6jJ+zCwzm5gjzgO0NvZZS7sbV+NPz18wf18DoO1HyoL0ySrIXbOezPW260qGABIaqH7PIG
+oy57/VikwZ+R13RQtaT6PQE1TTSjMEu/+bnzZEDsGCMAsQHF1ur7BghC4Dl4Kg3BrJSURfP7ZDB
sG0KGM7DMfC1cyHtafcVkSe7mvR0M+azXBCz+joPcUKG3ms5rzax7JGolWpYcIl4SiXyCpgvhUfv
2XfAAHMYCV3Gzh/8+XvasH0sP2sQFivVO2plleYNlT3UgYEAAaMsX8Y8Q3ipoboI/R3mrGRp19Zb
b3pPPU4CPEBnU9Jei1r9IZ8hBMn9tUwbDFVfQnoc3J+ynzHumb5AcP5jeTxMaIfmeFXvlQBk3/sH
e23Ycgud4Q5eCjCsu0AGryWn+qa0vhMPG7UjieCKyu6fHB3etijVeSpXwoEJX7Y1b12El5uDe+X2
8puEamcrq/CSdaXYGSL5cknzKizdf0IBXoZXB6vfrmJMuLJr92PMLkEhfrRUbSWS8OVgmvdc91f6
/HkkuJvx7hfpugnczRgne+kmFj7M2jygrzgEvsp2loGPBLoroXI5/sFptou1wy7y2n4Z5+5Gy82L
zhuwbTK1iVw+XIsuWjG5RHo6/fPgI6NUo90Pz3KiAxW2+ku6rt+h//5R7Xto8DTM7z5aXwYBTvWq
puiLEcsTmkRykzqD6tq4KfHKkfDlM9laStiy5Gn/S6fordCwSFnhGSulRI2Fmwez2vwvxyZ47/1k
3/uO2GiJPeA6mva6CyXWCtgdt+1i/paUhm+v6PODP6ltxSKASMdshZcOYCPvLakhDNsC+zUcMDda
ndhVbo5dkOmTPXiXtOcu9vvx0zIswCO2wtPo5uuwiA9RhfQgByNU/6Z6e9Vq7P6MtPBgl5mPMybe
VHV3GxB8tCHuSW3Cp2+g9GckcJeyf0SKEU4VuTt3KnEgux4eOpy8beAiSbOtn7iCku1m/hmnwdHO
LlwmjHHDvl9DBlvONn5pNojE/nlm/1IDwF7aLiMDcjYS0KxNJ8WiN+wvyON75N0E8lREN/GZpdjv
1k59nuaClHL5NpkD5hS3WZu9fXSgKEQhen+EiWIV6DmKbACg6QCEYbSB8JvdA0fbtWS0yXYj/1cL
u+QFyU74Uv4Nmkf7OlA3uX320qLast2swnXjf9d1de1cYx1RFI5JyAleWEhTwy/LE+NWtfi7dO23
M8M77eJ3EfYvfXAMrFsV1jezM4nBHQa2WrwU1HQJBJEm/w4nVK59f9Jn72uLHtY3upNIQSgj2n4j
XK5dVvy8Av/lou7s1wZIJGAd72sOJcOY8hlgOjb7HKwrDDQyWHejpNAe7z0qwkKiqC9NLcHUGe27
oGaXGuuX0XNxwQ/fqC7yh15xYWjiI8Mdca0ClHzGNP1raMrnwxdHce4edQteLHsI6pwKMKszkeGL
QDwoYh+roZvsw/JDTQwdHHhhpq9dDNXvE5XeOz5YvtJDY1TWVrbyPdHmFc70UH6urwZZ4LiPp5tU
ySVT6jVzJyaUkXEJKmcZST86uUrusyK7hyYqX6aLrGHow8fgJ/BjD+dGw7NeP0bXMveWEhPMlb8K
axd62THcWa26myWEzT4Z3iNpqW08pVt3sNpVCrKnrftb64tPIdLvxIU7kjsAkiLEE1P4Z6Ww7Gsf
2XHAmOHg/ViqvPZKu+SYv6vY33nwz8iBJSIumj5pw/3U+XTiGlvVxIsPk0d5r3iinz2jXvqN+2JQ
SIeReKe4pFTMgz2HIwA0WR6MJLkmqXweKtZCZPLKrZ+8O2P420zZgwXioZaDtYp1rdqC7wEWp9Vn
pgE0bGOEWS5j7xZkxUdr+r8CbYntxKjtTfuN0cuJvR0JuMK/jGP80Vo1KFgcQPGAAa7OLjKf/b7U
oIu4kZd6tot45bDNJ/dqxBpjOSb5+mOw0n+S1IQ0zk56TWAWaGB0e+XMLoCs2o4vtVP8ZT2vDGcz
c4lgH5rNG/+B/++34AZi+SjR4y6iKhIraQa7jqi8hW2BFhSa4y0d2+lAGRsAQsICW5Dx3eUkJvCw
zD1o0FPQoJFgqyhLkWOBlkQPNazN02cSlT9HyUOLUuq5KYwnN9Y2JYMeEyHwshX9ww7NfpWwL4Er
+xWRw7VO8vGkrAhqxLx5tl1/XSgNR4xV/E0NFqDBrRh/I1ZfQFJEmmcqRuqB9yvLDrsyy/VZBEiA
XvpWBi9DMLxlWvkY/eIF59Ylz9pPGaPIRBRFxZO/uFlPHltqv+cMWVieCHKvQjhpAhNBzAAhHrvN
ZGQved5teqLYtCo4M/1HE5CwSrOAqXnj+4RYdVfn8V84H+w8uyRSI7+v64+wZZGbimlaN4x5cetv
R1ZhzIzxjTTaJyFxLRQrLOCxXr3zaVEp883FqN5kgQ+6MsddHAcfkVqqYfKehZ+bq3n0hTaByrPu
YwresAm2KKMUZSB8ZMvDWD0S/lGiY9fq7kODrraWgMhsUTMDDQmMbNxdyHQbzO3BEA5pb9gpVcpM
vwC4dEAQ8zs5K9GWLaVT8qxZ86arRM1BO1CMNUE4wS5qxvzQqH0eWdgxSV4xE0Qfbs1OLqK/yVCM
YRYyGdihezEE9tbBYgttEtfG8j0+OclpaCHcGeS3aqbA70xtwerCuDWo2Pl5qj/XIJsMvwAs9Elc
aweFua5x+3vIYdh3cA0Y9W+0qfCM9naUrQOPkUkyEY7nDTxPGcokAjuXjZwMhDlkbqA6raLpdYKz
onlPjS2Tje/6PyOGm1xS0ynIX4WmvQI4OLLqutXBRgfBzjylA+YW9ERIDs4BXHWO9KhTByJkucfk
UlR8OmPjRdu08z6hhdoL1uO7KOi+fRCYtPPZU6uFIO1d72RGxrtfyPEy4PWxnb7alBMIG4XEXgl0
nHoPF5OOIMlpEgxnZphwQWRYjVfe7FiD4b/WuYH9AqWMTrJWx0Pq2We+NTar0XCdalx1fc+iyCqy
H58JI+Ajykl0eGCCnzJikKIQm5rX2M++VV4isL8OzxRCC6z3RTTt4hGPI97vpwF/CWgW9YCQkNIk
kJNbJvEpkULsTK97jmMTVDYrDc5ocMdtwpHl5pvECcYly1+qfX8k0KEsj04ylEef6TJiOlgTxu+D
2fhzMZT/VNHMnZlzdkKy5wjwW9gTcbltwD1vQsgMY2ailjS/dD19cBYDRQruIQKLFGhNGhlvrOIP
Q0JqtBli5lXuqxWOu3Q+tjRyY0u+JN9mCdDitLJV/e6ZhE9OrQNarRNzjnT86/nWp27pO0NekuGl
nXSxtKCsJb566JE62FND2HmDJc4WV5lDbnMGOpnMQNceZI/USqutnFFyv7Y7PDHrs/Z60m+MaZQH
YAwu3jfA8l5+huT/a07TIa8ZBWDo24wl3UkX629Te3Q5dJfu0FynEVGeUcQXFup/fAMUYENC5GRx
yTSyojXnA3T/gpdnzbxBbTITmb2I5QUpM2WSH61z0Ty7koyCAQnf0vAh+SCrh+tzSAwcbLGdnny7
OlmcBehUdXqn/tak8cPED0yX86y79r4dGTMB51oIn1kiIvUdyKXfMByfJ6OCvOFsIkcdKMiworv0
/qW7w/oCeB6L7jZ01J+L6AKyzfARVAYqJp27c1C8PLW/4j19DxMOrnH6Shzk8kmIalIj8TiV0VF6
Ml+B60cr3IhvZiW8Fj2VtDt8D1r02q3B6XIWDQn78fx5aMx/svIfjB4OpsZvR8w52vQu/IdszxQA
VBT5QRCzalbCPWKr5ujOUZ7Ce+XzImC9hUSuFmw0TqB0X0pJL0x3rVoEfQCHAKLSCbauuFlSP7i5
/Af19lmP+teEDDjMBeEe5CTfPji3qN/JlB/XbwhXRXLQXpJG3xRWxEMw+990dp564b0RVrTmu75H
U62jxeqf/ajBTG3YeGAc3LmV5VxYJT21BqEgOTlcUvffkC4azPFzKLTpus6AnQXJMerSsw3ohRSR
aaccTGxuas5ciZ3oYBvIqUj2af9rus2wMerxMIoI0xBHLICE55LSi5syck9zVdsp2BojkZSM45ng
Ofa28BK5prXHwp58E3jLlQrOc4cb4BIY4Qmx/TtkrVuSsH/1Kyvgk0f2zJwAzcaik+PVRQhu6/6P
aUXA2+djIcr+MgMJcPAz1jeIrw/cRag4O8qdakjfEsHTmgx/ZQN3iaX6TqrubzKI9HEYXNtsj0jg
ILirwB9u6wFrlIQHPsEulVn8/ximQtFMOJxtGBWUE+Stks5xCnD2kKPyq4Z2W8chna/6IhPvyM4C
NZ/vkKPNt+aV5SECnhwHLnkh/1tjpo9oIncrcNU9JF8e6gUlR24/Y1VQZsMOKEOrZnUY6VgaOVr9
zxZ3Qvrsk+N6n+SzPohFRuKA4t2p2Ob5IRTrZqeV1U9JUQ3V7Yj/9pusnK20YrLNxJFHdGkSDhcx
jI2lrvjrZonCnNeFslIfsSFbHA36b6R/6IUNkbUlT4mKnIYlgvYfMcksGBfRT6uAv6qpD7bCoa4X
99BGvDTWu4jh55Kgv31R8LyQGHgLB+fNir/UnLJsB/uC26PO01PNCjbiZzXZ/G7sqrsMnG2qRiuU
P0KqdwAcMa8mTj3yZmeq5ImTD213OXtvW/VwBD8PADzZ4nTvCHWDbtUsFSs8FGxDir7x/y9ASt40
rxPrSe/pnGisNFFxuOYAEvrgTWXAGwaD1XgjpL70COj1M7HL4e6bGcNqe8VwiahV6kAHEXSXA8LD
FQy4tWVBi+KYLoG8EvQt2l0PYxg+zPYlrSjQBYnptSBqO4M+wMfykIH/zIHmbEeuLjRT+ZKwvV/H
7v6C/yVjKCU0QZZCwgBoCeoXDVyk7dAOfaSgEZmK7bOeDh3J7OzEQLJO5V2OTxx3CBcL60dpTB0H
/PQNn/oQ+YTlWQHQIjgcblzHWyPJnscWp6Y/Az2YlrHiGz4tbYrWAKd+8dIxtBTA+GkoKnUSoKqZ
8UFV8zFN1iK9Jj0QCnDgLvm0MgCcIZVOLe6mzZOjQecMRv0Z5QWAI1NildYyvuhqAKEFi8SJ3B+h
zYjeyXrTbKSAQeia614j6j4WSh0JiVsEvm5BkyVwMS65AbUw+TbJojqKrnkYpcckrQMWqnKbGCGr
bdZFFyO+TCHG5mD/VlCAaK3FfdLVrndTAygVPzmfZWdW71bNLqWyNGDgdQ7LYMKtWkYvruXi45o3
M54CVQFCwtGw0ovPxPUDrtVhaSYAL6gMYYhWmKowkZohyBRW5TQ8HqxPH/+jP5063Vp1RXA2mvBN
9tbZH5AAt2N8CmSBape+q+nNl25APsK89ZoPNmgauOVa+NGrnAlA8ZJH6L1sG/4ismQCD8v4RdcZ
/49EiGEMBkCPf7iPJHoqb89AKl4iZYVF7mhYr0ipIIves7yd4AIiAtHaAtZLt874pCfRselZn7Bc
m+yB4Sh3QTud6oAap9Kh5w3DC2LkG2Ka1wmwJXnj2psfUVpTJWICtJuT4lsp0G/7wtkFYbw2XPnq
MpRqO23fTL5x0ckizRgTORGyDQN+4Gl0WRyo1nxKE4SVul28SKO+VyBceiLNrZ53lDjcZ2fEaD6E
KHx4eNn6peIUxXRB+pk0ziG+csvmQFuHgi+z4HkSBm94xd3jT9pvbI+nKq4Ax0/vuZY88F/WqPCA
PYphj3F9QxpUXFnRqjebT92NP80xO1NSLFz/6DSwhHpwZnlDmhLm4cy0bk2BfMLCe1gZUEvtwCcR
5cogkNmsjUQnTup2mzQgc9BxGxfkLQ/YLvvYoANi49mW9gceJKQDWAEggL80KBbwkcd/JfMu7pa5
1EONWxs/yuMiS3hgvHnp36cmFtnvONCPU5XvGWA9LLAmGZk862zQnkH1/Cs0tSLjlwjrhtezbr+r
qR1Xk8eNEpTPpMaiADG0Z29evdaIdD3wYL3fXiYdw0QqOOY70VJLJf2LMMurU3fMkC0L+bK6Dbr4
TRhqHbrgrWtLIoUsBKqSCDc4t856dKJdGkbICqvgFS//bwPOT0wRi4m1AkOx04RGcvsBWTJAllSf
+ajjQli+OMsZIm1X33Xuco9o3V1pYj+R011F0T5MjfMMuNXyqyvrd0FYI1RZ7mx2Kw48dmAbJhsA
wq2IMSNndoyviTHrF3CQ9NI593r0CILkjAnFYMsTPWg1FRwWjZup7MDSdxiYfDBHPZFnRLzsYXPY
CwNNRjMO6W50N3nvfFR9X24DL9pnZX1FcwVJxdWO4EQBZWODgGTsrea/2kKTWrXcem0fXqgGr2RY
HLvO/2q7/FZaFhFiCDojJ4e5USKYNlbUrBcNo5lblUet1xBcRuMT3vKbyKJrZh5KAzcfYVS/A7+d
GzeI7DocipX7hKf5rDXfVjO7I7UhBCeXXs3YfamJqi80WKDThMEl+MoQn4+FafKsqIOvIWereyab
cQVpR7q/jpyqJeJDYAknf1aeCuFdBRtZwwu7jaqmiz06DHjQMXeR1m0lgzumt6WzyUkZbHqAYH3K
CIIr2UzcdxZZJCz41fcQ159KZ9ZWZGCjWzP5Az/30nlg5OZc5UYkoMcxF4cxBkt06JTIEVpW3YfH
SxQGQ/QuYnRVxRuvZUZHhQeF0taP9VjtGRbVG/7qvW6jjrWHmpOmv4bKa3YMLztmNbm9GbJxryEz
XujdzPYPL85g96vcj15Mkw7f0eGFFjRyeWtijk4hrvXs2O2U8N7Evrg6zKGkoKYk0mnzvzc9hkc6
kBzWBtVvgmcY/fXwRpUKHciN32xHf1XG+IpM4z0NixXZBOArzMbZyByZr0j0Y1tnh2IMyHDyGKnN
rC+0JLRXHVrRlMClIZOIBewES3TynTDCwjnUXGPBVnMEmhVVrCqqgdTaaro7vIMr3wUAMXnar6cQ
rcEhdVT851WUGow/liTg1UeuhWOZWBifta+MfRuZRs7KS7qtH09Yq0z0JwY+ZN+hXO252WNYTs94
3Ne17VH7Md1Nm+gYCsIw49+ctOrlUIhbWKYEuUMH0KvkM7CKfV5zf2F7HuyRX8hIw/UY6uuR/A3B
4G5RxOLqBRJXRqFJNonhD4j0O2BMhCrfGSkOmscYrynjcaHi76yu/mEf4gNRwz8/HY5TV2612SAi
7ejfkOc7QCHe0gX0nv15qWbvvdyzt2SWSLpi4i/wthMSyNWM5IdbkoCIAB4usyP7vWI8vbYHAO/D
eEgN2W/gULjbllVnGrLIbwe5cwv3gXkrnTsOVMWjs46rjOX5NEcK1rba0BhVrPJ6FN1rL2rzNQfc
EDMmaSvLX9rVsOvzwTrkhAKGfhHvMqJv6zhFninpJlp70Tf/dwfoXfxEa1hAOYioKxs03nDtUvtn
mjesY/deA4OF+Mq8zSyZgBQ6OzjImRzEAGnZFOxKG8i9B5UHlsK5g+jHhYy9J4XLDVcPrNgbajef
HEemjYPhbU+CeTU+LmIdKtu4ukjHgjhtLqiU8kL3tqAuz9QjoHvH45CYv4093IDGvArpP/cQhyPi
plDOMi7wtXyFgTwm/XHEiOGiRpmBPYB/NxhfpoUgwAUnFbKG/y2aP0FSf2qIwGSG4jrC0grNaK9n
uiDIIV4PMd5LwL/jsq/ZYDKGCJx2Bj4SS97NRd0opy9y66hjaveADvpZc7Fgeh3S9D7Z4c/xqaoP
Hijzo3KIH0XUfYgnNI+9FwB8tt1bgGXuKWo4Zcy0+m2E0W8mCY54wPzked1ROBgvDTaQ8wcYeuTe
jR8yrVeVxOLuk1m/IjvvpM9eZ89jXqCtpXAKolQcGDFxdQ+DdGH5L26Dv7g1sPenbsrIjLecx0pC
QEZ4cfPT6jbzixaJV/s09g5TNWn9gY06WeVQYZ91wGW96qVRbFyHOZQLhcmj9w/msQCrjmqH1nqf
IsOsyl80Ez+ZRZB67X0ji3WJuBbUzaSzmqbn7atMsckpkhvqg50w4Ys4sIJQnWYbYnigDMBZTNsd
fZB+7DNxpMClZ5nqczAl574e3hs1nRrXuBpjBQ6srUiqcIub7TDhKPER9FWKtCS70otjcvFYWMU4
n2Ch1EaebUf20pLURICtCRYyhKo72mcE5QvTJVxGWqm6gjbUtp2amNoPYo1Y1tnlnX9JhLcNWSf5
dn4VnDClxw2tj6hOEfnuFN1r3pbZerSJGE2914DdEokgZLOivi9atE4BTPCuQXXumfWLIcpbNRCc
BBn8nBlDdCpJyuAPh8dRr6/mlOxrPqC404DmxgQvGfCWfZsPv3HAsAAYektyFHY8P/U8LK9X7pwE
4ZS0675KX/00uyceTRcLZXNZEwsFA/GhdLM9K614WMmDunFlOFnEfUUKi41RR8OpvemwN61A1+al
dm0Ewjmj6KHxGpTtFheTapPPqevx95fjriztDENixPjKCJ/4rUl07eXz6Ot7k7KM9Tm7zhymZSq8
BvUYmetBSZSRQxRUONHEjpCUNqY2oJ0mkcQU2QvYopl5Fj4NMslfBmbDFNqnQGX+AVmWfAp1oa37
CtwGV5Wzrkxkg1qePEGVkOASuUTzkLUY2zMwRtOxn8Cvs9bfsCLHs2Zo4assZuN0C+YiJm1TIw0K
qQGR9TTgCD2DSVBTdCnhAzZUBLa//NGNLfN3BG7oTVIwJkz5r1NT3awyqDd1oxU7ZbfRJ50aXIwb
rwn8BgYHNfLRVe/TR/qubhx4W5kXdqjmRZVuAxhAD8ce8wcGuX0Za+vZX7DrCqiA80vTEji4cQ27
u8XJiaYG/Od/7J3JctxIuqVfpazWjWxMDrhf67oLxhwkg8FJErWBkRSJeZ7x9P15qKxvprKrsu++
FyUrpRgRIMLhw/+f8x26NJlTfyNSBhlRTR05rX22jg2xduJmdqpuFVX81tXo7RIU/362NSycb3U0
fqld77GT7X3nRGCZEuNrckp6eGi2PsBEaf49SHnoR7Dl2BkwpCYcYkIbpZCEpSRlv80nQjCs1sM3
TogFinHR77oHWCunvOL407I73OudfKHi6ylcyYryBzpFmx054ehKFP3aML9ZExoATgvtbuwn7GTa
d0RV8cbNAaMg82dXxOprmC44NUBIExVa5CQ4dGW8tkusWJzTH6wYfShkXSqjYXiNYyu7RsWGTFlQ
DnI7daf/N5T0ezl2wIl2W3ZRUA2rlsP6VEzQa0LnDqYrIZHsbQrqT1e634MoNia8STxRw5q2wXLT
E9V31/rmO/JRbJlUMI4We1nqiNipE9OlRgzmJB1JzWxjOrySKRm5SbUr6gZ9bc3+22S36vj0tjo5
7NwFw4pvgQaNIWGPJlD9CS4X3YPsYC7tXVxoH7LFHBZjDiq6JWaKNu+TenrOF5lzigF7V7xFdprs
AsQAu3TIuQktGJ3YD25qeuehlrVqH05fOd8IvN4Vn5FkunRp8VfIf11cKzgO7jNT6hTU/I05gxQ4
rK6qwI3omh+TacAy4aQ3NTG3FC9ug+FUI5oOFHWuqlyeOaDDLALqj46P7W+vavZEgrgRp0ivGsFB
XGYxRCpE8TW1jSAo72qLOhHPMEyP+RGJUczgTa/DjKSnmemxkuO5jSGM2QWdY48a40CfuU4oO7JF
POd+JdA8gjw08umhzjHoLVBbCcJGmUGe/Mq+hZdVbBOT2nwTlWf0fW9IQtlvJd6rKbKvo3ya+1xQ
u8KA4Rbjq8FDP18tlY/6PvckcilMA04a02AHdB5ab4YLk0mK1kSkjKariP35uJiQ12v/jaPvczj0
+ZaKNWo+qjNR/G2gQJ3I70lB1SAL87vZirZziIbf7ATfPYLldU9fHAMRAg61gEqbvsXtveWxK3eR
E4T1jgMRfs3U/T72gM7EBEo//LoISB1sFLG+evQeoTQfTOm9Aq6wD0BK+whCWw33yHYpswCyvZ7N
+NvUl1/DpHIOJIyvc2SGuTFOJ5cHi5Uo2reyZjYdvxkN+7dIOruxDpJVRLwChQzMMMz6DjiaO2wI
IRWE16kmmTd4mxbxvevbzUTT88oK+SlP6RZG0t/G1bTPifAEbdF+891RbJIl+IiiI75oxkMMUNhX
7Rc7ZLvssIdCt/fsV+0xq3l8ojrbzyEBxkNhGrvq3hSRsctT7723HsyQ6+EJor+UAVBe8u8ObLDE
mTV+5D3eulYKzxvvREss4rZUhGelLVdmTIm2QY23LXpYMBv8jVpDDpnFW1lo7JFyg2fFyrWmCIMH
OqjecUShhmaem1DjXpmlcNYJ4BWFociOOmT7ULL6ubirK3Fn2/RQI3EX1j1tcTU+0lSFuJPA/4W3
d2QqJ3tEjkDOO6RJvQw/Yw8ZBCWPq3DsGEYZbtWwZsvWpvVVrVFRMirpR8nhPKXt+xBgknH7b67H
gWBMKJWqW+y+2i8+nSW/rl2a39zcJjHEGB+9SG3h4L2hTxyOUYjcxZrfEk4OzHHmcki029yT9KfY
cao2uDWFf+sEpKIVgb3lNcyI2TuHPQTwUIqciIjx2l9L2ExVEUOK5EOvPM4qGe7bIEfHSCSytQ0G
462MbQ1QKeic+oATe6bmVPDU9muwzovA46rKIynZki0B8AwS4MW8aQzaGGn5ENmHAKOmEX9rI++l
le/QrBKOH37kfY7edMNpGK+2Ez236vtl85pp6hQKVHMy3plstrZn3zVdsW8tOJBmkj5k8fBYL2g9
k9GG35IXB37d1cDZncCkGxXmKDr1PlkI4yMfooPIp+diMUDOUIUjFv2TJzPaOZX14BufWJBhGCfW
D/J5tyibHgzM+nh0BGpP29t69kg9BnwXFla2xIbaGg0KT1c3Y1BteRnUnThft2gbQVzg1mq/UPQl
R715JkRoMZyvYQljB4EwvtjKfigp5MKqfzKsnWNmjd5E4sCM8vq4OMMtmQWUJV2GYLxAahDTXR8+
sFN3N5ytFlTj4WouSjYpGVb6GEllt4QbGHIhfu17m4oJMM+i202tJ9e4778sVvHDh0tyl8slXleD
jvToS2Q2LlWh1M+irb1Uci3M5lrMFOMXo/qe+d4XSErPzYgSHzoFDOxdmqgvCQk+Z8Qn+RV2K+/O
ybL0vq7qN3PBjIuHrTr59AOHkRnVjRJrjRXyOUzL9EUl78H87rqOeeK8fZMMtoWBj5PG3Dnfo6ph
8gyKblUs2V3mw5dhToZ+qqiI0ZnS5DaFDad9RIU53Be5Rmqkbn/rFa7aj6ZFJabDQkweMZh1Ym2o
hJcHtNRYdErs8osTzRrI9eBafkyzHCKTMUvvmtX7OpmOTWrW2yU1mlNSufdNisbPl8jK+qjc2BAe
VnBnhV4OOL7j3/p0Ily9Kdv6m9Ydj7VhdK+m0/tsUhqbB3R2CZKeHMI+/XAz5EQe9SQ+rsuIAHdQ
/+Ry4OrbpE1+m2Us6oLWosTkiAiRlL15WAf23H+W5XCX2gq8Zujf+lUDoBx8qYXzbf6qZNuTDBSP
x97L3E1mOvJoVYJUowBb0Ji+N7YBSzPpTQrnvLotz/74wg7irUaUubcGvW6VpJ4PkHJROqG5oQVK
UWSop5GZbWmviKpXgIrFh0lnUwQuZxLE7aFjIyeNjlgA0IZPITP301jyyGnyopWm9MJzGxtS2q5H
OmOtzW2Lc8cDEJDtPbp9D0Q93cflwKvg4oxq53QGeapRjmsFU2Y38LeeqdRL4AuOtNTWxFSMCpFh
DnZZUs4fffyGnj2gM7hrUDJdTcLE1a1wOlSus6HedgByAOX6bAc2cZEFcCdhhXcx6+XVPBn7wk2e
69x4y/B/0LbHux53QN0bPOhbWF/7yQOmUxj0p2erO5StjVenh/TcWO5OOAX2w5kvMw6SrRUGd/io
kgMf6+KJV6oi4YVQgzmAjdtnW5vQyw3uOE6WLaQKspUeJwfXPS2w3sfLHWnZRgGcGB5a6TgPrYPL
FyBfCQVA5NVbvCB7CheX80/1PJIk4gZUuhq5EURGhsY154oDSu/XNIc6ovIH+mzpyEPkR/m4jmtr
Nc/pj3nwb5Gz+msneOxhK6xDv7nJAWdd2f0sN3kVH3yyE0h1AKrq+9mhqCGasy7b234CjG/GKCrM
4mQHho+WF7dkJKEEojysEhYp4MPRLsuzr6kwCCMjF7zidEW8ycqe8LnM0FvQKyA7r9aEwn162jdl
iZd5msF2Luz8MhsQjOt/BXv+1sa5RPMTvxCHkJZMoEQHrUl/cW4ICLfYfhmvASG+xgwpaXSHH15H
ecqQyTpz7fYepsu9JHa3Bzx6ZiaAFJeCZ+C4tCbG4N0yzW1qF0iv7OGpnOBjRK25RfcCdzibyH41
l68+wKXSoSFtLQK6Ve/AT0nMq3F0MdBZzLnTeH2Jq/6f79N/hB/luczmkAPgJb/6vazmJg6j7pe/
/ufpdeg+6v+lX/N/fuaPr/jP3Ud5es0/2n/7Q7eP26dff+APb8oH//PC1q/d6x/+onuR3XzffzTz
w0fbZ93vI7f/X//xn9HcT3P18Y+/v5c9KDfeLYzL4g9Z3CRa/+tE7+vX6m9fPpofH7++5Gd8t2Hb
v3me5wvlKlPxfxTvNn603T/+btjiN0co1B6u5wlh+477XwHe/m+26VnKtExlC1sRuk3vo4v+8XdS
v6WpXEwswrQkpSbx38nvti3z73+rfn7Lhx//+LvwTQHDAYszO2zL9Syp//399SEuwpYP+x+Fa3RV
QiKa1n4hvBiuKiMjcr5v4XBu8Grtew/ZVWb336Qg6yJLdXu3PhRTyaRpgTY3jHs7oIEnB3NYFV6H
E6AG69JNOG2w+g7S+e5r7ardTcGxdLrdmGInndIvrkIG0Jmlo9d/yn2GdzKBC820JS2/oEbN4dSJ
W0kBji5fK+ApdjcAW19hhC1bY8bB2xbJD4RqPOZbGXuYu2oxoMoJmZF97P4NYGXdVycHd+9WWDmb
ilQ8WSLm8F/iAIWbYyJQqtW8kfS4LSpI7JK84+gWZPoNwdNcBz8M0brQy9kvS5oPTG/NoRE2eZQm
9FH8ZmwroTMAqJJPDoCSK4TEGipQFvFbObbPpVzI6JodGrEgIYxpb/S8rvKKQ4P8A8jCU0W0IqGL
T9HsUTAke8MGOl7mFWvtzB8VTd/EejUrItYr+HtWJ58S03gdZn4SKViiajrVNj1fNeNzwk28IuLq
zed2ol0cSGNh38dggowI+mlJIbUsfbdxxfCc9c6mA2Zjt/ziFRYKjvdslThQwnPm9vbSP4yNxQzo
8g3gbdk4nQ1OtPuuP+HywfpHuGZKNQP4Y2uD3pSr4cZfPtZK/QOBwV/gLW/aGdhWEr05cAIQvovD
5VP7mgu/XB2dgtPlU0/ljzp0MLrwc9MYLXjjuZZw5ib3AwVXXMFXpv6q3Cl881vvoC9GvzuJ5Xx/
+lYPgv8X1PK2EMazb/lPIk7fqqq9htFyo3SBvTepSuSrRMRvo+ueXJTJBQvk1TKBcGRwZmjT8lYC
uw3C56hF1NzRaJnIjKM4SAGcwmJk8t2XpDbRLIrfOLhxkRQV0xw9aVq5X3KldvpOOFKBswVm2TgU
kAvQUjz48Sp0+bobC6eKL/cz2U7YQZD9y6fR6tv176akf07afyvglGMa6/RzK/70mEvpM2tYiKkc
/Zhbf3zMRTZRFoidz7B692qBpjPgBpp2DESMb1C8K8n+RzI4XD1mbKCBUz6vhTPcz6Difj6CnGQW
JHOMUdkiWuINPA7haQKTkrsvM/+E7gX4V8c7zKUPZ55HKE/ytajyF4A40Br1fyi5bVYWvSijh6rj
nS6XEgf8s36GrFjdEw96fxmOGR4CEojlMzJBxPQMlTDi6y3RRKFhPhiurjLxFV5mEZcsCdvUnWhG
3+XXUz4ZWTxt4eQjLodLcnlU2k6uL99LhvpupFOngvaccTo3CWa5qqP4bZmCzeKlb2lQfR+gNm0H
Ifaozvb6AstRnCQHoqoRdAC4CYY3dvQdvMNlGOt3rvSVJqEHXcXZE5/wdvkP+om8vGApGJ1zTMDJ
5Wm5/F4IB05hZDy5VBSjn48GOTYkNAabwkNFp5+z1BKHeiY3EMlLZ/Ae+pHRl3QZ7vVgcNTzMFpS
UvadAz36ZKbZy1Ok3yVb4jf9JmTcvQ4kOQIN+zBS5DLeqTd/YmwxFlAycQIqgTWPu36SUWY/xiK4
M5Lvbk0MSKK/RT1IY4b85edRhv2cu1XFiyyUDm7s3kR+8FTm8dmnGq6Ed0JF91djWni/rlw4A30J
B9sF8uE57i9DOqwdO4/n6tPO7OYAN3cfjr5/1Yzce311y7s3VeEKV+8W7d0r3EnmOKbaRV+9xj8g
sVxjxMMnHrMGEZL05PnRG0bhp4UF7DJlm4ygwZ67n9PaIfKM14kBE6bhMScEN+25YZcxSvWb+ahx
r1uMm7hETlDWGEuOesoHDVuchhUk+jueDyy5Y3Bj5BFMjICfqfKHOZanPCEuM64VjUKUeEXM+bIh
FjwOmIIu9znQy4YeXH81M/z5LioLVZZymB8wMrI9+f363xGuRDJZ+BlgAeQ0QNmbGCGkLvwNbDdL
Lgp9FGXl1nbCNyPhP1/+cJv8bAgdK67vN1pNtfqLC9Mf/IeNiQTQZ1u26VueZ3Gq/OXClnBsteCi
ocFV2OK06GctS4KnaZCXUR8W3L4lZp5BpU6W58RCdbk2PczpCp9kmP7wC2df8Uj/xcUp8eerY+8l
lXQkgEuu9I9XZ4SU9POq+sAJRnF1POKiAUJQs9R6MnnrDGZI3Oy3cUQaM5hNBIZsZvSUWU8tGkaS
6MCBMzqZEC8jM6iBJuulvgfWdWVVOru5uWdGgJONGwvJB24eKU59xstFke4dWFm+x5joYnm47FyK
On/jwaWmNN/AszurahRIVNkymARXrK3e+LSaelf3/WsNeCmL8TMwHCuffkbjMRsNLn/4wUPX6+wl
lz1dkCX7pBHbpsE2aibyFHCk0Q9XW6H8IlXYr3w6/q53ABfAt2PgVHbaw89dIMcVmujxtX7oGgoF
K2/2DpeRkhs3TUazf1j096Z3d9JO3tKItoRRsTReoHj1kHFQY/5veSr1rEyXG4hnCqWNeftyh8cE
FznAMIe8rzleI3ui5MVmoAyY4vXEKOap2ziTf8L4/tWRCVCvkHdMYNDT+MPUm5FWqH/Q8PofBNlo
mxmCTL3tigxgp0H/eHmvljqcnRY/6hnXATSty0qFUJ6w6+rrmKRPsZ4X9UeHY8Acyh6iNYBsXub3
bHxHx0fdWm9o1Ji80RJ5ytBEBF16SvUmQv92erZP9NPeoR8caDvaufHl8rtd9nYRbcDLB1z2gHpe
qoyJdiNpqirsH4xKHGXApDY05JZVMN86SjSXj7dSBmXX0YFNO/O6SgjCvmwuA6M4Iix+rSSBw41F
PKahV/7cQc9KTpBNvq4zdttAojseIC+s52I6VeHCrrvHC1sb9P7TAX241cu1HhNDUn51FtzLAXXb
VeotJC3mZLQaiEEVu9LLrme23sKhfBxjR2zmyD6TrczekVezpCYYPmAKETaMQp3DxF88s6b69ZlV
plA+t1lJabv+5d9/d9SxUIZH0dK+03t+Sq0Q2XaB4JCHc3IYL2PpPqmweO9VABzMUTSrEzh2nv19
rJzyWrrGc66PSCQz2JsiFivlLuNe+P6utP3t5SDQ6K2FDwMdPhkiYVauqykd411qjbA7aYcmzBpU
PW26xt6XuGiPOSmOq9gP0TgPCOpE9gmc7rPzsXWWZpdDDKdMZ7aYByvgPjInNSw2SnanlCSYFko4
JJRkyxvDdEiJGO8UdHZYHhEhwGLYRszPulVPz6ZdNWXDlUCLW2JFPziJ0UxXgE0bvGt5iqnPgVU7
wRbUwQngYLrTnJpbVAncBIno0qn6Zm9leLwAc3z6Wl5TtM+OD64fhfF7nhXsSqL0c4wK3On2Ndmy
N3Yp9qpK3pcuZ7bS70JP7RNlOU2z8XH0X2QA3pBQuPVQNHBFnE5tHAWdvEnsLxM/WpBdvnHqcedO
wwPmnHxl497p2hpPMqSMYMSAQRaOuc8AG4NQGW49Wkp/MXD0OfyPS5GybGX6picg+ViO88tSJLMI
mpbZv8XecqP5WVeu/q0bCaZgUVP1ItIaJMyc3Mp6mCm8Rg90k5dtDhMRlTWL1eAgVjZfjJiEqWzy
mZKKQzlPcl2wwBxca5c37zhm2JcWE07xJumot68qwWE7dPGC0ze1EU2JVe8Nck20C82ZejjWRflB
BfOcu9aAE+hmcb2NOSB4YmOiCPpQ18Agn1vP/kqOqFzzLYPVjIsX7EsVWvpVlWJcK1OZrZokuR8k
6Pslp7Q+Fn1J1KwxrEozPFUjo1FT4xQGKnsOjpGVGSuSFB0qdwaCcCOyDuTLFpHYTJ8K+tmOnQG/
i5W2GBnPZNRgUk7gv8VOeCtakIdtCnzfp8/uDz55kxpVHI7Qo8M5fzZQZyJ5JaBNj5fLuIj4VTZi
7u8ik2U+e4z67FOPDrS7b6b50ML+0UBIkkf1O2VTQyZOGWwvA4j+XeJNazGbEIaWT5QaqNvK5kuF
kmylQhuDNdmPJkYnTqjyllWZZNky+pReZayIQ15P7Dmu8hoBC5MbUuEoJyrJPtVz00MO5AlzlTrD
PZWE2cUvjogYiA0HRtecEARw28M58K4mO7ydPgKDYJxMfw2dT+n6L8bpn/YkypI+mk5KQ0I4nif/
uCcZJqJ06IG9R/qoXCBxcgbqL4KtiN7zXhaDy1EdKZdacUq7rXUmF85tZpUR2X4ijPNfXBJ1ql+f
HOkzsXuuMB1qk/rJ+t2U6xUYKcZkerd0hUFObMEtvv7ZwVAQ2ru4qT71llawZbJtakB6E67Po7iz
X//9lbj/l2dYcSy2bSVcj6qbXhx+dyXcbkUoePd+2QtxBl888ylwI6IE5BSzKepeOo+QFbN8KWez
2QBvBjjeENCDDYVGPO4SZtIvrT+9p9m8a3rPwaoHOYwp21A90sccwwokhDhXm9kuvnYOHfvLyMcO
swqM+DODgLxf9FaMoxVBITalrUW/O3SoFT1QtiwMmcIiJ2m2WYL0bJfosSIaWgZhtjy3f7GNlX8e
MbblM6uZAiWbazq/7GIbzyNncVJvQQxjjdS4fRYNHGtg+G8Gsph3loGM68q1eqpmGc9gpNJdbPTu
pvVxx1kowQ9ONZD+kQ0/71gDxOh6zuOt4bAK+q6Nu0MHE4glQZUzFRybtSeD8hdwmrk902tj+egi
kCxL+yKH4RTAhWVDD16spOmp7xu5syk8Xfs0KoWQxHZBNkoLfWmoyzKU4Ne073iXCDYY5NiNVZ4u
E5hfA+qPq+qxMZp01VcNt5vCy1VWfwnAh3Lc51V1yYNfKpIConWW1mLrJ0QTJwaRZXXGRKaQIrWk
MAZV+zWYXCYH2Zm3E823dV5BTx8x8qyojMa73KOtYaPWdBP6Re50vjzieT/Eu8t3SvkG+xnzwQRW
EhorndI8dAFwMKGMetT8+wFv+X/e7ji25Iu1mRYsisy/VHZjIVimZtAWC5VPqSfTZoGMZjrB6rLb
6EI+WW83eraaq8t1kM+VVUOH0s7k1gS8bqwwzKQtPH4JmNEurXvcDbTFGAwDMriVg+CNNEX+uLwB
EybVXCNeO5NeR/TGCTv0V6JvUX5BChurfemqh3SZSDAN+5sUWsJOLvUjIe0+w6tn4etZ02sU0e4c
paCnnHdi/uDud362wph5Z1uYyrGgoOrqzCu4eqxj2ShuFFr8PsTIE7kQb6O+RgMzYjLCP90EcEtT
/ShNtDCpuqSsYU6xmz2WPgEbHmYsfuAifpIkeILvQFU/09xBTObfJqSJrWN10+U0e8jzYYGhu7en
xvsaeTYmvGkmlMunX6bvxzQQkZErSg1zfL78oEpq64QW69XOfBAAVCXX7YzEWtRhj/oRbUni5j/H
cYSM9qocr0fnNZYEOSQQV1a1ScSfazB6a7AxsCBJIB9LxXkE11k1OHcGBAu48WjvLj816P2rlRaP
zTzvE/IDONaV113Pfk/2JXz+4aZCrM+JlN/yssaSBMzvE05fLQGBv5p5/eAS3AeklZQjPT4rJOdh
cwul93h5xaRvXGZUMF4DgEPALSz3q+MV824xBlgB3KkER/M2tshEYqFO64Y2WGzeG8n8A9m+sb7M
bpf30ou54bOtpKOJwZYzWlgz8ym7rGh59WeCB5H8pSdMJdyCRPchk3fRk+2a1NitIngy2JiaW+rx
5IEkPG70Rt9Gx2WvCGUM0Er0qSvj7D7a+8tjYAVaUj5ZL57B4E6SEjfYyPcqM7fcJDZQ2n//KF6K
q38oZShHmALntkedyjF1N+f3a0+U0+rwLPN1+pZ39BAAGth4YGOi7g2s0i3KDpSOrr/JjfjRDsxz
VBJY1Cr2h4ygNztF75ubsU3zuNcSPGo2q8tRg1G5JDR0a4xooA3cr5dHus5YrGh2Ms2afLElRpVo
6V9GCd7CVcjiFpY2VHpYSMBa5Nm0ykTwvtQF9BeXLE8D0NVl3sWjigNNIZaPMv8q0DO63tBflrjL
V3dZwho3OZb9+E5wB//eAE3Ss7weRPHlzipF60NwiEwXhv7lXQbc1wsyPMd67y7nnogdYoazbWUa
nFQsNjLX0REdJbIbfF+XIeiG3hsBis2qbpitiMsjpxrC++U8YdY9O+Nqa8TuN6bo2zTkRy7f4f/v
e/7rvqflM07/dePzFIPM+X3T8/LzP7uelvgNsZHnKEkD0xaOojb7s+lp/kY1D5+awnrK0iQ8yUaN
0DTd2rSd3wQ1cse0HJ4Gyav/q+tp/eYpD7qHsG1alqYv/ztdT+FYf9z5+Lak4Wn50oNH4ugUlV+2
g0QxsfxUpDhBFq0MML1kcswHacqvaGHDNYzC7OzZL7ho1Sqy/OrUFWAHqyn/EHn5UMpCbCdhYyEO
jbt8r9rlgeSQauUuQXOqcIYmgKFTxDvR6M2brozvMW8r5CURPvG1CXfNIABmb0l7ua45Q18ZTo7l
2pyp/9zYY7zp+xp6YTBypN7EjUMWmWw3cEmPbUXi5cIBxS+r8H70OEg5Kk73RSPMU9o+W2ycTKLs
IgHazpqM5py0Ethc5A+I3nNjDVqW0zcF+Y1Z1uhjRdLs03G6a/LkW+0H06E07eC2CHiYQ4dMcL+4
pjgbgbIX4yaXX8N2gVDR8Ae5T9d1nAiyHXGQhJbB5s2M9qi6ofJiLGmNbtnUINvRSH5BlE9JNI3G
DWwBusEmBFzQ/mwNPQ0THaarbib0qmqimURAZDIG8Qq9RZOqzNJzlzfnPscCXizBS2mpQ1CXyTGs
lhU52sOm93H8WBERqab3WNUy2UU4tK5cfCRrSoP9bRPQju6z6GlQqfMxwZoZRYRpZmEhhDA8sU/8
kU6iOyDYb8/zlG9afPSYPF8wQBjswG0XbpSzMcdcfvOHPt0mIcmYkEoaNhDV1QSLbuuH4S4a3OZB
2eMTpo1uPwF1ReomNpVU7CiBq27HsI9eFtyK0ZTvlyKTG0LGEdqmbg1DCNqfibnJaO0fqIdjpnHf
PZXVh7k484aXb9h3q503l9SSorCkTjKSGd3gbDCG5Mn1Mm9LbAR8Yiz2rLEAx8p6QicGusKOZn83
NtnXWbsq5qHDh1nM86awPDq9DeFI6HVTWgQMDhdaVAK1xi99pPe5t+9Fe6vmKthmmSyOAakQW1Pa
D6ObsDc2JaJyHmvySiwYxIjjDlRxZ8IfG+SkizsdDRBqx2oALlOITtvooImlo73z0mEzuhbu8l3Q
YMIa0zk6zJm18gqDRSQp3O1cQNICJjMOt0WSsotIezShcvhhgqeg5/XR5sI/KVp1qB195y7C/LIh
Zx56RpsdEvlWW519y90PkUlDoCAhZVzsL4WNtaJBOQTi1X1zBPtXEUSfQeY8hZ5Cjl7hd8K26ZMj
hh2xjKzoWCzTR8h5ELme6vdLDEZ06aC4NklJ2SU7VUJuWkhsZDOi4DZbwCJpHnyb86zchwlH7hzI
FikrhFI2/T5NiQkPwkZeeU2s88nqnYiSJx+pWSq0qT0Ay5tUqrttywgFOa1V2t5JdTRDcSSvjOgE
b9mnWJ79ZOdN0SmvvYeBfKiDbZbImXl3FK77MM4ishCH6LSoXtLOqcFpWumuXfpoZ2nn9sAYtZsF
BJvfvQf9GeD9GldEvHH8sALx7UO9x8inSCu0mh5jk+/364hnaskccL4JeAOCQITCI9wi9A5Mv762
v2M9Qt2fCLKaQm9k9PGEO0kxb6aC/JvMkBpNRy3eq6ca1nvobePxPYkqUi5Dck1jm3Ry593LumBr
jcHZD5f52PjujUHLb9dPc7XPa+clNbCF2RzucTOWfBRxCrmJLqyKywfOKGS74KRXVp+++Fgv12O9
mnO/O1dVdswjNts02wJ5FVYDKEfbllvHyddYQaJjAAT7yt6ZOMZap7ufqJ1tuihBVzssiOD4Fdjz
UJMzq2hFv91Y012rN3M/bUTbjWeJ3+FRGcGuETHBNrRS90aiOEuk7u2iMTPS7A4kBoXIaD35OLud
fIxgAdEmVedCLf5ZRqCGeFRXYqb2roIGmMiUPqigC85N/CVO7y3DLc+j6qr7+6or8vuxPIasdocx
ym/rpjhSBEzJn4F+TLXd3EmM2ohXuvvLH4UMsX/P+MRYGVB4OwAUCJcqyBMkQDui0xtGGAf7LeRC
cRh1e3PI/fJOhsUmVEv9XID38BPyBUvfp3DXRaQlShh+3uh/7xe1xxQMeYXPpplyrNQrk1dzCsUW
1cS09kcb14vLFjVMG0SyHWtfnImDYXirxu6/VxyNgNgF61KXperJ2UPL4V4F/prsjidriR4bnv19
RW49/iwyKoDCw5z1cLe1FvOxCyX3tuGrfnLCTltyXuAJ9i0CRH+kpoFRBQvTiFSOwOllOy9tTa2j
x/jp++0eIz+JBA6S6TglL3voOVQGYMuvwaK1WFV7rKOjxemQoCU0z/VxAshAJhJ5k7JHQ1uqIb1v
UfNsVG2050XiOeAAA2rJPuO9hwA9CRLJMrEukVFuiYMFl5LFj2oo8Sx2wXdvNJt7s5m+QaX2aqM/
NImCsJ6qz9LkfDNqtGBpGD/cJAUIHIMZK0gNWlMFIPO96ol5dKynzp43UG4eaui+93HsOefaeujs
5tax3eu6dtonoZKv48hVz3UBsdbeToNInjqPxUJElvdGXNgmbEb1ycJ2pHtg3mQBV6/cQBOqRopT
nAI9g3vX1cN+KMnMDebYQiQPRHOarR7WR3NEK8XZ3+b/LW7AI6h9jnFxclrXOLhYqRcPkMPoYjax
yQohTpHYu5oa+VRIJmXcGWlsO6hv8xsh/ey2qfB10Jl218rKfngJwm2dl22I5FuqhoYNiV1uAnpy
aG9wM1uIrEQMG2CBE9y0FNT9tlV899OxE2DZhLtx3JVtwSiIFvPFTViGp+xlpO6xSYX3YXpdf730
960RhDf2HLbbSTe8UcoCuQ8FIvK4bTAs4xewe+4GBfM1xHq3zFGLqPSRoqw8V92xFGQ24rsiaYXD
XFQ8Fqr5GAOrOqaASEJk9Hz5QOgnV6w9hXwghTttUaVaHJ4XRLGrfrKfR7OaTtwvuAaKE209o9AO
hLp3M0Tf5J9aUUzWcG4cwLviyWz2ScxeqFMwyHvIAOD3j6rEfeARjTl/BjakQfg8RAwut1k1HS2c
Pn2IS8wKKVvX3veqM+5I3jC+jUnkIrunLkjL6SBapPxzMgzXTmrwQAAeqUmRvsoIjK7G+DiFxVkJ
9VQF+LcN6OlzQDSuzxhh6/HQWsazo9p+BewDxDC+MAtKRejOLobOGwgABKEI5zzQXZrIrtnZKpsB
eVJFpB6Lpk5xu00cBEn10la7zM9/dGZjIYgvMBMNJfybsu1v086Cr5pwwoWcGBgLGnnLtDZN1e7Z
ZZ+qmo8hEIUNLum10L/N4XYSOU50utaNnREUA08rzkEvqHLxrjhRutsCfZ3830yd127jSrRtv4gA
c3hVorIlR9kvhLt3mzkUU7H49XfQuDjnvAja7oZbWySrVq0155hs0CShj7cuK8kUX2jVmGOA70B5
mG2iNIHHUakyakMX7qfaZbLbZBcFLk4ZxdPDPHWFkibUVEx6TeqHqcHa2jSBepoyzd/jDjyygmNa
B5s2DL48dmygK7xZ4M8FiHZLt5hvlDqw6vSWuMFKb3CdVRRMm1ExImpmDD55sEtwvLxlADhTWIom
oXuruhlq1FbVpSGRLFXaRLQcUmd9EVel3vfk20gFUuxEgQ6vT/Tls/apVYj9bB0jnzG+96VOXeUK
mlIeoWeeqe4ZFLutnrh3uh4xk4SFY0bm+CplRL3hmPdZGWSn2F7+FEPQA1gBRrz2EwhLumqQmFfh
VPZq7fbo3wAG9kZUhYlqs52niOQIAgNJYTahlnOW62+0pMYny6I7ehwmvEdjxLdcx4OJ7eXBmmZs
hOZBs0mgJxF9uKVXGS9cezU390xrtrHF5XG96Z2oRHtVpM7O7w3zmhjGcIgspPrCDttWfRMDQLw4
Snc8QNCTpuWGIj2Dhp/cFxBES83YzyOmPLdEslpP1U4Yy53XEqHse/BBLVJaiK90U8AC0LIc2s+b
VPIb6jjZBmWCB5XABI/GL+NyC8xSJmlmiD7l0GK+6xMIz8Kv97S8eVwHylMAg6bTvPlpJ3a4frRj
kiFdIrGz39A9QfGUt6y5GbmjMxlxhffc5/MjnyvKcIwG+6iaQ3DbB8cV9073kFEmTdi68qlzj7rb
HLpaMZlqx7fEtYcjsi9ro3n1j+02RNC41Guls2mCme+i+WjgQNLcSeGm9qZNBhpqCvgrtw6WudY7
yWZyhFyTNQwQIyAXNh44+slYp5Yuqx9pdjeprHLf+qFDINm6Z50kAI0snmj5+mIsH8MSkaC3JPjM
KDcueeqwTzRx2I7N10TewS4C3+xmxGL5zh33LfOXHhp+G6tzgWV/mww4GggfcHuw+HpHANYYiJ6W
PmGLXTzAPGibC88s4gT2ISSdzqFXagJPGP23DKgMg2E2+sxxT2+W65gV8NWH6pV0HWD3rC8vWAUJ
hCC5hX0fKUHvG7Q9XbhHsYPHACu7rjHLKXYisXz2yJY8u3hxHiBs7iVFrq2DfBV2judaR1zVtXq0
h8P9XDTWP81O65fC6l88DhxNYIdCKv0qAOppTfeUxLYXOqOX7sqsedOt5gOFjvEuCgyfhiBzidWZ
SitjAg/XKFkhSIh+7JJvzPYnYqINihzIj00vqco98ksxjY01+3RiYuTDPz6IOT50jDr7AEOiBz85
12qwDoypgXsd7FSGbCTjDVX7ePA7Whadg1o88zJsJxHR3nHyqpE/ciTKvocap4pFK008mafBbU+9
F3dAqU04DS1OPNxijFJkc5ZOE9Zmey5wxKT0DN3WisnXhp8t7k2Aylbq85UcDPvgDuhXnWxY6bJz
Nr1KylOCQnnr2hmdfNIz1l4OCnuk8p270Q6zsXvm6LHBTuttROCQqRpzbGU51g8ybW55MdKQICZ9
O+pF/xxbhQ6wSx93yMoN01gsnfwvZNIjrExcqLHnvZiiZ0cj9E4fLcQZrnnTR/+jU4Z2CqIkupam
gko9wgdO6UPMC8M0kGTlTUIcCjcq94CNOOoB3pqdjvoKWMEQFN4aGeB0Ei2ISuz2extwGsgXRkUm
Appd65cfBaT8thbJrtMjeEYgSDJnJhN7RpiSw56C+bEnGEhBl5rrExFeE3cpfqDevOoi7o/w5vsd
iD/bcd/w6d7KMk5CfR5/MklmNubDm6W3r7+H8d8XIlNoRkmDc93cENGtOSE8i1vVc6lKibPGydKw
KZoaWOlGpeKH3116ndr+/mu/L8nyTEB9i8mQ7BfOG482OVy0tGP8NEOlQzjKraOFDZobsiYuJ06A
Zlqoq1SCHB5McrlJ05mAZPDKut/RMyhJPHWTp8n8UBzh1tqQYR73/0uCzDwvhOjYlPekfdY5fews
4T9RIvqXxGLPR2QGfgFmP6k8JP1lazWyXHtDhJN92ZZwhY3DpO8GWD4rTbDGlpFBJGnAx06ZFPSR
dTd84K66msMiYSHPXD/ZT5iSD5EMPrpG+1aJ9QMxm+LN0G4tTz9S8gKAYvae5KCMQGtlBmgC1ArR
VihRbqICB3iMFcpo5HD9feFg669LEQZTBzm5+w487TC38fwm2Ifksrsy64ZWZnsn/oEfJ5PNDWl1
2M71+Lcl7ghVU65DecfZNyhxBEBDxI03/FgjG2jMPQhpUYIsLHOEKsNw4HGKdHjrnLVl1J5h92gt
lQtU9JaZb22fhe6/jwjgYDZCIm1Bt5jaC1ikRzW8Avt6Ljv7I4uDr8HroZpW3K/tEqEDzNRX25JD
XYKp3lbiibUxgWtR8xl78tJNtyFeZYqfTe0k9fjb76RYmY0KuPxkxk7xsKczdxyL+QsOs8XSWdy7
5fA+rHGvCOa5/h9bsy4w/YkbTL9bSJjlqAOykPNx8oeUI/S1z7S9xVF3a0bWe+Wpf5FNIrW9pILM
OVSh+GeIXRIjI+3mGOqFTvS1BC7SYRxMXILGFeR+94xi7YReklFhj3lAYtHDg0A3B/dAaqCiHO5j
a7zVEYGoolsGct6MKrg/5r6xb1BkjHH7kwfpNSn/gBs7uaVz0mlSWXB8iJt+Sm2+uaRKPxFInSaD
qj2hU4igxdyWHYl09fyGuWyrvJTfwi7JTKsHIpziCt/GEVFF3vzhyu6pJXSL+nHYR7gnCrf9xMqI
0tCBzWtBVXAMbVe6+hf7drLWTBR7QhN7rD3OFkTmXy9oPy6gvviC6XoiaLzmqn/y04F+0h9Xnw5I
oAgqIhPSKMXBtx1g/NOOnjNkFpLUZUxrQpcn3AQZ6934VM6M6fwy2rXFd4zbFNO2pEWHYnEkS66I
CS9DD0XduLhnSM7bemb5XRviVc3ijwTFMvIscxLqZrG1HCbNJbylGTG6nzknHKJqlY54Iy1GmwWH
IsNlagmZlRZGmZwyVzN3mNhBzbNvKUezsUkbzyY6AauH319bf0akXeuATnG+KPZ7+1ul1dmu6p7U
x+FmQI3VY9IMq+RVTXx5MrI3GWEKtK98BsOQSoZ0k3bzH9IEmOWOwaktp92QwwwtmoRG2bH2iDLP
emVtRtqgyiJ8ciGVxJ1xGxz3VbVvHHifKyBorsWwzSJfM6clsmbFvdRL3I9jsVrM+dAuc2Yc2dVM
Xhzs2MH9MkfrEDfWV8zhHNDhyoT9lmXTk5XBGiZWJnfzO73vpx5VC6gM7V2jNK6z4NQoC0pIxznH
cM6Ee16ETIFKSnK+hJz/WGr6SDqPJCkIXDXzWKiO7MXZfMjr4YO4vzApHRDs4x+aK+iukCcjWGRC
OSHjqhVXx0zSK1oeRKKVOhm2OKQqOsfmMrSuhRGagr6LM/Fp8/bIwgqvvAXkHbmQLF0rZDJyq4m7
aAob/8i8wODcc2d6CIg4bUauvrOJzQKexBYPMopoJAUGTj6JJP+QSXwOtPzACP3qsws477pmAUTN
r5myngzqnq7DoAoeWDoYWEzGQD4sj4SUtU2WTuBWmJrO9AVmwJswLyqqDHoKrnmKCbEzkm5PftBi
HZn/k1aOUwX9lI9hHAElON2eNMUx5ASy7XBQs62f6RXtRq//yWmYrCcaf1nT7qtuyAlE5YhIq8Mq
4IE0GzW5XzOLdqPRDVXG10SO+ZoiQMJ0nil4862uiH0ZtEsqmh87qe9xa9+ypD70cXBOCkJjnaXF
28twoPAvpPkpGv+VZ2Hv61w+O5qA0VfupaihomdC2ysOHxtqxedBDd9UOOZmsRyuGlo19JTmCaOO
R/rYnH0afXv0KA+i4jUV6haXSQIOaGWhtFunYO+z0vkMuPbjmF8ScqqGLb2ve4zNPA0M66WmQW3a
tBaZ6mOo/siL5jnXoqPU/WOTV+AEJL5h6XGibp9Mazoo5oubgqBWpDckb7bukxswPiB1NVOCuR3L
iAZPVgCzWBSPemGeO90ZV4ZuoRGlWSin8jULNAD+gbNKRXQ2tJooF3hhAu0iZ3RWfbZP0qmGLo8Q
OYEks5ncJf0z8piD5w4hq6FNpA34ysK7wej5aK2Z83r6N3EJkWWouCbQYadgwciepLY0YN+z40ft
c9LsuV+blHGhsP6TnPl9blmSIf0Rnl9t31qkt0i/Rh7RyAguBC5fCWUnLYPcqJyVNa2vQ9/4eyQ7
dBIqMmyCUzFq/M/TbzaoT1mS+8qjuoC1TPsKOqZamun/3C4Y98vWJTxYjgndnipmexr1lgVTeK+O
59KdNkKYcOSTVN55Wau9QjtjaH9zifNjkvFDeNJPY9lvNbliWw5jodHpR3TBzxlIn9wfzXWmKOYL
C+22zgJc6OWFO/+1oXqg/r1LbuYRI3hqkals0npR+gjC9eb8usK7efEQxfDeg1co4Kuk1//68X7O
z7qBACMuzj0QyQ3gljwsP5A4f1ozIXCzmvfTrF8o4HaypC9UlTGQsWFkoY//qnb8541hMb2grzoE
uaMTIqU/G/CjVUSxoAZma7UiQAQEXotAXxYUIYXv0arM6hOdXfr0yjwPZbcL/JavUr1O1vPQmWI9
50kOKr9c+Z34CNK6XTFPMVYtx+Vmyf3IKY09M3+J4+JaIYweInQltu6es6b+GhKR7oD4w9eLzfqo
zdBYvBisW1QET2UBdPTsSvOJBNw87KlA62D+QLH2PWO8JT6q/cq65C8Z4Ez3nC9ZzAyFgDl1+cHo
SWeaREmOfE5ct0MbZfS/gj9qMvxdxPF45ZV3c+r6YxF5+9QxvOvvS1UjI+rt7CRxK0NmpYdsaAXj
tiaHQlfBGE2idNx2Me2KVNHTGkbW4yW7Ibj+vkSWta+Z8odm69/S0VDboWfZbr3cXr3KMQJAQnri
hthj7Bj9EC300K7c0cQw+o4jCiM3fDsK7EX6Qz/Dg6DosFIXjClj/zqWr4US/kV4wr/Ggb3E2cbt
hrDQpimHY8bsYbCooktNMT8DHNJ0rY3uShfbpvEe/Vh+GDGUcVr3K60ctV3sp3/U6JunrKE8KLUF
/GZk40q5aufWlnGuycuuVYM1n1YdyR7jgomiDagq6huqkhTOpAp2qlgu7QSVLcEPQswqiuaEbRHB
vAEBnWgmaQ5PdkaGNlA4Ql7NGldD3uyrtNmbpiCFhIEdLCBauWm39hRzaVTBcdCCfEBCuBdt1O9w
KLOdiWiZfGrPfvsPSvC/DP/oHl4O8CDmuh7Di9wJiqPD6XOlUiIzxoRmv0W6PNyedtW6EYCdKQMf
j2HnVMa0lbrJoy3UsDNl3TMEQlpq9BOi+N/oC6j33bytqqU7LqsPpcmt3xrEPR7YPn+kJ/pQdATW
TuRSFllqhZIS2DGh7ps9qmu3V//l5hINUNIazGJ6QkXOaY+R2w5YZY624knT0YTRByZHvuf4Hjt9
WDje3zKL/gYl50NyF5pXvGTQEQvrQq322SJR30UGysOUCe4psuy/ZGI+w4+FmEF9S3RpuvWhz3lD
lT5r/nNAQQ899JuwQI/s2cjjzN5p+yIrKZ25GfFV8+g02rZHzjq4WXrTm2su1FsqB8LViRsw834E
EZqijn/TqsZ8RUWF4DOvdorECQxEsO+n0pzCyV/cS6oLJ8X2x9Nsboz8DH7IO1bC1bdWcGgq+8se
m39pIaytbYk95ebGNVQoeqCl2UQV43ed/+0E7CVpaQDiItUWGPyDIKB6E9QwR7sK3JwHh5KIkBcC
qGE0d3x5GAdOmaa+kDSMuJGxJNbFbszGBrensTIaJPFFHL0Kj7mHD5hmzZKOFUvvxM1NoNNK7hpf
47YudCy4FJjOTnAaiKu7lySfgGPtK8YpjblrF+wJfGp2aHUODtpfp2//Q6xLWKiWF68d3TAeMXJm
9wOJgQ6EmloXDFIq4IM0gkwjAMoyzRfu8PtA7barqlGnXjEqOqkRCmDAmfeJGEx6wdGH7No1QsFu
XTY3JpPaK4+yQUTFfEnoSF897o7NZLovRu5TCkbaKS9mokCyMnimL0d/aHnXjdDeETE8xX6kDoTz
XjQ0ZcyRJrAFDdEGy3PYyPivKEmsnmuyiNMudreeFVU31bRqO0/sVZbe24d4tFo8ZdouUPN4SJP5
VPl52AZRtY+o0bsClbYW1bhnJXVpJSOfEMsSXarQgmOU+cw9E9KQINwQlFGq6TiqPj9pmCv2tq+c
i5r5DjUN/Kk7W7faFMYmMC3tJeuEWDPhRjCrJ+m+F/HaVKhCKtX+qXtL3L18RJxEQztJ/jNm/VjD
g4emtNzGeDMAAawKIszfUOzanCDtrUnR+Td1kB721pi/Bf1RmB6jGmI5n+nEFFuuRnVDmVrRGmrO
BDJzLvCp8QOhwz5So7F3JzM/iSZnMo4S8VD2VA0Mub56XxG+iHr3IpRGGpwrrStmunRnjP5ws4c6
23ZSF+C7gKiPETkVnVe9RnKJkpSKqFibVCetsCyS+rL4E2YwZYojZub0zk1wJjpynA+FJXoiapx9
1WfuP5dopwhi0YmG18sM1QJw8XuCnTdBYzXvoLPQZorwxYiRpjRULgzd8X/WlPqfcU7VMwVG85HH
RL4p5BAbP7KjkDoCoFdc68+zXsVbOYgJ1pQPbK7uj74VV6fKIVQkMHLeQHpxHEX/F30N0WrZgUP3
dmgjCRliWpYCdEoRGX+aVc9HKaf5aEw1SXotphw44qffF9dAQ1xCv3HK175mrxdjQ6IkUB7ONARD
LbUJXWPd5kbPLP1kmGvopUnYALfJ5rk40dX5vy//+zPhOt96Axns92/0CnYMYtpLgKaBQXnhR0co
1qTSl2sExeUGm6w8kY8gT9XysiB1D2XjbnpAkohmDbnxE3TcntbXJwPdBgLWkoqycgtzR6M75b6F
E8VowG3i6DAQbz45DuQjuMxai1QEAvH+98urqmAb16W/b5avcp6cDqsayb0yjx17rzlOt0+jPkyt
ejrFywv5i8BJ9ZfZKmGsTnYAb4x3FJPBsWM93Lm6/m2YVnn6vUK/735/d8ZMW/GX/vfPouUSkihH
A0+3yefSq/SUGlFyGmYsqjpnK5rno8MBG6WsdGxa3Mm/ziXKnGY+bQTTSE6/79oaDqqftQgVeqLW
9PgsNR3dMU4i2f/1YYLjZYt06jE9WCN7IkzApsr2B7CkpuG+RTrhVgmAATu33nRs2TDxBXDs2UKR
V2U4rkXOUShu/Oz8+1IujcVs8ta9yboJyILphU7P3c+J6WKU7jvZRbfsYuVonrWrloO/Dr036sDK
1dauMziE1rWpb7w2yFdeC/czIMdbuj5afckALYRg9IMH0T0PDTXr77sUmPo4mjSkky5bp7H2iCr0
WkblL00pbzKPLjMgJoYJg7wUub/updeKC7ma+yzfEUFxpxXHRAlSH75Tpog8/ClyJUmgR4nfMSJU
YwPp/i8xTlenH7Ow9sSWSFQ8L0XNoW/sz1Zh0DiyYW7niDIZw2jus9c77UoKhiqdO54S+NTrBfFP
1Tb/UbFR0PRoi4st4101dPGRBsRw7plUg5eLPmZfHEvOhNs49X/i2rQOXYxXszfCHlY5sVNNwbRL
b0PbWJwg7MOflStOhN7Fr6NuTZcpoWM1yA5dUV1X/MGw0iD70t22UzjapXio4Q8WX+fdc7r64nk9
AfYtwF1X+iSp4gLelksyQTMb3poBq3z08cj5ThOvULQhMTQm0kfTHh8owOftnJb53sMSsPzNroPr
4IywbWIKNt2to3/ZkHwErjF89gViTwtLcTLX05OdFDPBT0WxozsZogExn/KRobBHT2mRw54tc9Ju
KDBpUM4EvGcuTSjVnug7k2XfTp8pw/EdaMbu2KLGIQXUY4Q/mh929O6Uo/knFVTlqZTpAY7ks6lH
ztF3CeMFV9WAYmvsc0T1tvczjDsVxuVtmcMH74quX4PRHf7a88Ns3ffE9+z3DNH7qi0fllt0rFrk
2Mx2vje6gR6a32borcYca3JGMQapFnlAWMXxn46AO5oeRDsJyUGnhnpyqG5poc/rRGP5T6GEb80e
bxBC1Es7YKxKQAfSXsyh0bB9GtTlxC1s1az/xEM63qxMM0514fqbtkCWFMv0q3gyPF/+yfuGHkle
xIxr5+TWQ4CAlGgEd0RPcE0h7+GeN17mEZyEXDQXmEx2hEnUbtYyX/JPXtwzsvabvda03Z3BAII3
C9jYsJBkGng+u7Ql2CNLKkzFddn/KYAHOtDGPqVwqh1PAC7rISAlsOs5ArfFP48YhT/uVHAvTDMA
tzYYNmT5cF5UGK4H02w2kePLMIbNF8pS7ehzyvVMp+QuE/3AFlK/ZVjPTrKp+40nhvJrGIw3P2rv
KYHoh3jQQkJqFzZ19S2TD3+OejQ/M2EkdE/ZEJf/tkgvY9X5ff39KXuF4KQbP2w7+orI+96RjyEB
qfKCK/RSxEEZllpu0sv3kQ//z7vfnw3t+BgTsOhDP70xSQkuGnkIZ25jEEbEuoCsji6/P/99N9pY
yLJSkm6ZwocvbBGHv38QZEZ1sdNjrqzszOFznc+EpbEtdZjv/fgS2StB05n7NJl2hIvTry2SLdHL
3VUNPmB22n+I+4pT5Aj7mNjMZYl03DAoRHRlObZOHTaVV7Rk5bWQ4KOC9HmEqBL+/rhY/sypB4aq
/YQOr584t3Ju+/156pFF/fsuX97hWvmYx+GWO/AZ7aZLr78vc5miwNJJx2TdpqTLODeLYSPwGgV1
+1Hjib468BqupN3+/3dEj7ibxsCH6CePXCR3zMySGskZAeqa11HvaONQMu+ShEeCdK8wbyZcv30R
h3MqtBcAG8WJens79ybtkR/GJyDkjOGm7DxENGFsSFK70gxVOEWLnWGZYC2DObr1OjHjJcwDw5LW
KbURE/WjierBAfHsGA3+2ZGaPcOsdCXrhHg3+9bTFLTHNthlARNpU9nytTd0ZuiWftfrYHpptFtT
G1/YdI9BExuHgVkyquIXdLf+Vma1vYWAt3flPAGkkCe6mV+x2VXbeuRYRl1gvBayte+OMjcWAbBo
LLP4UCeRDzZYcLTNblrrPsOWaI7kW0abVkfEOrVMnIzCJacxt6ZdK4vs1YEifDJcMNwJ3d7Q02S1
if0peyURe8Rci2CKiKumbE5xFv1wXABEM/P4BMl/rmzsYyFBjGOW1hu2Xx9uBEQJj2Y4s8QBO2AM
DmwwNfujQS+/IcBhvoIgdw92q9uc07MdXWV0tmKi5VDl6ppaaIpyU307vWHc9QTwRWmY59nh+e0N
7TuA0MDvHu6DDmetKc07tQcEaXRk6App4mPfR+6r+Ru/Fe37kGKwNEEWOkiVd9aIfwEGIbllP8KP
0PnRf3yDWFxt4epMl6pyRkYZTANteS+0XLxkffoF+KHARg10lKrYCLWInFI1/hsFDaXcmfJTif0M
M3ua44Igf5Wp7nHsRHUfGwispH325EJmFpY4gU4iCpxjrRzxCFCnwtDq30tH9HsdX0M+6yFxXacm
QQeCcKLd1pqYXhzr0AyT3AatMcCbtcx70fbDIbUopAymQGGSdD+aGD7BKlGzKqvexkW+s0dGkxbx
OSHYxrXfTQ2sgjK/GhYzTBUMB9l73VPhgq4omS+uS6ieq0Fzp22seffOkeSey5ZooHlgCulkL5Nv
LbFaWNcNPA40jMDj+aKxmbpDdkKpbV8Zg6lr8aHn3taHW3BC8dAUWrpt9YZjfvPSyUFdQNnpV2mM
hIKZ89fvf2V5A8Mm0r9Lwjevw/IXRgcrvkfOFnM8foZ6wjwvDaysmfq9VBUquXU/GMG6n9DGKATH
4/BuLyJrlbOGMxQLGOH6jXXNLI/o+En7dIolj9Jv4bmCkFz70L8iwQeyU+s/K6mZQSsMoFq5r42M
WIgYOFGSmu22l8RUxVV7KcoJZIRb9lDAvJ4Hk7O7SzJpRMp8albqCQYpZ1iHPlFhtSXktNjgjh7i
wzS5D1LekIlKcIer5kRtSN2d6uLqWY24ln5JSEoSvOWt3Lok/j3FtfvadWOICLncTAwva6OrbjXB
iUtx5Ia6VbdXb256Tk30QrGdnKySpDPRcDoPtM90nP75cI4vpPt8BMSBaxk96YQsoXPkkJRXSPRX
Mx3FgbgSfCNkujfIzXhssLF3WRZtxwLt4YR+c2WXbXF1omUrdEpi20waArar5Fl122gexcdnO7nJ
tRhMUkziKrhFvXzVATvtzEm0ADZYcF3N4ckbpNhNvaQ/qOfBwYD6O6e5/gGtpEwb8Y7Rw21JDSRP
kkiS6WPygZNb2mwsgGuSp+T4gS2T1M0gso8crgXK2Fkemkgd8VPPz1pVWs/cNNhmCHkbdLwNiRzK
Y1MxqO1Shj0Njjp2AHdYs8YyHY8w+FgaOXbz4L073OnaXFVvsW2rp36o/8PLNb3zDPLL9dAdWw/X
Uu5/NNBXMOf5yYVmEwx/r7NPVrLuwTZ+BHRELvqEpioY9ORVuuDirKTczQh8Qi1us4eW0fH2Ed8Y
00RcOUrVFx2ixIDnZAE0ODSdaW72KaKrTGbG0dBLOK+Ebq8JV5uPLSGWD1rva43oYa6j7Z9qBgfX
UaLndwy/eOQSn5A/MysIEk7/bMJk/+n6Z2Zb7a1qI+dFTia6fbURBEK9JYL9bkgSADAmJkVDcqxP
u/Jkxc2pS8lqwv+YXTBJJUq331sj/L02JRCnYOQfL22SkLBBOyco8lBxokFuKPbKFYhJfTOlDFPL
qT1nGn195vJG2E3teBeieVGTk74qh4YTKRdkLJnaRuu4NFFbDmfUAj9+hD0GMjjD6zQqny3PPZOe
lK/JZC7P3di5+6TJ30tTQ8nozmT4kmS7GpeZvfJRPsOA+hjN1xmr0ANPvoNQcTwNogMD3wbWh+ux
lfP1H6gYkL93Sj5K+Bc2yVNvXVyZ+O2z//D6LWffKnkwVjG2HHeicAY+d7T71ltnqf7iqBrQ+KTc
rU+eAMeiVeTYb7NvaXz0zEejHEGIq/N37PbaZjL05LGcGNYjXrXz729OzKNJVtvBaVHcBQEjFq4l
2l0I41tzoBfneX6zG6quDX2Txy1GQFW271oZF3er0919UaI8DAb3YvQ81QZTjoPJgoIXztw12pBs
s3GoH4ANHVgo3XrS0BcYM0EQCFk/86aWN9P5GxuT8yTs7GEwXb7ojERWdtd4H/jIiXzUWAc02UQL
2UI8mry5gQLz0doSQj8zybY6baEIGY9mbuQGCtsOc1IfxulYPByGp53XnxB0qTsnIkIPPVnuS8//
irt9hSPjPpvDP/j3mKxyjEyOEfzNscGlhe/u0zz9mTR58xg0PA/18mFH89tu2/hCXyQAe57KHfHM
VbgUvQ/OTm9FyzPYo8b20ni8GzQEW+VNDxJ8NBKeiteobFFUlQ7OJdN66jJhP3vOeGkruz/1ZgY/
l0/djt8D+zYMJ26FztdfY1IR7zBtLrnHoqOW296vRXOb5v6v2zTqgRp51FO5dew2CNO00h5pP5E8
AnpoRmwXYpJW7Hwdh6PM6h5JQ5IPnAGN7mC08sTs8OUxfe/m+rUOOPiBGcxDg/2XsR0fP3Ocf35e
Jisay9NB91jF00HIK67jtSm0++iN5lMVBfZF2jAsa50FgHS6btdyEN7Y1LAHdlFjZzt1HdKToNOu
PlI4nyeaX+RDzzargIzfIKI36yTOxjPClTIEuKRTjSLndaX20caVXMsEEeZMjNpGY+rMVKY5dx4M
bbV8Oiw/2lOdmIQHVcUNs+NzNjXGI0a9H1KhoEcGXPVAHvvGYo+yhTPyfs5UvTg937Usnh5tbfm7
rE1uNNRJWneV+YiS4iWqp+j+u4WUEZsAMSX/GRALHozi8EWhpAIxwqjYHtEz089m9gM+b0siy16X
qP0pFOJQ9T0qOTZRjkVk8C5XzZkZw+u+1h6UjhEyEzw902Rv6JiJN6cv3UvMiXJV0dp+wGqkcyo9
dnRzTg+FaRfbnCAjL03VuxHH2WlsRbGpemvn0lt5map/dssxxEiSrw5S8e73fwZEmxhX3eDrV06f
7cGpOSDhgfj9OLk+sR8riI7kNouUJrfV/WEVo61hP2rNyw6Ir+dNhYyRku1TAQyiAXzJcju+E716
c/JAnCayr+bgpWjwezoLP6ShebHFYOvsM9158qqqvLlG/9JD6T7PvY3soM3fadDIN22kbx6P2tPk
oFPlirr3gBzEVRY0r1oaF+/0FMgDqhV0PLGoCavorHZBrhADOLgnzKqYH9nM/GbKkv3ozwnZE/5N
DfF01Mv2bzrEFXyJGcUfuTg5pk9nIZVNqBRq15jC/t2nmKcBq0/oHrzx4EfxIn4rNxDcxCPSohd6
Yu0PwkRGSSg6/ayMXmbcN6t88sq3IuCaKJc8P7cz1aG1eDjnptmIfKaMBN211ckk0/pWuxUYPNZT
kYR9agevrTe++CAsyQ/8av8fe2eyGzeQbdsvYoHBntPsG6VSqc6WJoQtWcG+DTJIfv1blAuougW8
Au78TgS3yhSTjIhzzt5r+4TAV7MKn/o8f0rspNplDmuRVdDjJwwHTYEAD0PUzhfnEaQPYRIgIiIL
Iht0De4sbvZ5X9c36ldAdXgk4TKEr2StPPRmUHy5M32Zxi9/+4Yr12YoUNMlXQJqhkGNx6j0UsVB
ePApI7GlOPtMzf5VS2LomqY9Nf6UPlt++2g5NjIQN3/iDIxQrq8+Kh6glS7EJWA0eSOksN9UVjpd
e4QVzH8GjGC+PNHZzy4ahNCWLF5YPMKqd2Oapggphuwd5+IDXgub/mjOylOhnoOQzOH+xgowvgmb
kCLtjfLJaQ1vi0Ssv9SaD6o30PjSQ/dYB6RzCWp4D9JWwyNJGHyWIZtHEwWYDDUxubXTlQwtEPFR
RRtBhbdmrj/ptA9/3Nb8YwVN8QNsbLHBvPAyN4U+TSqJ9ujqSCZwiuJSLC5YH6sEWcHMVoDrxKc8
LE2mWzgHlMWcm/89y275Ofrmmo9G/KsRzOSyMmvZjxyTsMHKBfzbKSTnfrh3RyFOjcuxMp441jVF
5ezaKR/ZnRIkNzabgj9nv2wX3JG2xvxQsCyRwEJTadtauLr+/r5sdLYHvgGOkIPqxax6CWpM7lnu
+d3kezMoHjSbtswInbDT5D4T0UOzSYeiPZbDLA+jk3zylIeX7y/cR9FFY63dBjjcKVdnJuIKokYT
T8al9EscOENCLtmQzFuR4JbwlX/JHY1ndbJS4iZIPtZgkE4dizD/rOVcb1TFPbh08w77G5Rd0uNY
M5ekFNJ6sFXzvv/+YSqeM/q2d8JyUpwHhAHUuXeJQ7Yr0hLKhUzDyhIbcNB7yGp/fx6m/Ml9X+TJ
ZehfACjgDDRiA/AInYrBpMskuszDIRojxEJHkN+LIqWkIQ+PHExYmTJj10IjiUJIjtX996/AF0v0
oOrLYWi7LdDbI84yMkDFy7dffhV1uJwIBL+gQhG7qQpxKMc0UAaz+ucX8nTQmbZswMq03pCeye08
Y95u6uKl41Pb9UlM4gtKMmKbXUKu5pwRVu8htehKBFS1yxG+TU8peRCnXIlrNYt5p6mKTmWXlH+/
4Pmc8D9O3nomgKqssdmJlCMUdSBlJOljJ9pYNrNBA5EybRmSwvkitP3qBI2xTZbfORO2Bu4b/LaB
wgQK0KiqDXm20mhvu220d/qgOYwwqVK4vOY2GIwHAr2YDMaePnluuW5qvziO93YjMauAFFhBIPt0
yiWMoSGsHot7YjT43COEYN9i+SDYtThwRkcp9FpFv8kbj5ERPTsGlHYecoRtfjAqnk7u4HU7xLHP
ndfsSgbqDJmxv3SB0huOzfaKWN2XQo2f5MX2ayfBJZkWlAmSD1uDBZv47E5jXX8CwVZb1Ogtxtg9
cqOtVeOwxvpmHVKaxyxNzSns5GskY8l5oJEcN0wIzPgcszhujqJM8WrXBoiXWbcnrpS/qflUrHLc
SaNRO5Azx4KLEVkRbh0rA0ctC8AHHSoZUxTl6ftXkCyzLbrH5ZNnyOzEGRh2b9wZZTDvpE5vKC+b
U0B4wW4IglunWxzqKN7xsnsHnl9irQhoQ9muFvSDI9BchQkpaUIEawPh35oBMEbR5ePvEoM49lHO
m9ZBLlUmdLQMhous6NNpjJMaSxAJpXQcznkj053lzy/fn5Pu/F03RNFe+dkDgSlAEJgK7wE6Hmzb
BNBvJb/GCiPwcJt8Iz2pcVv7PRW3A5/IseUZbpg+gT0wECdhJk5lQQL3pVyMij4aDOUJ2ldulzyP
UkA99CHpd4ojlWsI68C0zznIjlWc+zfFBe16VMOzcwnRuM1metKWM251CMLRzxloAsKb+EAm3Aw8
SHnwONHF2GYB3Na0mU5gVijcIhR6ddmf3KXT/v2rxhAMdIdon/pKbTFr/6FLT5Y8RHBMhatG+lQW
C+XLTHJj5VboIL//H4COZhWNhdiMHs9GHnPKF0OPKZrcoCGJCGIbETzUODLQ34Llwypuz8fS7/9+
vqNEv5Ym6iUXVnOy3PFn5Vg5qeJqXRdhsVVB/6yj+on4SRDYtTY3rlT0rwsymP1yW4bqhbxeijKz
ffXGDlW+rnbcJbjBbAbsVhTFaxZDc0XdqNagLPJ9bxs3mrPVXZ/Z6PMtJmbMA1sge219Q5x2zsbK
xBUGvSLPCQDLZEWJAo0P1HKzPNwcXij5yHVAQZFnG6vrgBSUHiCPxni20+EJN7dJaK99TZMDhxgs
OhPHrJytl/uEXL0o8y/SkFern9hYYkjNdgu8wbX8ApI64gWKiIycFVsdiCOv1iZHVpY8QpjMHExL
L69uXl9KPBwnbu8tuZnNqQKMhD4LPlFd0L4TEqMiXs6TxJpEHdNdQH0iSFIDkVBdflgUEjY1KfXX
gI7THc9tS3FmE5OTvzt63NsSy3ZQOI9sXmIVgy9Y9+DMkaTERPRVmJR14Z4mT4QrbTojY+nEOY/F
uR+EOnjCeUEOfN8nOttipcEC4xHOPLnDuvBz/WgQCGnOhU1v2PQPth9+CKg0MNSaP3rWz1M49Bvf
abJTliOc6BJEUQ24DCIeUWVpG01TZFrqsLyES52PXd2TR9cByE52YvnA5/TW6l8jigO2OzQAvswf
MwRQeBguFkXdvnOJ1Gs3UdbsI9v/SCX0Eo8Ya3YKK93Tu2sR1vAhqvkt7ed035szVWs1lKd/fZkD
tqnZIy2dRhQSfru85Z2zN0ZXHyJmy47X/rJkUW1RNWDlrmDKrG2anms1sBxhiiP81wu/d2HSZ/3i
CXHRwu+9MWQmHGFwamQ+7IkqB9Pr26xoqRsVa8pTcpntSiPMWbnKNk4ciuODYkmtO35XLl8aERxT
2Tb7oL2SqorNMuCH81ObhOO0HriReg6h5BG2XXgs+sQgeLrgw5vwsmdOic4aPeqEXg6ftr9nliVp
alsf46RhDUtSmxFtmwxLAn6u3h/OSM09d6rPHMG9deBZML6W74c2OOc+huSh08V0V8IyofZR53zO
CRTv/AgjPvdNEbaosxSLfzJBL5s75zOsyI+Nc+tFTNOH6mlg0T1+mzn27phd3vrGFvsgRafljyxr
BW687+9kIWZEjdgkW7TlzySCYDCMk47IpAJBfKjkTme0dpvQu0Ue8k0/VS9hSnJriR2DUm30dqQa
/uo6egCpq/Q2rWfv0GX66EPyXLsD2uN54hywouCNzh4mKZ1aCQYZ40OT8bsX7fSsSpRyQGjNVUXA
PW0upjLLF1ma0S7N/GfT7tJt5M4tR7LnoEiI8q4+InS9O4Q9OC4XJ3ZiTdP5+0vDJIEPg0OoymE/
eckOU/W7Lsgw7Er3rVLDCwOvcj8QrsbCah7LFJ9fEarxLMw2PGn0LEmAvAZZ/NmvEG+nwAB8M0a9
TQPhOBmI1mwyxst6RNQ5dSerw4rkZGA0cK3FK20bd12J3zQi8BlC/DTk2Ilj+ZBnJ8MYXwOYPJ7Z
BAfDhM6SB+Re69EgPbLhqN0K30UUGG7Yer09Zx59Gqk7YoFXg5/8B6pktEHMS9caGR03p3mFQNEc
qylB3RUzyyl1seXORcbZUx8XFc3tkGwQHEtXSxcjny1HS/pjX4WV0ZzpHNoPFcVtLbrgzqIHcJ5h
c2+80LgAq8yfQ+s585FzZWkA5o9xwZVM2TSStzRtxM95oB4i+i5+DYh94MjKMkX4ULkK0eBhjXeR
ckC9IN+wgbOn7+puFvsZvVXsFeTFZRg5PRW8e32bnUXscbUyzKgMedd5iS85Ib+F2vDD5ILupnF8
gtAAdygKbl6uPy2DbaQ1CGX34+yuBKA+aSs8yXF4+4D7QYiorGdQUJbAHFDycslQrPzwPOeusRdF
9klpyrYraHFmEn+JKR7oybwVVtcepPwTNIphsZHG+5asSJcFj1ue2yAVQ7LRQRysDK+ley7G5prF
brkavTfHA0kzJ6Z70L5Z7uRAo5nQwue+8JNjomCmaNlc5/zLhh5yQB/6OWNbv5sER/Ea3e52Cr8M
IJH7YYKtKgx3WrMMsIyjVwu3ihPUuqL+R5fJpCLLGahkwRUJQHWimWWgmqbFUycXNmD6DUhYtpmR
DuesthDosJ2d2+G9lDmr6jQgLPYqFP9mDzKd4Eq8c1l4iEJL7+rmQTuvc2XM93WJYmz0nF3BJ69d
gmKdobjPWom6OMfqkE6/GIr9dhI83wSbB8ec3MmuCD6BhIY73B8IZDzyW4HYYiJldcNZgMGowFCw
lZSrdHAWd5tHlkBLkhDYYZAbpI4O27FeIquSU57gtJ4moA7eUFxk0eNWiMk27Sf3ybbdhtKdz1bF
ZAG7dhjdI0AxiYC2iBAZ1LMu0CbUGa0pEas9oh30F117VDlplbIlxHIwP3JV9YdyWbZlwmrdqz8h
jZQNc/j24KYb2AJrN/MRu9kF20pkf5bQUZkli1cKhAuhh9k9hcvaDHCey7B9AQTQLX78apWTK/vk
62RjtIO3cXGObCdzPBEo62I9teSuc9vPxnWqPd2ODWm09qoalY0I1NzLRuWchi1opmTYyiVC1cOE
SVz84G6ywIzXc1ldsBJkFyBetGt4c7Ga7W1QItNx5xDYRxyQO5vlfxJQjGdD2h9ONJfQWro7rLv0
YOxw2xnzuT8QrPWHlvyS7EdfnhFRNdOgzyRm8S5haw+4xGDc6KgWeUiqIy4Os3sedW3RYiP1fZiG
fdegi4HQ5GIJgWXhzLh2E+c6yD/jONZXri0vjROAPOR2r1jQjF488jDRNHKKHabalg1NbaYC6CyE
KHsDt/amE+Mjnyqe4BSzuBOF0TpOu3ujhfqvOvEyqY6kRxr3aC5MZP0cXmOjelLD8OUM/QmJE5zX
uFx7A4SKRorNwEG3jcmFDCe7uRlFdLFiQapYDRUMbsaatly0m3ObgKyg4QDjrLLEc6hjp302JgNR
Vo69mXP4HDE4qI1c3CSKmdnO1PHNNrAGOyUhKeo8MB1dDYR7bt2wvU1BwV2ZYlsIZMw8XMpyHUbV
xUkVKm0edtI+TJBsIBuwkLi3Dg/6QXnul+8Ym65I0DjqkCiLCK/k8FaXtr9BYrPHKB3se4Yu4Ic2
vE/AHCXmk4Dh2H4q9J8wGKILAQovsrGNgyzLn6qC3zopoA02tqoBs2DKbbkhxpwev2+vGJTb64Iw
a2Qn84bSEAFLWx+RX4EVFs3arsoKC6wmC4yyrQUMnbkOoawJqm/va8BUeE0EXI3Yzg79XN9r5ZmH
gJCqfp7eOJSAymtv6I0wc9uIBUrDhpvGaJEoeZpyiJTXJKOi/KK2LgpDsZagsJwIMNlUjNa2QU0j
caRHuppHT2ywRVRWzR6JBTMDSdW7RnFREnh+As9A+qPJ3HLueIaxRGSYm7EO/0iS7lddK5ebj2NT
MYMUaMviGVIHZEWJsFXrI7mVsP4LRGVxiG+/lJxR0nTD3fZzSiEChukjY2Tw19KHeVhgORv9cW17
qb2uApiENaya4Jy13avbykNB82kTLf7rzGybDTO0a0DZEPj6ONCqXQUlk6dBG8u0+ka423sWz+8+
CVorf64spCopj9+ccqdstKwpw50e8EzjAZ5pngxIDDtaxNU6As+rG3Wdm7HCE4EkgMx5ks3GAQD4
wDELhrZYW7AeTszglwWJyOcQx1LlRt6hNER1ag2fEQLOKaINqgkJj0sEvIrd/b+aR5i6fsYQWnB8
cEyOKOOxGWjz1Jbun5gODN587BiO2dMpsOYbdjxjY8bkhM81jx7WOjowYE58omXAIBkDp8Dmqajm
jTeH9Vm1AaTNyAQTZ/XsL33yx+8DJHB4fx3H2pT5KE5Bkf8Rdn2wK8wyxMjPGx/zdjYRO263HcrO
IPhC1RTdo6JgAScH9L22DTa8Uwe+4TXM5c/ezX95ilC9wZ1uUXZjMeVB+22OjbikzopcFveA7AUv
3LIgTDGwaieGeUuvicNQ2NSPcqcAyuk6fCM5Qr7WLDN4fhdqtnYe8T18ULxFK/4uPtedKehusv/3
mJJIU85/Ca96trsGDg4wZdzvUJmrud+ZQ4MNIjTEdSIEhZHj77oNf4YFDFD8ilR1URzm51FFpKP3
xuOsFc6bmGJ5cuV2wtlM7tLYIbmuj9m3xy1kzmvS/t14qcwOXE4EOV7NeRpIje/oq5hR5GLWXpKC
5Z5sITJi6E6J4k1k6cNYlDRQSOX2kZenQYQYK7fjfWO5xc9AImblmJ/ZuGgS08MXFsJLNr6YdR/C
zAlXtcfjDIv7IeyX6lk5/qqs+IdSYOlKgKWvjeA4BzP4G9zHruZC+9hioDEg8cFRtRRBIdaHtj/j
uFF7OA9sTO2eoGqATtxSagyRbmn7RXFGUIQzrwITCIpIsh+IMMZHaIi0WjScBxlHhzzsLHaIlv5G
B6cbWjiqaDwflZ/TOJUuohsdimMXgr9i3FVQxeXNhpJq2+U2uwx5FIdywEAycPY2KTvWbiWPSWW3
JKv0u77n+DNjrG6y4oQovZujq7LArFNljLuagB58vOjK7Hx845zsrAq0aGsEG7dRMruPi5QwDgHr
UWNSWu7krMPpk9Ts8+3GR99OIQsShaYW75P1M89CZ0u37zDYAglRM3Pznhvjsch1dpSiv0mO5Ks+
JdIQcTjWOP/dij4ajwJs8IFw2Zj4Y+UzW18WR4E5aWS+tAX5eBXZ/Dma9UiQLf4gExR5VFRfHSw5
kS+wDDTtckKw5yb0hRhZRThlSuo7iISVPe+s2H8QbT3Cnx9ONuLwSoVftscg170lk/Po0v/YBAN4
t7n8bSqc8f5dG/9RCZLfAgkLmQ4yPpKT9NhLnx8bvDR6hKw8fHMlQuAGwkRYZdRHUAubPh4ItEr9
+ogW4LOW2OD4LO/R3Lko/WT6HOTkGVWDEW+aqovvbfTVnQytHyZa7d1EdsGpz0L3oQLfiSeRx9vQ
XXmOevwAc/VoT67zezYDpOW47695PWVnNGshuBBdby1bcEjMMem0OjpECYe3OUcLVvKSoV0215LZ
o+hN81DJcINwz9kxVIZyYz+aMIoqVT0hG2ca2eY3rN53I309m094cDAPVSkdU4TK1Zrb3AVQBpHt
ycUiGHGOMMMWQjkNr2IKkN8u9q1FVp129FMQk3lEN5VSv2BTRc9pWL/MbaKsFyccWScJ/zAH/DCM
zbcyRg7v5I+7qgyoxmiVSAe9Tjb3HJBHvOO4tmkFN6+zF9Bx6VweC+wKlG30pqMsWanlDQ7Y4nc+
ueRz8pC6g88PQ1idCyB1V40t4wVnfpNzN96FphEihhb0+fLeOwZudskYyq5rL5k4cMbirlbNOi+c
5kAqxdkU0Z1fU1P4HsSXgfzxbZLMUBHreFpVdUqba6LdABmQzkcSOIcA4/NKGhoZgEOrQ8JxUpKU
CPHW1Q3UKMafgf+CXpbarsY7mfyWghhySGHBOk/a31PwpEXx7ufuF11UjrnudEoEx53czd4jgcXQ
sXaZJdjP7UVxsxS7OprzDfc7eYtmuKq633HdnwrjqeGIScd6nA5e57+jzT/LMCdOEJEm8BvWOFTz
6LoBucaEKGxxu6pj4lhvVl1cnRYHPa464rqRphcNZUwepC9BHN9BbjsG/vhY+PXpvTeEieRVj9y6
LKidQMMWNp1eWgkaqcWjLUPmhHOzy5C2A3qPLi2nw22UYTaLnLw8xm143ymX8NYE6S8dv3hL+BeG
GPYMaZ09bjpCwGqQ0RLiYeMceaLrQ+TofQClAXOqf8v0ZxVyWkFdRwOkauV5LKdi13vmJ7thSnct
bLdAoNq9mdcWGQY9rQm433e9MH/PntfRX22NPf1eWFfoilhubLlJMvwIujTuTN/JNmbPBWEAG+5J
0thLQcVFVEG2M7MUNlU4nn07pRtA4kQsI/Kveog96aSZp18Lu3sHMQn5jKPhueWxIg2ve+qYyrTI
BbdV7JJQ0A27dsBK02EphfiGaCVRcDHKc+LeWdEtcrufs0s2hV8W4dmRb/RCmeZybK6KUJ59RZqZ
GrZoi+vjODX9bh2Z7OWFb6of0QDsDOpZpcal9gboKxqwDn6GrI61Yy7BjpqhaT1asfOqTUWRTRPU
sdqXXHf6WOrk0FSa1HrnZ0D+0UFUwl03c3RIhXBIrirKNc4y35nGTQobJ5cQ77IWXSidwKKIuiMi
AKwdblod3HZw1i64dD0xNVPldInVeGICtmoq/2hmwBFbY6cTWth26EwbRbL92jAVjNEI0xJcBR5Z
64hBkT43ZYSpavcmAGc47h46MMC3bGDmoaNnop6LXer3F45fP/X40Q5sunWez3tJpl7IlMoEhbJG
guGhw3bOMwoDZIz1wcM77qU4j6Rr4YpPSlCCjbof49Dg/JApagmwipivEsQMczY/O8M+YpK1Q473
m/vLWoVp9tXQkQVlGz3khodPDocq1zBKmYK+96qorxBxk5Uou79hL/+XTvD/TyfwrP8WTrDpPmLy
bFXy7wEFy3/5m0/g2P9wiDqHb4CkywpCk+Cjv/kEjviH79uO7RMY8M9YAmH9g0khFmeXoYhnMWD9
VyyB+Y/QxNtCqiAxVyjkxP8mluB/Jp76to2TgHQ52/Fc4bi28x/5Xci5I0p5m7hww7uHeVMRmMMv
KjqUfqzvLbI3/u2aPPxNIPn3WGhricj9VzDJP1/Rd1w/QOTm+t6SkvBvoVh4wTw6rHhPQzudtkmn
GQD2pNh4ffpV2jktJPgrIAA3WWuRl0RpNhdkBgwGEgBdyUfbqiwoSd59R2G8snG3z3LaTeFEY0pI
MCI4FP77W/6P3AaukU/kgk3GoqCxZvr/kVgVmAbKiwqn0xKBaReEJofO/cg7+O8vEzr/+UIOL2Xa
Lp8rNvUlyep/XpoOTFeMSQ0UU8nsoRcoFz1UyMYL5AyYkktyTCG1u6b5sFHVXdH5NT4JoNhhChbW
AKRrTela2fmn4YHbd+PoFIazS1oefe0Z1ts+YbK+DmmRGxM0qSquigOCQofwuK3S7R3OB/pFDNqL
okH/2DfHsr9hIXaBLtHkqu0eG4QRsB+pcN2w9voGhU+PMXEzpW9gbBAsLcfiylOgUohySphGhTSJ
To4um/0MzX5FtEJ6kQ290ZgcpkZDNC9iNLBdlH7oqRXbLBTnMmaqjZrhndSiggBWWr5OFne7NKJj
brfVj6S1PSyNTHU5iLGQUhjGAUqHzDym8xScTCwtM1CsdWshqkpxfNJ7ENGH4RWc4rNbofhZwmF6
93BjXSlvimtr3dG1W+dxpB96gW+xHyJ6/qEJbnSRB4KTINY7mKuTZdBOjAmpwYJJE8EShE/6zJrY
JG/WkL8CUnxXE0OuprE4gAadJj8I/i4ItjCVD2XXyqODOTOxnIVsh6q8QDQYNB90BFPwFRqImWFg
f+K8mTWZtUf/QjyGHtqVkYPH73xrWwWqI5QXz58GgofCub53yCOoGoOg+d61L22cPSRWZKBgt19l
5P5a2NVYkGFdFQ9qkZrA2HQPPeUW+lbnEtdwdrzEvxix+xgw7zQK03iLATal/mzv05getplOYp8Z
KuBmBEgASt41ABwg8/GvMib4yFaZfMsN5rt2FBbHbrKMn1RoSMCD6DV3c+/shTG+neWfwUUDmpd1
7l2ZD+YLCi9Q9BN+fNghB0UGMu+c/57m4btJu+pmurb7kJX97+8/zpk7s3q04+H7NT050kqbcS45
C3Qq4yipzHHrjTqmR1CBKeX01DbNJ8HXI9GwEzopVR0sz73/TqYNA9aYZh6fldv8gKu4xYMArsqw
RlLZr+5QOFtnhrPVuNVzPc2v+Yamndy3GTM5y+6X9SlrmFwF567n0Pu9rMVcXitMv2RGt7sqntqU
uEGv61G0lhboGprg0UCfeK7MV2tZ1biCSH7kXWHz+C1xSMGIAW6sGfsBVYJnxxRpoYwKqpmUlwsb
7LduIb/cxWg1ZDY4dnDYXav49vGccbcwOx4Jw5IFYwsw57z+pm9jH++TsE/AxkHhLgi1RHQWQUom
KXiet07awT1MHtFJ1PPJnKF2qDoecRfUyvfVUrXzRD+4XX8vxiQI/6pKxD0919AqVb3DB1ohDXIO
PVkCPprC5U1WLtB1jNiv39eaZvM9UgtmFrgbkjH5jt2jKQESlgF2wiXD6nqXpf7NrgZem+X2+6U1
/HoI+ppWZypAtsFEUm14NZY0r6llitbhx7NtrhmNr79XsS24OqHiLX3/eap+18r48/1u//5B3Vvr
sjMmDBxAFPBnBP0XmKp7Q3v3qeCioW1vVqM5vTpZ9OqI/r5ZPvdqdr83yK4erQP3NdxJrhuIZS77
AMx/eaOx+Zr74up4YJtGE7ZN4EB15MOomhdZR+/8NL+lS0KfPZc+w0goh1kEdXM0MsSMxcc4VsHy
KN9Z9iSBcXPz1i7VgociPNQEtNUM0TYBDmmsMyO5Qo7xi+WHe9ljHywL3nzu1PUuTLknBGwB+rzq
HEyi3AbLLU+LjPUi3lnCf89k+wvsLoHYBvhlg/a48mAlJw4CQEejZ/SN4sHMC27bmBe1euJbEjLl
6XTftEkvu9pXGmJdltJDQjyzz/LFb8fTMpbe88hKyP6Zc0XcYPzhZdZNL/T0mu+eb7o4dQ5eQ4KX
7z3CMocCTDHKRKi9+aMBlSC5zl275aRxR78TUHROCISgc9lpHyWLRGtT2G8k5QyHMphIuvTIODEg
OZTT3SDJr4kT0A/9AC5fMKt2xvyrri0JvAcYmhYHNeccRnI50H1HwFrjxceydGIRQIjbchW+L3Fc
W585TXOHBnc3FMNeBks2Md1+Wdp3aYKO0eQxBBo/o2hEkV9oC1e0DQpg3PcGt5nEqrOOkMFUCOW6
4Hc8hTQBqgRlP1ZNPyagjQFGQxxBzXDGOH4vJBGwrrUV4NA3Ihav+PH7u3y/XAxvLPHUo7OsAIoA
ekdwK0zdHSUDRBAvcU427v+dm6mGwALzNXaxc9YekcwOGaR91v8us5caHfJ3FPo8ZiH5lMDXGGCv
ZjA5A2GVd3Tej4LGVUqICTOT4vodJMxo5+Rk/QcZvuwyKn78/tMeNKVDHBQ2dwg1dh7Inen/zJcg
Ngt38dhYjOv4zCVdNy/FsbcskxVuqI2iQa3bJtyHLs+RzvVOI0qB7lhtRgwDm0zp97Q134YuhE6z
pEIz8z3Q+bDXjdnX9KIYRzsptM9a4uVkbLulgs0foG9/0HDpd74LJ8k0373MkE+Gno+j35EeD8ts
VZXC3o3yoWnvW8SK8BmavWmJdtN25MRxGpm2FHPJqrKsO0W/eZOWFnNxmPceT/867dFSahvTdbmE
b0b+9IrTjieLlZDBoQ++wwuudZeHd/07ipAfpmniTiPx0kLAoW3+gTCdHmsFk3v0zua+94lJ7uaU
FmW4GYLYORXxH8eruCuaYc8By1qbPvW9wQFqNdrNSQTLHtANj4g32jsUEKuUvjyLSMLEPcr4KJar
/r1w+ctzVon8Ywydh2UhtlJ2SFI8LPz6qASSl6gJf0UVTbk4w+065UiSyRthdReCjK5liRciW3UD
wQh9ovZV69FrHadloefHt2LjuR8swUwArykdFevUxPLYOuA7EPRdQPrTx+1VTxIgN/by7QDL/xRQ
GPANWeGmGd/oDG9S3vt20rwtA9GkYdFj+96WJ2zpTcjlDXtrkxVJfsDW/ygTnMB+noh903f6CcTO
eDdFxS9/dvSTg9ZlZ4sIdR6HUUes+7h9Q1Tnrg10ruspyRPOlANYQXuERwIw4Q55xA8W8Ts1kEbD
POxYksShSpc0k3hBZjBmZlJYIblUb6KvQN0/6gHKuWzjrzHCdNKO40sT+y4aMn2s8hJfImEHk/sM
CFesLLYEiTpq0yCOcuvos7e6aD02nyoAe5TH05WiEXjGjEa/80800tnzp4wzpTx4Jqu0jQx6Q1f2
3HcIBOibkYhDDCKjvudAZRNbwcLeaDlR9gYKPs8j2wlTfZj58S4Fd2pGRF/QKeTwuwPfvVkajztj
zgDimgtgIrmoAI2NKaP7uK3h+Up7D8LJ4/RPyYZPcxtbQH2Snrs5dBYJzhgyGGwYyFB8+Gjd8aRM
j0y4DnGTMVBPO3IHki3Cpfxku4pQhirbhfBNnpXF7DP7M7saWfLArRsn+ZazFx0+26Qc8rG/NVHL
TGzOn8I++clPOqCzVNClWEYi+HOZr89mNL9YUQfNG/fDSnl1cbDKVt9HbCUMELzgEbmcl7s1yQZD
vDOteN4HKZZezbbgViSht9XJ65b1RjI/bE0/vgc94CMQws7X1ES/ogi/zEjlvTGkuyL0MfSs8hj0
XHioD5ZEFLj4db0h5zpZ9G+RW+hHTZ7Sfm6TbGNYNdNJm25kGHLwGfyxPAkEafzEDXJJcsKOuXLc
HXycBBBO+9aZdvIWJs4PoNJfo135V2e+p2oSmwi+JlHtlFQ+qhswsPB6cAYCuuvV15DEj6WXHQAm
YSTr7D9alv2DiPWTkfoHesrGSrSuOk8LhKbp8GsUtciJUM58pucaQYD/M1yO9Za9oG4DEcBrYM7r
AyCtSIY74U8+ztlk3bM875O5v+eQ4m0GLxK7qAdWF4XnqAFPIixVb5uGCiJ0cYuXYjpgFhnvmEbg
DHcqHsAixyxlT89p85FGEdx4J7wNVR9eQhLaYsCTQADp8jVIJ6LqwZE0wODcU21BDuU+2jMGUAfy
xV7lrI09udkbr8g4NzQOtgSgZGT+hcbBpcmAp0cdzcaIT0UXvXqE/x1NOs4PuqzRYfl3phVNq2GB
SA8ifTMiAxJDFCIyRAeytbS+ojXudrkaj+Sm9Ndh+fL/2DuT5biRtMu+S++RBsfgcLTZv4l5YgRn
UtzASCWFeZ6x7jfrF+uDUHWlpBpktS+ztEiSEilEMAC43+/ec5kNuwc5DGeK5DI2zbXBXsmTECLk
iq4/50R4rztYdJBQbt9CQbt2XRCWGDSHtpiWadRkxPvaTPBhFyzFJ9c/SDVg06MBo6TqostxJnWE
/+nU7QaSCkiKzDz0QhzdWtcPc6HHkHiCvbf9mpb+TWXDKO4ZQjORPmNF4mrZP5uM65aUubckxObw
+rDKrO4UBN6Gs1ztIt+/p7ttZAI6CbI5EMPL+ltd1QpP/jct70GMld4mT4abeioJxBEVYreATArC
Y9m52dNVDfmvvPiv5UWFsPSvu0+37+lHSAP9Z9aEzbj/83/+1/z3v2uLmjD/cFxCx67toJ+5lknD
6XdxURPyD/J5lk4vKiqyo2ykxP+vMpp/KHa4iIi2I0hKWmh1NakJelH5gTqV9QZfo7dU8MP/E5Xx
V2lrPiqb/yQDWtMwLFvNquAPql+gEmVWXXIXRrivnSgm2A1Sm/0syaTu4DZHt1U+KyLrmZHfIZhr
uCjIAExNqpV1SmGcDILzjD/IPQKRIxhWz9aFJ4CsBEm04b0cpxOnKfU+TE9EULylsEAXuVVwc8WT
u5iq14GzsukRs4LSvY9o394mlEBR64sIVtZwXzRiMM788NenQdcPK9ujwtEX7t/+yve/l7BsLcpi
qSaMk+aYPzpmcKnyUNs0GwEd2vaQOHu3TxZZmdaH67dfH6QBJ96Ni2QNODXaGQNlCHoD36/NJ86y
SkEdmz0l1we3NsdDMFRfysH9iMZNWLzgcQCaoju3mU2uosdmdGitzluWMvzK1WXRgl+hPiszkgpN
qQzoBiPPsyDVkR+uVokmpHPKABGTUI7GIqqkDzy0QixKrTh0k64PWGT48PpAY8VezyJt0ZLgPUKn
C5eOzvhbte5wboobO0/+7Hpqg6TeijtfbIOo0cn5mA/SMUAPV2RP/Ym9dNABBK+ZDDLfM2pycPqC
4o2Onb1PMAtbz0ITERFRt6CWrHpm9BHdJXa10+18wl5M5p47+zL3q62cD8KEo7lqa+09MGtBX96d
HTKyEmkI6FIjAxPo3rbWc0ROlI3RwZNJOQY9OXZ9r4qGkU9mskZNuSsnTIfkBPhGJq/4x4u9kqO6
sIOxAbg5F9Mt70JrlNu4405gptxvO1/fJh2hJ12PjQdy8a+dC149mFx7F+rFymnlC0ZZi8WF2Iee
T9yqIjaD9zZFSuwakovEmqjDfnLpWTg4Ywr0MAqWrkVAE93wW92W1g2Ww0627tIAeVkWTJJGKgEc
tz3ZSUoum+PwnPrOjHt54xCLoyOvw5/YAJ4q4I3GOQPMEgLdSlBKyY7UXuM4eXSFXhy7tpPbsrQe
FT6Bk2ZK+AsIVR+mETDiKMgcahp0KC4oc4WHRyfDk+sMHzix/YuJqb+vmf/Vgf4xeu2FppuUPSmZ
XlETASfXMuhmijRn4+SxYaXcRcMQPAs3uylgtQMsj/eO12HbzbT3RkZMT0ualybJy2wqRYgneMpS
pM5K2Pcy0rVT1vr1nMBaBT5m1g57CqVMNDEStHxKjTJnZ+A4Twzfkq1uOeOiLZoze/t0DTANPk2O
5Qz5qN3Ek4E2BoN2qLCGAApZT6NFl0KFjokqifePnxnlMXmQelomMedMCrwF1Y0WAs6DZRMZe1FA
qolKtYU4q+1iWVC04hrf4GtscnBXC0Ak1N6M7cYigb7uAGlv0ZHhjWbNJWvajJ/Z5zdq7gTjjTvs
Ju9P32kpPZDJS1TTDAh47CYdZLKJMTnDwhzvsXbw7mP02AWUxCgcGnN1yZZJRHOSif5R6ncKTxok
rJSmlGCi6GcOMdbnHrzbxhfGcQJ1HiUtrClFfp+3LrI2PscaN6LnhdHGzERzmnI1uxTwbJK5Zntm
KBzu2E6GtghPeXDRNFyCNY4UXiyuJ76RvI06YTqcUAXsFdfe1LXF5gG2DYQ599nW25TQvBtsswGv
e99B7g3zNAMKWZ0VgeulYWk1GoBzntgH3Oqk76uOSwvXkbh70oMxuWnF+IiIVT5LVA2KWlaMvb3j
qFFUOubaecidrzoiwkHOFXd9F6Cckc6MVEjE06yeKlZXaigV3Rbmxgtt0ri0EDJZBk02GKxLC7yM
RoeopseVt88K7SQDZ7iVJd7SicLjsmvNWwHJgMXSfiiZnpuNZMvXWDp1GME+AksIDLKS94Zpb8e6
OxTeHJ3K2LkZIzx4hUOVomfIJPQFKTbqcOPK1q8OhhPAEcBpKdoJh7MQ/qGKol2qTj1B6ItNV8km
BpnYSP8u6Gu4wQbx85pGW0vK4jwB+5mgZ93lmFsrlwSvxBJAfi/97IejnKPYkibETcFCbpFF+rhC
fSo3U0b3guz4dXhhENzGit+vAMS2jHvjk9tctzUpFafkTxPuNh+7amu2prdyzDkIJ7xDbslhOahM
7QxT6yi2wRjopPiHcMyzc2l9rIRY1mOfd3I7zp0vuSdWzGj8jQFLhYQP1poMmPsSNMMh70z/ROXF
oZt9D3Jki6uHvtyapU2sYxqD7VzW5cWev5G84vR0OeTEtbtcH+xlH2kXn4XHHmWUxu24fWTURccY
NXkLm1U7tx4MV7bj7gge1xzqTTRBPW9cQqfMsHbY5dQJnLgq9G99WXXYFoEsaorsDoSXbW+W4Vmy
QQ2V+vCTdSSa4hhF6r41bLXvKADFqYXWQYzIWph4RezSBgbGm8o0El6BDCiiEFRvFbPDQVTTl7LM
xq1f08bryOihngg16APD/85qNloeuySLKNBgD/PUDdO4wgvy7PQ0AegZ1Yi25j+JdCJvLeSNEnhL
w76+F3aXrJmxTTe1Vh0SPSdGmoSnjLdbnTnvgisCG6NH1PdF5VjtM1sn7YIC+1AMiikHvLogHayF
dMZvtiwBXoXgQkLcjCfLq4FRgyGq0/4RF5eHR4v7a0UNDzytmw6X9xNjKPSlPguWWHu9Nedk2tGq
kVh4HAVX6yRy13oB8E6Lxud4zIlNsXTY5HCL9YZwkZ6Ed0YWtltaB28UYZStr2v+jZGiQA1tvm9Z
D2i59PHao/4NjL4ofA2yQ0utGaUv9rHMR3EM+zJYWwIEsJt54XocIX41RpWyzZypv5RMSROIRflh
y4BiLtd+R/FwMJ95RxixKe0Ytb1VU7sFnkCt7rycIqlBHlo4dbJI7SnYOLn25OYeYnYrSNEWlO2C
4y0oIJkm0o6tsg8FdXsrv2LAY+JkPGBZpp2sUfiXzJXFqmQ7ZsNnxwYRUGe57+juI9iU4eDUGMg2
dKNVJgCO+d+FstgCssiGG98E/qGcdFWkjscw5+9Bw1CZGbu++tQ50tvE82dJQQStwna3sPJZHbXq
+zRGSAmdBm9kN2fGm/lBjMnSKgjotQSUsaEzJ2RPSOQE+MkuFGJhzUl0RdimoV2F4Hh0dLKc/pfm
kgoExusDRQBf/Lb88I0pXyFZP05jRx+AX0DhDRcGg+19XkxkdSugMLNPq23LQ9lh0+YkMhdkLM8h
3I8lOblnP8VPl5XhB+EsqiUSio7KhAjVZD64TUdSIkaBT1MWcVLJRRpRuOYPp46b6CqyIG0KK9td
PxMQTNoeXruTRN8ImiVMcvXnMrKAZwGeQt58qSM89Zg0wpVHx/N1iCFCZi+G/UaNscs1sfxwDMkf
5cNb6c2Gg3mscZWrU2Beq9ComHH6xORMEjyUAC5LdM4lA0m8SR6jNU74q5OinEdOrclBXOVrVjjE
mBKC/I0OOblyeSY9135WVes2Trm15Ni9PNJadolqHTUTEyAko9bwD3UGxEaMm3ogB4ywDiOs0ylg
mi5l663sDtJ83LJIF6b2LWkyCIJd9KR3DUtRYHSUwxfb3t3KzBhujci/wXnREb5iRVOXw63zraFW
Dy+c/VgWOYhhG5FXiXn4kHPw4eSfM0FAq0tTtHu9WFO2SI0EEdyRWaDqoDaNBa7aIjPuVdsNjNEa
zhnPQ87eRg0SfTAPPKLCXGdy/Lh+Qwyvf0U8/UY3kJbWUw+8Yx52drn2Zrjpu1lYydKWzq5KxTP7
IuZW1UAZpM7s4zqnXFMPbq+jqXuApPINt/XeFG6ztouK8zM3VzSrM8+b3G2q8F5RSYB7Ecg7tE3m
9lHYUhtlqb1rEQzgjmVR0MBIKyiUtokPNO2y+WE6fFWlLZk8Vqaw1pVTcWmG79RWjNWuSrnZMJ2n
ohf5qS5WWjOcS/z5y8mEHSoGsD5xS/sENJ/EYPRCTbSBG40lmJ8crs4XKuDsboLYF3PtDU6IpyCb
R2T9Cd14azOSm88VT8/3BBjPrG5RJfuv8wvV5vys+amzbtyNU0hv8jxRbCqNYbBrkQbs1Pfx45CS
0+TKs03mdy9tk8MaNHZVv+fUtoL/nr84z1MpmDiUVv/RmBK81VgvClozqKCpa6DZCJ7CiNcydjZT
qTFTV1toqoTw+/xPGahqVdpQjGJCAfP8NcLhz3ZuTrZo8XvlYsww52lslWqfZaU/WyXXyCJlcd1X
Cdx8CQGXq4jDGLIUFL76XV8vvVS9N/O4zPT1loDVcKoy3EE85etf9iZ5N8oLU/QIF3/krBKsiY5N
Q4KiyjVIjiQb9IgqIG2a0DV3TW2yNtM+rrPLaB5zcFmc254o1ZsHKUiD36LOgmzcPJZT8I0NASn/
7MVIImePtyYkERse6u7Z0ut96lj5+r9a1+NYfP7Pv9a6pPvvtK7/+3/K9r2h3v0dQFyYff4ke83f
+l32EuIPgo/Eg3RpGDYQJv7ku+pl/yFpaxMuahd7Zhvx6++iF0oZX7VdhHldCax0f1nrNPEHpDNT
UnBs48NydFv+J6qXmAW5n7xu/BDdtQGImlfDn8Hx/ah6lY7fug7Wz8lSuLUEuxwHZcs0MzpDCJN1
yM7WAW2ZbDEb2lUUn6JGFF9sjKqd3jy0UAR3nR9EuD6Lg5Nzge6CKFtXt3WeJntmiD3FLI67b92A
2rrYAhzUAq6s4VsRSdjnmFxPHgPEtU1dd8v8bV9myTc26dYh5uRfVMYo1kM77BIYWBs2h/a9YWyx
wqlbjcwX4VIHdbgXGN4ztZWWzkiupISjEFs7rOJt4tGZ1UnnokzPvB9ScimhAcg4Exm15ylBxyqf
3BkbK/N9oGXVJsGJljOFDQR3dK0wM2YHjFabIF1nAlPCKNxyS9CcoD78yqJq5gmp+zSZzAk03z/4
dko7psbmbG4CYo2+x99eJ+knmGSChq1z3w2SLALtQ9d7RRe0L5qORY7DYqCamvmeOoI5kc140kzS
egFAjFJVkd8BkXwurC7YFgUX3ZE+oNldmK01GjPYdDEsA8Xz5PTtiyExODl8z4z/WQbsqXd2kfg7
y9Fu+tLaNJDvjwkb08U0PV5/WkHPYpuM3OKndFlNtn1sQqNd8YrhMMPidYgUMw40+OemLYqXISJx
yFv+GFH1vaW1TkY0bNLGYZrxt466E4tq6SdJOzGRQnIl19dJk96Hrlk9Xg5/AUgdHUCwXAHWUcVG
8GpVdxNBmo2LD2FtJafEUyaV9O6tHArz2Bm1yU4rSuGl+cBCpkeouU945IdNFzykQ6buSGZXbkA9
XGu/QY6hEbZkstBGMQMkoyCQMINgyH1QLz9SRewWvX3MJL4hVicnlDCyG7RerVM4NZsIMxsI2fKN
it4M/1//2aTudKuNxa6Q9O1xCmOVF5SjOwWRWW/I9656NqrKuP3hunL7j3ZUMQvPP9pRdX5zwC8d
Of9fGDrC+Y+nKBF9kbWmAuHN4YZOBXtOV89hF8EVqvlntVgdOkZ/q6wcmicTR98SEGO4/feHwb70
H47DESQqHA4Grw0a/s/HoYY2yYk4L72iOcU2LV6xg1NvaO57jwpfnzrTpkV1EaUJv5+ix34Q5MeY
u9B5pS2LYXgl9zT7A/WvLAk+IjvfsQ6jEcxSNV6z8D6IvEMyp05zijSS8JLX9Vqm59IYUGnZ8oE9
56HR/XSuMbywe2IaHVifvsRaAQmZTZ7lrePceSZ5QobfTA5Q8w1E5AL63LxzqebNETNRdqIQ3Mg2
xJ/Mms1lX1GxDjgUeN1VAE/+rofXGLm2CrLtkI/vuugemJZLQk1EjTGOQMSaP/rr0x5HyWG4XL8K
0ZH4xPXD61/tpk7nVC3eiusfXL9mskT1WJNFfUjnDSmcA5UhmzxV0Y4URnkAAFWRZ+Kjvz41TIxs
Xuhu4cQScFpCXgGLzycBCaCgHr4OpYFhCX/odkzwUGKbnbNIhHsTz7LXQOy3ud4+m01DH1HcTivM
raCEqCNuEkC59Fc/xuXAb9OvCsSSfufONBdr5roIpysOf32aAFaPwTw5DmiXPs2Kwzg/XD9yYWj1
uHr3iW/rhzAjlRoy38ZwoRTQErM+WBlGh+tHfz3ElrkmcqPv+jj6zIip4AFr68P1IXfdO7LVyRat
6mj02bCQbT8uCbi/gqcON3QEtQeWfS42A2Bz677r3lko12um+fSak5KCATZO2WGcRw5WDQ/IqyaG
CJKSbnjsGD76V2w+8L9gJx6agj0C6pHH8tQzDwakhPnLdhXDU3bDbMml92QZYwP52AcaPTk6mfp4
PPo0cBZG0O9Lr2DJmRk4nEi8vIYYXRaSOATEotP1GRXzy4B5mQnM9fONn2kd/6aIVx7582OdqCOD
Abk1fKgxENb4bc5bbOpjyH+gJrbfEmmT3x2rLVxkta0rNuYg6xcmC/ZzY3yhe4hgD+930ne8ua8f
Xvfw7oxGM0ZttntCKmsCp8RXwEcCegbvKCvwW0QAfmujZuh7zXiLGFXwPprf79cHJPa/fZTYjGpT
iwK069b8rz/wmUMv8p7BQp+AzPE1Zmfc94MJTcIiobKCiIOwP7UFWkOLtGgRncElnh26+ffk+tqc
mpw/t+xh67a9gxmD+5Rv2QdWJ8nOk7DtHKM+OoXEeh9669oLn67fodUBigRgtnRXJwbi2DxBENrz
aH6iwlhrAT2H2o7iPEz4QJ2FmqoX8k608XUbFTyn/YNM3Cf2WNoxae7j1nif4vBtohmTOnr5qHJO
GSB+NK1l1IFzbq/0DGh+Nya7FuLcCrg4zgqdC8pQIGbTTuAb/soKKcDC3kmBRrk2YvYYrOYJMbMc
2KUD7L86Bj/bgRTpe1YDIgyxz0ZUCKBsICg2fM0flbeiwOBONXN6nW4aNZxxFj14GLVW877R1+sV
LlbesBbiIbLZ2ihxtpjZ9OSR33ad6Wvm4mapw3hJou0W74axcubGGQzqKC7ZJYWPugZDTiRby9fF
A/hHaAkyae9BMaToC1zZcewA1Iq1L+3gxluWUJNZqJU9EMIbfaQv5hnrcJgK5PP5RsliKiExcieP
KuYqhJJqHwKBaCxq6+w0+sp3APi0LtHf63qkbqNiq82AFL1rbfbmabPJ0kqsYnJWa28xYFbhz+XS
KFV1MlUE5i6xj4EOFyIJaRgIqxMrvzEQkLNGiwJVjd6LIKVk9o3YPQsfxxh3VaXLhe1oxZee7fMQ
kcYk7ngnMGNtuc98Rd3E/FhCGQcMMRzdaQ+KJNwOk/ak1VgSpyr/83q4PDVxrEtnE2fBFxVSJR2Q
rhaTkYNh8Z/QXgbshi3NPPg9F52LulOVGT5Xv4n2uMkFktemxCzPTRRUrwMFat3DO6UP23JXKZZ5
Bnj2UWMNpoVIh44bffEI6N74afxWatityyCcVl1OxaiZdvI1K/FY7kwKus91y9bVCxQjmpnPJpOU
p5N3A9NHOJYpHBhMiA9GSPMv8zNz5fkYVOrMnDErn1oOwrzJa3hxDekCJbTwRb4WTBsJ5tAQ67HQ
bHCTEg3OgDaQ8N6WQKNWUWUcr6/V9Ut6Yg/ruoPEGbxL0+B95De0r4IHrYfoWMSsXweFVpGbxwgf
5Irup/ZAA82dHfSExft8a/cZ/HwYKzsXP8+6494veH8SoHgRWcDY4sV27Gbnty+MFJ1DzSoDKx3d
0t3qqtvRwpWta1KfoXnnAe03GfschvmLykJbKIha0izer2K74n2nqsfrui/UTKYhukHKTuNXJiv1
ojgcGP5vwp9BNfbOdomzxX751bYeODKqkIJDOzWCl726JZBRXhTA/MJmohxGktidgeF9kA+iECEG
vBdCTOBX/ZFNUfsU2PhFsT27iKTmFyvwot04sgWoO3mjW5h6ACja2O13I/vHBUl07t55zmRsqNYO
fSXY10B89QSmNrvST0HzuLr56ETEviNJxwdl2QVtLQpj1WrqgcsMVvBBs4W/abmp7Hvcd0nU0Bml
p9ugHIhYiMxdJoWcvfEDlTHhJrDLeFVzCi1VTsJF+9Plshz3cX/WG8b6XYtAHDufSV2fyFkeSr/6
rkV8Hf63/5n/kwWx8fNCVOkOgRhL6Lphc21XjsP2+McFcUzn3VSUfzK+rYHufLMHbWCWeQOYxD52
3W1YKJBAVkhrTCHXuZN/0/OixkL+3iuoZ2XqLa7KjR3qr9S2QvAx810ZsEYoKx+dLM96hnjJ6b8K
ym8UFMNki/Cv7UKP71n9TvPsj4ah67f8LY2o/2FZOqZjulbAsdsWwcDv0onh/mGyDcFEJBS5QEL5
f5dONKKH5N8shAV2SkIarmS79DfHkIYaQ6wP8YQRt607pmH9R+LJL+9DIRw2REQlsQ3pkpHzL6k7
aicV4N45P8VlmxtA+dQ18bJD3CWX4QXrsm7kTpcNRs9UR0yCXpOh+yaJF1+88fOH1+6fnBXiZyVH
XY9GGVT78nqZtmvpP58VZR4QZ6FdjcLJECc68d2l73b2fUFt+T22q0dNkZ6uuPNlisiET9e92WXp
/dA1wM/zMFu1PesFs2yqo6dgTf774zPns/KvbSzH5xISdTHmzr9Q25pFrR/P2kIWMwCNJSSnJx53
EVCrPJK3KUzjtTTycWuzYIkcc5X1eCxIH1Qsz1S7yVlcV1ZtXuQYluuByw/qfjLeqNh97WZnPdBr
seiVCXkCINsJDF6wY0t4KcfgDtRuAiTb+wQ26G67OpgZ+nq3NOLJWVYwpqRw0t88U9xi/+SpMqYj
QUsqU0ff+/mp4gJgphMAe4+UyJ8bY7iZ3NS66EKj/yShItX1oQIk9jSzS7TuVpR1uYPaN6yHenrG
L2ZcOik+MqN+bydB1m9+gC3BTV6F1gw62oejg03X01V59itAIHEYOptisoGmG4aDnzTL4CDV3PiH
1iluQ1YSbDaam7TmTsS43RNnPzKtpVU/Qvgx1ioU9uPUkmPpS0b2JJPWZmkxkKnlp8fcr23bs5X7
ObVaTKYR9xglpTSeZ1qvjmCSv9eA5iatoEElKJ8fdHtlVd6wDLgIz5o4Ja+uh/F+LGbNXD95bCoB
jAz0b8OcMMgNjIGX/9ml2kfI97yKuj96jto5UyZ3jEvxt3XuWbKzuXWS4hzUpnfKpC8OWviZ9dDK
Aod5tRqs/javRLCpVU914TxFAAZTX2qqTLaOLCO6AxB88rg8kFzuQe0xXbJL3zuABi6534DLpdRM
61k/Y3hdpm033rGrCM7piAvJphq2ay3ERTDzU1bsy9h5B+evDl7r3UrDhsc6YVWJu3zjtw5MyFG+
2INtbJIqwqdm4ZcFPyLuKI7YNwMEYE0Sp/XljPJpMuts7EQ/4ASgVmBZ6DE1MZ4VXbjKRJcid0Jw
bLT4hZn10oFkOBWyq8+FZyrwapST0rAebTwrTLeCQxtHWkjimMU9xWjhXRE+Sz9aYw9qHoVNzWcu
WQ1qoZU9BGkHO9AyD3qATdz2Y21nquDGBCSgaUl8k8iBpUVSb+py6g4aOsWS5gdCETKq6iObR0Jy
WLtUZGxhdIqdhf1qRYiUV7Qy1Tmt+YbGM+MV+a5XShWcM+JCtC5hN21M6aUbCY+opwroRPtKxOkO
atXJT26lpXeUjXj4zlYVbQ5jOHxp8YpB2cO5NAdxMCZDrbYEHuZwHxlV9OjG0E5MkdEa5dg3Ba2y
jwEmmLMVVdYF/8zACrsBXErDJAHmrFlbYe8zAuOtoLdPshFPdWX4T05HnQdOkXVdEx/Bn/gY1HA0
SiajcIiq6b6R6sMTzk0Ns+6oTwy3XQj96zYoTJ5TprjEOtOa4CUF53TU39Gocvn3l1QxR99/vKQa
3OksqUjaQ9F1zV8tq30J9yahPpoLZRJC/kpQJvwChNWSa6C4H8x+gofMAZfB4Ow0ZdOvS9fOW1g7
a2oomW8PJrQHKi/hzjQNGKqiN83fLNf+4cZkcIGUlq0bjtK5KjKx+OXCn+V0yuHK4EzzLx739IPR
mYtwBP2R+v4ynvrxLZ27gpCH/HLYDVEMv2ckXAeNCOdkaHwJsQmyyI2efvMKzkuFn19Cg22qgbaq
A0dxXPWLqBmFGoDdqaV5Ck/mhewDDrDWc1/zkZCcrY/Ns9AQgnWuKI8Gzajsxc1DS9iXmKmHYdGY
0YKWpeKTVlU7Elv3aWCJMynK6mmMSbAEKS6o+HWIMusQ9dYILmaGkffJDd1uwzHipIDWKNHRc0js
oxk+OW746nkQtyg3TA+qwkfsDH25jpM62ut+t+FUry9BV4BGj0N9F2Vhf8pQNU+D1Gj9SluxzQpl
Pjha+YKyLd71yZGLoGUabFdEuCLAXfe9EST7qNFo2A606j403fwCJpflv+kerw9t63tHH9rUKhy0
auXTBXon7QdqYYpbuj6w/zTR3QiebJlw5X0OuoCYF5tUpuvhEwU5/U0n2+Emt7iIsXdkY+5Y8s2e
xI6yKXUzwnO5iahyYFBMGkl37gefWEOh038OCbVZjqVEJ8B4cR6z8KPK4XdOGAwp3aYMpPz+QA6T
zo4miGF/8aSMeppgsEHu0hUzJKb62uOk8pIikIj4vN4uS9EOFxwCxSJ1WwiksTtxD2N7kDdK3wEp
uwXHNtxYTC5wRWfjselCedP1RbSM4i3Zvvq9TOWRuRcErlx8uG7pfMqsf08T0u5NLNGh3MEiE22G
y0F23Z5CgRZZhBnECBgeaCW9eJOyn0nxED4mUGjPTC3YM18qQ0s3nLgp+Cj/EYglI2mWLAtasTZD
4NtnRvgIVMYATKvQwLuk2a7wzeJ5EkmDNZA6Ds8vb2s0oal5s61u3EykdNbgKtNHmwsanhVtRKep
baCDVbPLXExlvzmjfl0UM/MBQ0FMkQU68UP1yzI0gw2KcSmgsqBiyFPhlibrVdx6ehDsFXePTVaL
bG8nSbVlAJov6Qyubhpq0x5RomChvf7meAy2Cb+c4RJkDXkwdgPzlWi+iP7g64+asna5fxW8+5yt
R63cziTRShQctFQhxKqp9KNRZcU7nZ2rSG+oB7KTDW3cQE7Rm7YJqijga+vB1Aa1djuMmxikgsfJ
nZ08lRFdfKhRtONUZz+WT/4QNZipg+ZpiLWa9IwrNwUulVNIL9LCjZLpceRU4bcAQbcrymM5yRNl
iSxMU8N44r715lnaNnTUw1Db+Zd0cBaNHd2HQVY++vODDbho9t7cXT/zqJREP+xfHVSStRd47Vwc
UHx4XmsdLAwfN0M716jQ1H59SOaPXJCTS9ww6XZIW6rCRKoDqRbdo5t0qyYeWJ6YTJwGx+LsgMq5
KECevIVN+BQGlbE3ExJT+HnxJTRzr1GqhjuDpALm2fhYgMA0WStcSrthIckSY8APjTnuxakx8EUs
ei4gOMYVWH0YV0EVXVKru2dhEkzpxjSBcpZt3hA+4t2Rj31EMAFTigqbbDHpmXEAthLdB8kIdiXv
yc8nNsNNLq2XKtXT/ZgBeMrgd9NnFRyhSMlN37rZvRCvNG0PD9H8UMQTc23KjdgnDeEx/RD4TM8E
SZlXpf69j1ZIssObqPGKw6cy3XivzmhkD+NES2whNH3zm3ep/U/epLB0LIvgiWOKX++R7Wi1ZglG
kxENFHgz+rD9EXRM64UnWeTgIUN5l3fju2O3nzEUhCMoOH1tOMNbCAH4aJj6V8Sf3xzUP9wbId24
gGUAfcw371+3MaUTVZVdBnBWJKvWwTCLTSHAhdpeo61Emdpf6tY0LoPe9ssUt+3ODylcH1Q3/MdL
CBOqjZqNFIR9LDHv6X88h6WTFn5vOkhxkl0AGC5IF4D3vTG/CaucMHQAlk64vX7GVgylGRMolEHJ
7Wl8BhII+sOqu7Xs3AfPz1e/eZnmJcJPqzATGwbsUPZ5Fk3X1yXGDxcYFu2e7gYGDuNQZZssqh95
WdYKViW93MWH3pZbSf/bSw6qfVvMr50ysnRh0JfDDJyyIBtIDoUqNMWnhB0Ue5Mno5y2GV26v3kh
LeIDvxwt9SG6Y9smCgrHioD280tZV2VOlx84kH7090ykhoteuHfVGFH5h9UpFGoD5jA5eQqPrF7Z
wRocXSkMgoog9FZgGq1a+JtSp92rFc7SacyLyNV9V9DoZ6O2V4IhcAwIjX2El+3BvoZAitPwwAU3
XHviRrnFi9ZCzxl7dM6hnewV1ANGZr31tTHTcCkLgId5llGVvZg0+4XgCsbvw+jjWES45LIcdRer
9z6MoaflZQzPdlvfl1qJeN+25kr3reeWxNWisBg/sikhFOC1E2kGq1zbqj3wLvZ2EygE0k+Pg8Wq
B0rgq5T6Q8f929K1g48UQsF2QYaaOKmTeAxUPWbbuQXlyIGAbFvlQuefJ0ACYi/zNfvASG32LGaL
ppxA4FfTIXL7p6AuCRVPE/vYuqHBaQAS4Og70r0vdKjFrCrc4FTNEFS3/dI52yCxW3qt+TFl8804
M+gh32AS/w3G24bf9yJ3Yq6QtcLd0GBimDnNt2kV1SsfbOkqBoe58XpgylnOTqotTecQ635yxoN8
z3SceC6pnCjOFxQzDwCNi1Cy+5ddeyy5abv7hj37afRNY0HXd36BEWccPKnNIxoM3TzkoX2H2kBB
Ao5VVxSYiEcDsgH99Rbx9iCjKg8Xxfuk47xxMWhTviT757A5FXHVvyhJ+3kinYr6F2rnItx3tbQJ
b7GbYXD0pW0B5zZmHW9bN9yERpf9P6LObLdtpeu2T0SAZLG9FdX3khvZviG8k5h9W8X26c+QvwP8
N4QVBIkskVWr1ppzzACiLKZp9eqPzir3hnAzqgG5C6kpYNLzu+jgT074qMq+/ZWXMJkdJPIYiEjt
kR/lcaTaefFyRoxl0hIlGs2rAQnIbkIKSOAXFI/Ii3YmvZilaTqwvXsb1zt+p1qTVpDPtQuaJvpQ
AzhrqVl4YfJGBNK1E9SU1r3wR0D/KSM4t5K7SP6ZmvyH1s8fvO3/UjK2DlYO84EPw16Q08LQcA5C
8cp/vB8M3Vy2ocX86Zst5jamDmxSUa5qTCkknYoqfbU8T636yb1YI3TZ2I2PFkod+mjt1h1geFSE
swa44voX6eSAruNrJDxQP3nkBygtLsKIsNFzTgFgZKJYGC8FdADfJmG+jMPgo+59c9vP8YsZuQA1
1QjUJqEt9DPUDunOpXof2/RuNGUDuYGQVmWqoCF0HJIcw/Ens5CDx7Yr7Zdu9iEphdJc2dE8ruPS
+mnNvlk3TxaQ0BYF9cC+cIeZxE0z2ikTLb1DKLAOJXPZ6drfUZPm03yur5Bl1YGjAP4bZG9ixsiK
Yzd8CX0c+aXyalP0kAs5EWp2V7/VFTSqDOCDKaPkrLvt0p6iNBjQxTwpG0u9bcme6+ovv1K8OYrt
ge197c7OK/CeDgfD/P4kJorWr1ack/9TDj6B5Bl9BHN32LaEIpYZDZS0Pgw2PCzaPgR3Ibs0oOqk
Te8jiu2qgK4JkcvFHMg4QRIREjhpsS4FI8ieMv0y8pAIOhpxm3p6TLg9Ep7yNpj0ZoKibC9KpNLA
TdXH3Hfbrobd4XbRi/7MP2mGJN0ZTb6JAdEwHwTw4Tjd35lgGVAzaPhbKxlPHvlQC6upoQ5kiP+R
KLykFsg8aYsHGEd6JQSmGjBUt0MPgiy2HrZIHnp3dzPVrYYoyyiZRhRYlF1KZ7wdopLnNERaIcTG
pxG80DkOTphcYFkGBo4Jv+LM3EL4/DWRTs5wZrNOtlKvj1FVWbveIE6ShA1qcGaeaLmPTuucCsz8
Cx1qyCbuiugMN3cN7zy6zMl7aKvu4PoR9rNuZdrGRxcNzqoEKZ/X5bDDqgSN1SPWzCf2K+KzrpLE
Xkr/+Wnl/tkclc3yLPXNQMAsq9gM9DvMo4AbpfpqovrWem5NXIznbsfS3gg1fQw9PpIIqteyfJ5T
vRYotu5X1bplX4cL7WIy0iDpG3G19i0yIuvmtZ8b9z8+Vy0Io7pa20/bIWCf4YiL4a32yh8CYeer
rrU1jeZ/XvVXqD4+gy0ZF0OcW4wMybISJvGxyWx/GBUmkrjXeO5z4gPwZazsgsQyl2xeEtXnO42Z
TdmndCY9OgYOPcy8JG3KlPd+INKRM/CqAL331pNdFeSTbezcMkwXBoFFQaLDVUE3DiGij0jymQog
O2ESpE6Vn+javKaJuctBoCNNcMRaB3IyVsa09/PyKtEWUZhkdiAT1qMJZOvdkncxwhGJZ70NLNI+
qBMXUpcenFXSvKC6sIp0bEsldAXvX844cunaMI/oI8SLGpvRS1MnRMZLOnWmX35apB929Dn6pmeG
jSwb2vx4CxEbBB7UiH3eQU4n8SRowwhHECr/2WvMFR3fz7FpjI0584UZmYkHyKm9fV1InzKl+8d6
8yr1dk0xjY3Qbv40xfxQhIJ8lx4yT4MZeMt55N42eA2tbHpnVB6uVFtIlvlxXAm0UnxICaqlNFu1
Dl8D4QxByW1gR/KCS2XtRh476YQpkY3bJ1inPIi+z9YqR43oDjVC0GH8pxArMLxJVonHjonpoEtt
juPScdZVkiOsIvdIkOTdUB7uKMQCMyatN821eoOTE+fKZMMQNIBBs7jaG1+b02WCR/bgDs0MEUYQ
891xh5DYMX7IsQ4MHGLLlCwXCoxueJXzuuMwirVyYurwnYZPDuus7o3e/InywtxAYHfGhQg7uU2k
0laqLr7DstN2hpWj7Yj0aAxgta6nRksItmNxDNsmRNsgDlD+p40xmMWbEUbhCiC1qJqOQ6KGrTPE
3zW5Q3GqFMApM0THJJ3+CUZHgTKmJP3qefQnCol91QdUCz0phGBaQpwb0WsVRQ4yu2anv9X+vIyE
qi41tmXIFWHOBrDrWre5qqZJbv3zMrs2KYbCJ9cmjAk1bGj4ckIa1EAMD4oua0YdRQPpo4ItvtZs
kjlk6RPqG4P+iuULpHymeVW39MKM4qmH6WjX3bTyyQxfJrnrHooy/Jx5RPezssTaaHsTm7gNymm0
TEF6E1/zUNnuiUqnRlVosUROnGWtHCh+6s/yYnfTjVu0uE6RLm7K8dvAVMmw0dymOpRJDZdmppve
zpbcCE5SwKdH6CWsVnDr2viWQHdcVXp2nRIaCwkYvnVnT2LVwm8n+zgykSYIhkBK+xhqCBmsZ+G+
VUxBYk2Up5Bu9iVhNEVNSwvK5MHjr7Urn1p8Cdc9ZICfi11RAXmSYS5wfhOJ4BM+/QQnilUm4XBH
yv+26USZ1dzftNoP726vG2uMCt3yfy91bbz4VRykoxev3L6NA0M+8i7TburZ5BiMaEPUTnjLQuti
ei3TU2H9nURsv+sD9TVVuRPBLuJRE5UtL2gMSRV23x2sm7Te4KrnEwgbJjz5a2U6HZVwrt5rnmYy
Y/29RebwMXXS8fj70/9dfv8Mz9UnCDk03Hr5B3yDdqyGyLgknvyLvZUVlTt5XUN+PZhmszUJ2TnL
0vjwC4/QRQ1PbGr77mKsbWOfGFXypnc9+Q95SrKKZqKh41J32qYs/egraW2SjWe2W7cFPVU4M3zB
cE5eSXfV8aeTnFMCsTzFTUnKR+R5W93NtE1vV/5L7DtA4hTY7C6N92AnTdaNCRcMQLV9iAD2SmJA
9DoQUxZY01BsNcnLeS/fO72z725dWsRAePKmGkOtQvSBV2pIZDyRRdi5aRGTUIgXEZrtEhQ3juHc
qUBVkV7rIEQ9oXRTJyrqV/jv0x7QG/kn3QR60+XM5YhkiYMVAaXjup9qzDfjJNTfaqBnmTGSB/4X
zjvnmcZrMyRfmDXO3ih7acwXvS4ijpxcwtYsiYhExT/EQl1HOfQ7+njRIg5bdS3iIjp6YKSeh8Pw
pfHDt0h03b5E5vkaUryu6YvA4YpBiaUdvfBB07XVPM5w70zjrR3M/B4XwjxrYmTMamf9p970KOpH
Zq2V6jHgyxoEtfDyQGi2A1Cm41lqfPLGFPNx20i+ixg2GCKXv6lFygUtPnQlNukjilbARU6pfZFf
aO85NSdZfMl+L1YDwjsTYpcYPtOWNaGVAgRC1tzLrBa70v6WtO/CRDu2LjoeWrPkhdvh0RFSOw7q
m+R1zkGW4pSisvD4e3Hn4hFPRkNcWnQ2MhmecjkDCNH7ejf4NKpbpHjSqcNP+G5E2ADbvHilZKzY
6tEeuDZQA3gNGw4y6S2pwuSmQlxRlmaKlXL+efbQrbScKF570Bu4a3P9o3yA6WXFuTwr7L/N3KjX
xEzL1+Ju5BYBGQNlUu6/tlVsvDkifSgV+n/oLbzQKmrfqfL6dYHUZp8aFmNcO9z3HTguwxDRGe+b
sZvnstnSvU+DeXLiPfgPjlK1Y29+xwxTD3t8tlNz4fayvnqjqK8i6ywg4XRk4ZZkJ0d4hJB3xWFm
wSczYwS+lLM12Fn5ZjgdwAHtpff5j9lp3aMs2C7VdIjp4xwMdZtMDc4a1Lu1RfbJK5Nxd2vRsQ56
z/weKARf+im9Iy9IvmMdAYfl2/94+Ka9iHN1Vr4DFcSaXtHg62vsV9UR1kq/LLq4Y/ZZy1uW3SQx
foe0TZMXB3/4lvKRuHTrmveevZIT4+dniNLFrOCiePXQBdqkraUf10elrOqo+111rNkV1k2eYB7P
YRnZRDXd/XCmrqjANfjgaFuhO1f1vFjpGG6xAdMja6F2lVNMnV05Z+VNzrl9Xjgu9MhK/RKvnRgO
iQjftGzAZlgyBh9tEIP0FM233mSKiBL2pmtUSGLUwL6nPsFwOiGejpXaa9Tx7vE550UB63jHFK4l
IZbGGfSZd0lMzDa/l9hzS3IvoiBsk2Ffkjp38X2N9KxM6t92YwTo+4lvmiFOTJX9RTWo7prjEi2m
iupixvaqi+jE23GVv08NvVkqbOuQ+EdlZt0+8Q3vLdWQi+MSv3EQvOAdTM/5WKbnNDHoVaTD8fdV
CygS9H4U7/uiuwKZMl6bWmyGnh2G9Cz3jtCIpGEtnC5eIxnDO9c6N5BRxlNDEiKXqKDZJUd9a2OH
+t2R7Oe2JMdOXqi/VnFvzHu9NRGfpJF3tEvSbuOx31oQ0Vaqcecvp0aTPbXFH7T2DLygSF8YzjqH
efiBJHRriNbpAV8dmSSZG5SpT0O0Kd7S0KXlBYxmT7qls7dzpl0YpVCa5kI/qBaIhksdXnYz2CJt
gpVm2Ve7VVw4kqI1+XK1GLe46NuPmEBnVD+fU2fku8mmg2/VI9Ik6G/bbGqTg8xon6roaZ3BeFX5
zMISeIQnv3Rwu6J//ZKx+TOB313yjzZoaJrq3I853fTnczdqhIN1ZbWFnJLdS6LkD6gm2DPzqr/E
pudwztE/dH06ZIkmX6JWqJe63U3exIEjtC+aXjuX35+Urz603H5TmP23ZjkCexyB4cWjqa1Q5sY7
U1PNciAcd2kmbn6AldKuojRjeAaqettWVrsedAzHpjkaG5WpcoPLNVrWpRc+k39r2KuKQ4zvX40o
PtiJcZLZbG3nqVg6SCtO/dRkB7cFEV4X9bwURHctfZw3t1KerCDsxXhx2JkvXT35SwM0KYJOdJ4m
Q4g1SADEm/Q66V2qLEMJhu+1LIxFapT9yWxZY6YxjdeZ0w7H5HnRPIZQvqkfDWa6nLKyYTM42pdG
Muh60LyRcJ8B6lLP09uiSIFr5wWm/06dqX1XGu282Mmnq50N5TE2LbLfChMxVWPGJEi+940KCDnv
V6RkRtsahigzKJTvZbmDtNGsNWcKvxxtkXV2/1UIRFed0hQ1C7CMphs5Nk5tu4un8aes7f47TOlx
2kOUX4FOlKfGN80gcxl/Gml3TMdqfoktgestaXYD8C6sVCL+bqpv1Rodm1MIiDPn3cXUlp81Rakx
9KgpevctVNbBxSBCGogzc2v5+srhw1k5WA8xB9lX4GFHwAXO1+i59L7yer4ITbfOsZnD0UW9f9I4
sgUEV/4FUagxTK45aFkE3edh2X5b/cpHT/xfnL0Sz+UsOfb5O9JznLfakrvRkuKLyC4XfjH4Pz7V
pUl/g1BJ8j9KMX56EKNo/v2deuZpT2LvJGrj5tsGfbnykqBH/VODOoESWb6X4QApCgxF0IhJ2+g6
q5nWOd8E/u4NZNdnRoTP8L7wJsLmm0NVdrIJfrp4Cfg7RyXVf/CzDtlsm++JzFx8PdZ7PheAfXIy
OOJGvjiDNy/1Yj5GzyFlrJR+D11cH9SxxsVLge7oNflztUgI4ejOgsngt5Xk7UqxBK3TOP9Phj+w
EF7pNXX7KqPxm3pm8Q3vTxEsPsurxm/mPO+BJDSggIV9uYKmI/Z4i73uqzGaZ6ntFJtQctuE6Qrt
4WtHYtY1jqX58lwdojrvbr+vUJ+Xy9zUaXrZqYB1nH7QXwUwpicEjw5bYBn6SpAtgxNWrXyvil5l
njPods2Hxaw00JoMLKUxvMR5OC+VlbzAEm4uvnbMkroG5KyyNZrdufHbRek3/9L5KGmrLkhTjGmQ
tF/T3FQrBGDhVkDIdFG166p6a0czXVniTxnO0YnJhkc3XDXOPisJjnuOXa3MY+rvoXrXo4/JyIsd
BUG8TLVyZ6TfuWf8l6e1HUSWnhwVBoVFJcgXTROUS9B9bwqGOyegIbvOymOM2rX/YqSAISXW0hHR
vJ6YDMOUOym7HU6NZxDVw25bkIaq1dkxKgGRlqa2trTyP+IPJyijeaefjFTWNMGMy++rOm6M/aji
h9XBG63T8WOy3eK196L/LRCJ1sHdCo1rxKR2d3fDyTnANF/5qYLGaIzmJ+JuehdO0V4iz9Wu5dz8
K4RmfsLmCVCc1ctQRkiYWuc9dklYCKkpUbfJv3TS4/NcpCMwyUKtcjHvC6e0770UyV1O9mmAqfAw
Io3oTfKSUeynLyzjVI3+9NF73DzmkP4ILP9IU8L40RRaGWSjXRzCbIwfY51cu9pMbgwF8+XQOXKT
KSBkIxWjm9VX26jPHjjatOBtVNK++1bXPTojYtm3YJTrTvaVD4T3zRYTN9CshHGVQLHQCsBITqLX
1veeirVV56bxSaM7+Sjx1VDD0Bvjqyz84ZKy7kSxA+ufnQ8jkv3mx6rYljUyfkVKYj/M1cPIUKT6
UuaH3rHKh7T6I5YpYhZkfSF4mCWFnYRTtvdHZjzSpICMe1AqME+fLwGQ4p1O+1/LGMqDQg2fmWpe
ZCz6nePTZ/FxsvLN69fQ7LtVj7ZkSs8S8ek6HeJ5iYymurpT/uaJYlzOitU6i8SwdQVTRVuExYea
nmOeyTB2gtLO1CKQJjA1s2Fud4NZ0bPqrfQ22PVHbb7JKaxfO8//V3b0zeCyNUFp+tO9s/XLpBGd
ydcb7YDzNO8lWNFFM87qUBqBb0cj0fTLCf+C8qzHbDPMTnHP7Fy9JxXs+SXO85w+/LDnfQ2Rv0ma
In0UDqkUJGn1QZLBvKpAfJ3dMfqeo08UNv5CDY06aAzlr/yX35gx3Ufj+A76CPr4vy+jAnGT07oP
sKTxFvc3nuG5e2PmsRojG7NKbNUnofNQ/95mVdnagZDlFzoWsXbargzscpD7u98PrFoso0gp6+iR
aMO9xi54LVSdHKAfQa5z9r3Gu88Hp0HiMF4rB5aHkZi3WZ+KlZ24FicfvnHQMEQNPl+iAeTGqSW6
WdS00Lg77SS8NXRmOEARihyiysBgE3x+i4V7JL8weSBXmA8xXWQq5dyFmdbjjLfDfl1ZI9B+I7sr
ia2umPSbNjN30CBn02gYz273D44FHVmpRXsA4hwEy+GSRRFuNUs7VcSNM81QRD2glGfrhXwdj2G8
njr6ARUJW2ORd+8z51RuF+ciqEp3CdKzR50ZL16pu9eGTuMzyI04ZbY99gxM+m1zSlDotoMhjqb7
BILkXvfondxYV0Y3raue6poWVcR96bwRHGIRr7svLfeoRTSakWfpG+9aF7Z8TE0kzp1PQmLktPIx
NzUOzNimLiFKDC37C/Tj9MSkOShJKWHiwRuwWRfrIbzVNYHqWWgcPOz3FajyN9J34gtuF8aUz9tG
1tgsXcaMgUj9GHag/4+WMqI3yAJEDZfGnoUi/SCtOWjysnlLndo+x2SnEfEz3IduQnzsrrxhSsi4
JYxSx9v/Oszumt9iANEXu/suL6qHgn3mlRlpq6Y5v8oEfDjHkB1QPZuxAdu4iy9lAdKPRvSsHp4i
URnQvw7SqOXsLRPjACzzaHZOeveqdnypeFh/F7d6HsxDKRkaZzLuHlE0RWuIjeWmquSfClbK9fld
S7cPLwIHMHCoZplOxDTUROZ0bvxhJx1nImvWFkyn5RL8JgyXNoNKEjmbKbXoZqfK++hL/dHX4t72
/kzQjnvi19nqo28QuflGDe1fYtLI8FpbGy1NsAyILSJLicRnGYfl1+SSWlbNK6Wgl0yMaZeNY/4p
EtT2v87M8entzOYJ3Wo63i2tGHe/zlM+wWav/ERuIVmBANSZAmiTHtQeBkJNH4lZLky+W6y1wANK
8ubTqS0XXiO+oxz3WDe717QjSI4FgrrMcI618hQgtOHDy/Rwbau3KH3igzUcxZptJuupnb56y7Q2
tAa+M+Cpcz42iAChJrlZeLOyirbjROvVnW96xrNu/TUKI9n/OnF/YVe/dtzfn2Ibe0dOuAlorxph
MZ5b5pGSyMzGbjHRxgBWHUnTRBdymRgYf38vc4MJ+v9epv2s7Rg8lK1SzIaz/3+Bfj+vatv/S/ix
uSWsfd1F0bBvkI4sdJcwC+xXrzKcmrXu2Ehz+DdlVKv970+1ihFv6PEPbflpbw7xtK9in2rRdaOF
8MUfrLc03QzCaKanp/f38mvi/f2p9FIXTCiQB3o8O1nd0MnC/en33CL9Ho4k3GdSiRd4F+dl3doX
aFHmpi1zwIYR8OxqMIo91n6krE8D8+9LskLj5Wzf2jLxF2FifocUs+MYkbdgQKC3XTdZ/u+esGrE
m66CpP/7+vcy0UwWFp7/mUkOknJBjLGctDlonoWcVSbbVDtONu0ikuiKpabzzcIT4KOyb4McsiUh
gfqCsyJFXwQB1igxrXtP+Ox8DotaHqx0+A8i4BFFkrGcxHTjCM9g3EuYHyS/V2bC97h75jt46NBi
szEWUV2q5e893D7f9O87hfCbLxu3EwttruJD6Uo+jwbEQSEdBeGbC3FH3f9+ElatbUhK+h8uDc4k
MNwnOM2SkigqZgvZ1pyqdYrrYK+6eil6LPIEfa1olwRu49P41mZMR22Fa2/ctQb5z+lYwxzgz/b+
85I9sZv/d/n9s4YtISCO/ZS4bBm/t/aUZtsoG7DHFrN+0LBrHIQVw+jWvZ3Vmg8vsjfSEyRizWQe
mxY8O7qhWHit2iGylEsouNRNeG9dNUAr7U5aRTd/QJC0sK3pDyj2+CkceeWHZakxUE/64VUvmF1K
y7xiWWrWoeehr7bn5Rxm9X4FOmmHzgcXTzEmy1iD2OS3YQ/rAnljOBOQO5omOqqzE8FS6+Jqhnbv
f9nMNhk5qRMCAm7LyP/MxvrLrvNqm2dE1AwSdw4iWrQnjH7cI5qd5tKbQGcMMZ3H/p/yn4ciZMPc
MXT7NI6uATA0ZharuQbz26XWoWxMHbdASvZzf57y+Q5N5rX0sESIKd85XbulGqOREDKYJ5ABC7uk
0o/88mOsS7THMTBfP99ULBs0qMkTst11nyUvo+COJUvp2aUhPFwr/8VDQTpWqa10dz+hVEZjUNIJ
qohIN4v2UViSGM4Zsj10MtYfVuk2Wecmz0+pd48SaBZlUH1gNM0Yyel3oegIzpjtfjN4+TUKvU9V
2HdpQx5TrQsruXI/S888lyAjuPeHfZKWNXOnVqLhlQleVSxvwkFYZTKvXjhhPQRGcm4clEJRh3PV
H8xxm2X2gyx1RWgEq34f2jviO+mdzdEWph6rELgtZO3VClZRvwbFz3CHxeooDGJHMqnmbTjUxW6E
B7lOEvKCLYuIAPSbB4xUEedTJLFOJJrTqMNG5UDzty/e2+6JHtTKe+dN1zIqCE9XO3MIvdU48M/G
/fxiVi0GlInWajz9sbXQOvnRcJMatUtUZS+xbh0qU3vOvxvEy2C/YPEFyujVyoQ8wbQfBZPphKs2
S/B7IOtd4tZea3Wx4WBabdqGVV7Yfxi5/if7cNWBQQdmrTEjDPeZby5sDxXEWdcR9ud1BBtTkNUx
vZGJRdRWmmbL+nuI+6OvFeZCIu9azA2iWy1FvpM7i7mbH12G8g0rXwZwD4z+SdTo0jMQHSTylk9E
HtvzpL40ogfSnMNX5nLmcJNiX+C/CCAkkZTrKbCrJvrDPpHdsbK++3hWl6F90EclODpfkeXBM+yn
JH061TbOOFsnYf8odJrSFaYdJkqXMCWCz6yNHa1aYpEH5zF6JJbPIIKKJGGa6A4kQ0+w0vjuVs/Q
7ASrF269vxpir2XW4Mkelb8pC2sjhuwtafNqQUfuA9XeVcLoKeHErmaEeUFZVBvDayLKeCK5J9jL
CyuqipW08/eiWxixc2oJbX4mznGcfs6eRYo2Xn3im3jRE4ZG0cxziHKEntwWVcaX2RZvNQfRAjb2
i+YJxhM60kH5lFbb2Qcg8VVfiWP7ZBvaY/NT+168DAtan2X4zZkrRwYlEQ9YZMI+pe+mZq7qVPy0
/b+pKV7cnptXuEoumd6+itAyDk3e7mvX/je6iIh6mY0XfBfsrlCZaOSytsdiSR3yZY/z3oiR67Um
MbxuDfeP5EFA6Ex3ioijTJaba9Foxd4pQ/jc6ZhtGCZgH4FpGffn0Fl5WZ9/8PQxmc9IHwuT8tjS
XKItaL4kNrPAwvHCbe8oj3jn/IHAm32spF8KsW49Elp/6zSF+MHLrpW5tJE0kbNBXExIBL1GbgZ0
Pc3Y6qHfvbijwF8GSbJrPVSPztQsyXn9GtoLE/aEd9XpiwKhfkA4V6g7JcURlGKP6rNGy2LN5iFJ
3WE7WhqbdXWlGAzfiGJpx6jcghFDz5Ww6UjzLUKCN3OsjewnG8QPQgOw7zTar0R4PDgMgkuQjrsL
CSIO+DcSvcE7OaF/0lL/As38jld907tghVsbWT4oIE7J9Kd4oGnIheCRf3yqza2jmOoXzbTMLUAC
njZ+pT3sFjRfeiEIq2CJDSYR/jShi3yPfTnxMRo09Xvijx9pAQLV+w5zHjzZxRdVEBrmFJ12Luco
WUzMgYhjYePBeO8YN1N8DTGqlMLWoNPa2oN15BlvNDPUcPe/0U423WeyrxapRC5ERf4TyXql+Oq2
Wlu9FiJljNjgk8o33SyeFGwI1gcBTR8pFXGkZgr5qojCoLC+o2H+HHRDrdvUuw2VSJAKGd6mPULw
gERft80LSNUfI+/XPhbcV2FWl3anuRBZCPhYtp62M6fyI26t+OSUDpDMusNZAXrc66BpeFV8R1QP
3HCElFy37E9z2DkL38H+0sor84yjsrKvIswffvmMlEqrf16b07yLNnTUrryjQ8Q5nP7dskh1P7Cd
etgQ433Oymxf22MJV6FcJaG20C3vZx6ZZ4/oCQV2xY5u+hZrKGYiHJMTLYdlaEwHvdcQlVp7nZET
/fcyWjw5Y9aMyoCErMVksMdWGc98lXZ90ADaaUMCTuFGvjXA5FZWlwLwMTQMUYis6ZtCgqrHIiEl
olyJnK/UcQjVSfzp2vfoBKHeo0SEoV1BqG1WVeJGK8vxu7XPMy/RauJ9/khNprOuwbmma3H0CFRx
wxmTbvjimu2BZi5uQnLzFjG6qtRuL4NjbkTOo8MQQS2j+UW2IgEuGb4XOdQYDX6KSH8SwHbjLJOT
5U87+PLLnF5RgC4Bt6zq3oSxz0ZiynJ5oAEFwE6ZRI325qVNZpTOOQBSTEyIoP6o2L+5XfHVduzu
TXw2JMn0/IUn/zZ7pBxS18IFNozYzVkxJ2pnInTCEC1cL7wHQ6F2NdF8C+qBwBfRZ9nOIYkqyAF+
lM6A4Xlk2lAx/wS9hnLIauVXWUhATR6CFJmMrwRY6Ks+z3+Sgjva8/u7JudTwWb8F5c1iQyWPHuz
82dg5kKneMbXEqU3T3qnPLN0jOA2Qoslw9F+MYWT2pRZfB3578ww+s8DDb1NW8GMjf6Nj+R8aVoD
jCJzCqb0j4cy2jeZNiDTOQk3xxfifJKnd7Yk+1hE1M+ur2kKIDaGantqvfGZ8pseLBm9EP04ric3
uaZDtiY5ydmhm2twQ61zo//AkLiPZkboYYJ4hFbn81TbABbiRKY7Dgnl9LOnKf4svOLN+1NxsPbR
vZPVvuHGY124mGb7VofewrNwDhEdl25GHAiq9dRGsxBoWzBxkBdPUZWf46GWe8hQXxkJu8sQCQds
X3NlSWj5QM7PNAy+Uyd/s1J5RBVLKN+2mf29PoT/ADNWz1SsyKg3ut196FDMFwxKfsw0T1e1p1/7
0PrravVrruUbWJNB7SAowfdGPEHkDEGMxC+Nwh3j7HGVdwOY2EXtari1JX+gwB6RDqFBwAFsVPU6
UlGxT4jK24WFth0JCSOWgKI5H9vAaHx3jQfXWBSmFYOq0Z1tbzr3XCPTF0vaxmCq3P017DYNaneI
N3S/KOvTSKwnMzyw8b0BVrRWQ+3SJHI+SZCoN41r/fh4oW1Ij+g2xoLWAhRDkznHveCghlmOr2Qs
76logIJ71iVjvrgWmVlxS2j6cvaQXEWa/sB1HehA+eMmHzh990e9wtRsOSYispZ1W0d4bjQ0n0kk
5t231pIDH58FpDU0BVvd1t8dRbZaGWLDhQZnZMMWsZoeZH5z6HTjpY7GW0dAu13PzNUQTGvleNXy
xKdsJAcvF+kGS9Vr15prV0zvc1o0AO/UxrQHYuDcLl8TUcjfwwePLGRd2x0PXUquDbho1sdu41Xk
ilnruc6zg55SK4zRdNGH4bVPZgTp6WgFMXScYETXtkYIc9Ai1oH/x9mZLceNZNn2V9r6HXUBx+Bw
s+56iAjEzOAkUpReYKREYZ5nfP1diEy7lWJmp7qulRVNTFFkEAG4Hz9n77XFFEN9RNU4V91tga53
lbbZLZT6Z9TV0yom/qrQe+SZDJu4zSGOzVm5a7LkHqVxBr6JWJkuZbCUvqVDhDmGQ7xPmFPkM6aS
SxmTBtgkcEDUMjuP0mxWcW/byF83ibQeQovaCIzAU+6XD/XsidlV+76MHzUreCHzAQRoXd7Hvrhp
nEzxVgZvc/uKtqT0Ajl+rnuzIDfNecbTBpCzmYmddMZinWkaJ2woDU5VcOuXYbK2Z9abjuplEyMw
O04qGo/XP8kQRLNks/oNj37t/USSQf++MzQSvSp8C36YxxA1/Yjg6M+9EU03iCJp4QcRB5wsE5tQ
SG7NeThw4iLeMwm13cgdvzYoWB9llIbHWSqQ9PPMftn1+8FXxTENOKGVMs3YvK3x6Av7s1mRkWe1
fnmuHBeadx4LT2R2AJPI9aIkyy+TPflohtohJxs23EhoVZvekngFHMdEV9jzdZaKNoSFATlVprMZ
5968Y0hQEB0bE7yRGS6wJIh2CF2ZADTJXTVUd3GRDedSJvFO1CSz0iQPH1qBYD6Npm+ozhyWtqZm
ybQDgANYt+oECU/TbDny0NLt2nbd0D+5iULjMjbEq+CVtE6NGX4OjLg+j8wRj4GGrYerFHgMcJ8H
R8eroYzhnh7XeG+l+qe6BX7m94t/zxfEjtsQPwDk88aDoLRAm8/2oz6POU9nxQGKBpbeMsaSZnhJ
bZu2Ry7eYyTNtwwBgKJ1GdyzWN5mfTKfjEJOhP/xp8i3AiRv6cuA3n6jzbDlJZjQk1t3IC9rOmmj
MRdno3F4NMJgpuGnMTmZ6rM+pe5FLB/acUL0o4ikG7AYwCc0pk2ysO7KYMHeZdkA4y/Ru47SKvqe
LRTBmO+/jTXrZaDXcXazjpMWKdubSZrmaRTMr2iro5nyowNCqfBej7oF8xF7RRslMOi1T7kVvTlE
czJhT/2tXori0WgtbYVuMqNO4PcGpHpWxEB7IVqTYlbRTgXRt0BX1f1QJbuEU+5zDpn8oFe17mH8
EF8H4HflbPXMvrAN0a2CHd9Y5T6tJpcZd72aS1QDhUFup9QhZgldfLWDdtdFcf+Oee6SSWkAR+eb
2uxk6CMM4z71Y203T3FNBGoFD8Wq6NITzJAXKiJyEIlFl3xrCiOk7zIJWlMaQKp+hAbMQY4Qnfq2
ZuD+bVb4Ihvp/mjjQTsOaa6RVWUEHpJ949URHNwc56UzDe0whdxVrk4y9jiIH46W3psWU5M6XyK7
cv2+1cP5x+JHKcsm4jTt381ahvRUdDMjHae4SwRlhcPmSBGBwm3kqSF5xty5iMdZ9PWGo5FUt1mK
kEfviZr3/c+UK/HsIpNL6EjkXWY8N02nbX3YFqiorVflyILqLCdqvnD7Mxdh4kTQ6M+dZam9QD+y
MdvGvUN6cTIUFv4lP6AcMgvPQUFccJMcmPeZ9zivxQ4cOo7a2TXv+/QyVSasAp7nlebHxqn1DX/n
0/3bIHuRG00gQ61juijpMBPnNx27JO4IwdXqT1xqgBh9oiH6yveij+0nzFHDXuVhtbl+iq2j3HdJ
+qbV+tduEbO6iisi8DhRbkNIIhB4iB8cp80eY/wUdFNcw7OQypz8jiZkr1fqXrf4F73v3jiFUPdR
MKpbZQXr699dP0BbNgkRbwH0dfrXvEnL+2amVMG1cJlGjKmJPj+haW27On0dcuc+VeFtSMjkutSc
eK+Z+OMdrNJeWLJw5DFJDnqITD8x8SJrvnsZjJyqxBhQIk5EAbjRsWhJWUcOZDNPGaaLqOQLhu3P
EfNUr9G+uEkaPpYNUjUyhcOjNKEGOI50t4jPtobuxg/XDz76mjx7VdFU3ZPK7OwQxvDBdovnfkpu
hqiu3yJ0xxD/Q+WVc8F5PIhuU7LUvZnR4m52dPekDzW2c8bVsaq7Ow7zipifU8Dx9c6UBjtFMW2N
BS1QddF8DDLHWKVZx7E/6JasFZhJGqG733Q0EmNe1ZvJLZi4NzNmBh8mpzkuizQWxorjmz9BcgmT
R+kiBMFQl5H7YHDqDk1jg8nDOUVUp1qBxjFjjLquy+nsd1NxjyeEVqDLqAHlV9nZmzZC05kjo+ag
dczpXRCLAyBlTJ0Luin0dXHkJU5G5Eyub/VGoF/LSDPrCghP2kYphZop6p97LcQCmZM2kUUt7tLy
YXTd6KkwOAGxdDBBXQcdzfpWkQlRcEdNtVsgSh7XWtKsTWQAqJtN3m97q2NGwZ33ILX5dk6tkxkD
vY15YgNEcxzQINqM0R4JHPwGPbtTsnmeZcpAmzQOCrhmbQ2xWneFyL20/zRWsAij1Hj0BzJ1BIfi
ldP7/R4a5x7vU7BOfWRcfLXDitVUO4uotaIS734T65cBrSQzuVelwyNha+XwPFt3ZTwn+8FM7+Oq
+U4UVb72l+iQbOoZqNNbjdMU+YuVE24FWJtoxvvYxDaWY16a52+2nCAb6TQlmU+tEf7XW2oAb+Lb
E9ZgPMyQoj3LZghNdifBdfiKWr7fBHHWq+2CG7ZEmR7VHPPonXsNxYYnYCTQKwQFTYg4gtcYCbKf
m6TLEGWd04pbkQFHrZhxLaYEpVI7hvumty4NDocAW64pzlNYXlhIiJ8fPaRtZAE7tddXfrW1An9G
yUQTKat7MB1onDilaLo3J622on0BeEmfHms2m1WRvnI+q9etTnGjsVGvB4usKqHo+ZcIB/ldK7VJ
w6zGjFGS14NK/SES1V2WZWu/K51FX73U96V/zJDlN5SuN8uJrW44ymGwWgWRnBmNoqfmeQTi2ayH
wmEPwZHfCc+3DlleM34Xjrv1K2bv0wjOPr61U/sTzTxCpFKKNmXiESzdV8YF7sFvzYtwR3EgBudW
w1pWpm64p5sEvyzT32az/sL1nVai7qKdZUsCBdv5HFp3pnDR6y1LQmf2n6kUgQxjoi7VtBfocndp
gN1KG8ZvvRk3h4Z0MlBqjJ+YKPOEq7PiaI43Ovd8ZRgMrCn/2xzvsZTasRKxSWBqqTaaNO+TSY47
XSXFvg/zu7AvIPUo2/JcSVe6J3bchtjCqQxU534mVHtXjPmeqBfcE37dd/czrGzVk9moyYxf2IvL
JwxL3b0iwHcTVh0xmbJw91MY/nABVgWQz2/7fEwPAdPinVFMBVjYArNiIz5BzJEAdNZZICn4tWqX
xOQph5ND0778OhKoDj+m/K43tG91NqmtBSOC/qheXVAv2rq8M5ntrwkPUmtg5Jxs2tLYNFIgGinn
k+iG8eC68YE+/XewVZyoHbTrbTjtHet1jDTCnLr+PFvdKs0X98bShZ/iI7lb0drWocUrTteb3Of4
SUzayuR13OnInKJgivdI/BkegMUG3rQXHRTXQBsftLqqt1YG+aamK05cOl26t0GnCdkVrr5yhopW
o5o+cWZ7QX+wndsiO7kFlS+O4GfBzI1YA7pHuQFWy0zjzyV7vEeAHEPYBDccop2vyDXeprjYwBS7
pRJGWSVsamw9eiDwHF1rbt1RRd9ZtOQ0PbIPIz4N4MOIwrRgOpUB0544NBAUNy+t3r2Etq0OTMg8
XZcP/P/sMrjt6uq9CSEHsIa2xPFhiNGtHfi5PTnCGsKl6Lvoxq99o2MspAgdeRZVPkTsjhWDkyA7
CLIq6ShLhuYZYouZs5wFp3rfOd2DBWmNnka/0pSC7ymjkz+2X8aUvgdmEDon4S7txndnwlMFZjma
2ie6Kd8N+ohGMr9XGSAAkMKU6Yw/mH3iFGlX0QMKzpXI9e9h8nVgv17PEA7UuKhEZ7hY4SWm5iPV
7sUZv0MSu5Qlpo+2o1D0y/p2KhL6rqWNasOh68KTHztoa52ZrkYXD3R+Ey5Emn419OZpxBq8lg4W
q1CPXzXyE7zKbDd+TDNCzUO46aEXRyLkAKG6E3HN/TZsozOo74wYWQIXHHInJKsAUx8MNqbun4uu
2w6F69l+eKgErvmo4/iP2pYbXryxfHzv0vmzbgb405oHE0GDIR5TugKYr8Wdqc8wYAG9eomOe25y
iYMYD7NVu5vRwpgZDerRMSggnSY4OTF6pdju263TVWfiIo4tbH4OQ0QtB+bLlNMx7kkRYutjq8ii
T0xMbrsgn3fkDA2GBQaq0+Q21OhrjWArvVHmhy6zHVq2ZLXpQXMYWlTxM20qePDJAVUfeahSrNtw
gNbaMaOyLcahILQ40dAYs2rVHPIiZjESJF36PjP2nClqhcwF6l+KH8x5Z/nZ/IgGdCHk8VyQ2Fub
IhQvpZ9RxQU3jtF8pdNyoQrAiN9uhkB/Q6W0RarD81RLykfeAypx676szcdqKta6yr7GqgWbWWrW
aqjHl4EXqenc1FF+cPi1Gb7P/QPxiAQSuG+hjzkqsdP2Zgg4gMfRVJ7pdnZ9Pz1qoeM+2rmlcNMh
VAwjPvUJqt+jEaZztHw62q6Frgtz7fKZHkr5ALN4DeNoXdpFR+BF1H9ys5uS0cS4ltOOnBDzU8SP
egojGqu5HT9eP8MCshvMImTDAd4diQSq7/IhEDn6zcQ/Id/I7yw8m3fN41gH01mCLE9nu7goLSku
SzFrcJjlL+YZbv/y3/yqZc7epdRR0ShPphm7p+ufgnjm5Fu1joQ0zAfiSenZ5DXHEzOljrp+0fVv
rl9z/VRidHL8CZPoQkPTw1I/hT6ekixLb67/6fon23AZil8/dweDsVoxsVP59u9f89tf/+vf6C6g
udIy7O31ayo4or//a2P5KW0Rxjep96+vv36Vk3O4Nn3W8uWXjAMsACF2ouWTbqG5Qsy3t9pMP6HV
IslJlRmlNiAK1rkb5JiOdyEayUcYI/sqjsIXk8LyEBh9zXbMV1lOoa+12Y1wNfO3ElJpYkneryAk
dNip2U8c8xiWo3nMu3pcjVHONmSYOwtly5hSSjXA+daVOunoHfKAmZYhAh6rxKLObyP3PddpMWVl
NRw6kCD+BIMdpkO8DYOy3vQqc5EYhNqxJ4+ONTrsCQPcYSbEf66I5sBx1mxsRWeOcHlPC63xnIVr
vHwNn2TEcamRg0c305EB+gNau7ePtQaFTCUauAc6AgeUNYU7rpVGNLVg+8L3+SVI6QQLF6snA77j
9QMJNwVkHqZB+8geoJnyF3ariL0RajeCBmHAHn3ttQpNAi6QnZX6h6wl9hMtbgrhg4X2pY2fXaZc
IGbSPeIhJAA1cDzTl2/WDM4Ldm16KegB7ypn/qI5drzMnEKOD+e013AcmHAW8BVBrEwsH2xGR13P
RWvl2II0WcR0ww9bDW9JQl+srj1NVUdSQD4NMesyqWGMFg156iZU03bFXY5G71OZBMfRbDGa99Wx
H+wf4wyuciTRN8uIilmgnw1mvmBAeOiX3Vsyk0iI9W/dJeqYVtRmWXfDm3kWWf9d08g+HeHvA02Y
XeeYhx3cIDJAgbJgcAjF/dT9mFPylAXCB2/Ug7e+gmimm+ODaB612qjWEMfQ9lqN50+vNr6BjTbK
+86RP5gwriz4DAxnuZ4YWG/ouE/eEOsxPSFxO9BY2BD6Gq9TrB6EGA1PGeKVKDwHNTHH+pNBrNFG
QKzFlxkcqNUcrINpjpL6pu+4LnKKDs54W1XWW9dHG9ae4WCENJYzWwGd4ChF6/zZsIpbk6u2imdT
ecnovzB6BclV+IdJIzPKT/T2CFz3rqKQGH2tPRVMu5oqso+R36CBl57JvJG319hUOQhcGF1k6aEB
RO6JiM+FRkGjuJuTx0CxZzP+hkpWCoz3GSI8s8nGbZ2NYOrDpN/SP77jrWn3w8JHT5J8YyCJ9KK4
9anAxRGxikafe7Q+O5JWr9aae0Z41t7kp1aJtgU5vcn7AbWPMgqe07u0QC7UQkXARmKwdo5sH2YF
PnZc7r6mUkdXjxc7FkJDxMew74ds43fjqZzql3ooFj+O4OY0Do5ukL6haHgVbAQFly1g8BK0I/4r
sllv2cDthhANI3VTvJPGAT/MDr4igr721lWLfEYqtZnqlTOmPFW5PW9Ht/kRMdhdlxWhXEQcPil6
fqrNSUQazQ2jMvp6bxWHfvoUiEW7wfhRw9A9pVl9YuWCVUCKHic7QJjLSQ2UQItKRJYwE9MatNVs
2Ae79z9Nc69OgXVbctsTe7hY4OCiDoKJ9qQvMpVUwuGfupNyDhrdqb0aUixgOzmHexT5Z31m+skz
j7mRAL4Y2wnB2OkG0x50lJkjOg6oGYfMAFxgT11UrK9or//zE2q++ed/8fm3gktLn6b98Ok/L699
+1791/Jv/t/X/Pwv/rl7Ly6v2Xvzt19087j99PELfvqm/ODfX9jmtX396ROPU3s73Xfv9fTw3nRp
e30B0PKXr/zf/uV/vF+/yy+Y7RII3P+MbPfqqK1/zrpb/sHvwHbzH4bJPMsVC/ratUxIi8N70/73
f5rOP/hMSl0syHZl2UAjAWC14X//p+H+A1K74+DkVo6hDItv9zuu3RD/gGNuOzpf4AJad81/h9Yu
fkbswWnHd244Uhg0oSX5cB9Jr2Fn4mjt7dU1oK5PApoQtr4KpaqYApqSmam9CNWBFOf995R4CG9q
g5SpSFRthyVGgn4JRxeG3RM44KNNzKg1q13nMOZ0yqU2nZqndEkLE9nI8Cgr7hC5/YLgJn7ma15/
DWLAlOWYpq6kEB/4mkzu8FU7xN3YfjLdRsm4qpytmMkZsZolBWRJhgsZH5+Ere8SGuSXuCp3NVO/
taFqcwO+C1KderLsgX5IFbhI+SUZktX3a0KG5ch+pYrYXPMtf5UhZvzVi+dSmpwBbT7aH+BzqnVH
JRyNyeKkGxdZCmsbq/jrNR3GSk6xhfWAYPJmNUlDbq2heeXiRig+nT0SkPz0h3v37jdE33/QNL8D
Xt823IbLj/sXue96LV1dIg/RHf6nfwT4h6bmkL5DDtQ1NG3MSzYofzrmmvENIfzBxeZ2MMduVzXz
yqmkvE9je29kDh+qRiNFgvgc2TxOkz6iWdYug93TnFpSQX2X9jxXl0h4BNIesiWBVCQK9qO+pEsE
GaOTeTd3xSWaMv241OS9ralTC/L273/JD/jl335JnjxSD+jpKml9uO9begZAhhldymyGmuv3X2kh
deSLaj9mHU9Cl6KkrrGcRAwrVr1sH9CckeA29uJBn8JNfc2YGwI6X0n19osXt9ytH98Bpci/lLbj
4sn7AGeVdZ0H/ViRCV2m8UbX7EWDSPipwYckMolHd8uds1h+VXxLPdH+gtVv/MUtoKgjGJAZlrKU
sdBj/wBvrAo99NF8LHgh5xwWgbsxAWiXbph7DqIgmrNEBsYNGjG379Pf3tw+yyg/uvS33eanzeaP
t6PxM5rx+k7hGOW9opliLMvVz6+lyMqSTRAp/WQ59klkSe7lWEJpU+ZnwvIY5xaHOJskFcbiycT6
qMdxsb0+8iP5ltuBPPpfvEF/fmIli7prwuJlyTH0D3dPWXM3mxWhA62c010vXS9nPBs62mtGex7R
O5HYbuSfusSKqbHbdjO2tMEA3tLv5hT2i5dz/Xk/3zDScC3HMWzXpqv5keZL7BaK/YH6I5Dt4Ekd
YaJVdavOGodLfds0LS4pXmAZRnSF/RqNqFBMoCvYpTzOxEYtiT8oflhUXO4xjaqNfn0SrnUx7CLf
l1vYfdZ2MnJQYTc2zaM16kvtYE7VejCr+siIiZZeMhN6nLOCwohZITGi24EYABzEPWw0AjznAvh0
a2+YrSX0DCdyw3GpEWCc8XopoGHha7t20j/rE1hshE8FJPaT0ZSrohrbp+utV82xQXZZEm1mkfNr
If0gyPnBSotXM0I7M1BLo4w7XfOnBh29Rkuu/RrthFxxrGu38AwjzmgWMygW0SmsL7r9Yy4qsrki
R+1snHbm9C03avvUoU9LmrLcQZbQNqSyHlosuB76Roi6U/QZ+Tq5TkXtwQ7KH+oxo21od/jlRhLu
GJd8A+If7a6PrWnNqEndtaNC4sCSXkMgSaxYTVrCISxLJsKDL7Y45Z2eiOYK1feha8hEApB+SsKs
2itRfpUF5rzW9jUaGjlQNuf5FzfSX93XaIIcigFbh53/YSeKZkImM50w+utONNTNWfMFMkEgOLsu
bUh/JW0jHCT+Mn0HBL0Gq02K5DQ6971Z/grkvyDwP97VymVt1mHQg8j/sArJyu3x3zPocMbBX5uD
+8Bb8IN4e9QEM+JfZdraTvK8FQ2XeQorbd3kgAY/LXLqIj+UXcvMJGUI8YvL9Of1WQrdXp59YdLV
d5ei6g/Lo/ILpqTQ5Di+SvcQ+2qNx1msr7m+jq++Gv70kCsn83Tsg/aUF4e/fwHL8vLhwgjWZ1fZ
UlFCXguKP/z8VtPpYywFwzWNyw/EyTbnGddbTH5WluxsIzYY+5M2fr1D//6H/0W5wr7AzrTM63VC
vj4sfhCIoqlBPLMaDY4rc+1g0HX8H9akkjUohWGlBf5NZ7kVSiS00mUFoqpb6XH/VsQi/kW1Ysg/
7w/UrQYwZooW3o+P6F5VYBqBv/Z7uRKZTrSjyI52SQ2vMkzHrQhxwA8mlKNgzMlPzd5mXOnXp7K3
2nLNmf94jYxFxnfBI6R5FbgcmPokNgdDc6YLg6Af8selCexDkmjzvlx+gDnq5mrwNWt//V5dn/sn
w6QB3FmlOieFD5FN+j4mUjbFCASXV2rmtCGlMvO6KZxoUyJ0oEIqv7iElO7kkDxHLHrE0DBRbfXs
2GVqYjKUr2vKXgj+tU6ZHmKUZTy+5nAwECFTwVC3AzIPp0+ZqsWXPk9QQ+ozUDYWYoeEdOUzGC1i
N91YoENoYwOTwqyKeIHpFgJ+XLHS3rV9EN00gbrhoA2eBbT2OtZQBJbh/fUVJ41NQVQFeyByvPV+
VX4JEPXruCIFpdT9Es1Av8/Z9pW5I5oa0EJhhttr+cwgHwCPKwQN7vl5bJhXg93Ad10ckpTwxpr7
DOoHbpVlMwcVVqu42gc0L+reuETACcZ4wk9TNRz+P1F70i+y4H1gZD5OfTZsHJknnuubHPKXSj+q
lX4ZyXgQKysM26eRFrBtoEKkGRUsA1SiKGBSrtyS7ODW1x4NPS8YOuAMK9r2CbZGj3TYE+YYEjGA
G6qqzV18EA9BjP94kDEjh8a4+G36XEQcahzs57PJap1kM8kOTog8EythsAj2DNWNa2fu5RoaWrfV
xpyoiaoDmC7irwRInoQedEeb7RthgxKM5HI01Uk1s1EHlVfHzdOcx91NMXy/1uMF5i9v1t5LsXSy
/XQZsOMcTtz4XALXWihrcmUSscpAunvWZU23NqfsqIRx+cVC8OcqURIQYknDNi0Txcayfv9hGUpH
n0BCpg6LGl9f212GeFAbi4OdARs3EDAbNapAZwkuJCicgwFHgCQGi8Rc0PjVmvwzln0pEyWccdc0
hOQga8kPm4XqBLiEOXRWOel/Th7mtxicUDqT57sxikysf3vulj21KAH4iq57rQU+nP+Pi0IHSXJ2
4lzxp8Mc1He3i1sO1Nd3C9cI+zuGYdeINzEEhTIb0VKWwbQc3+6vlwTHxtqhe/bvH3GWrZP6lA19
Odp/OEVUczvWgAiAKy8XvoTxiw5lHtfXwzhNgYPZgAv0x1mt+8yd9wEGtEHDBzvj3PHBb1xcySkv
n+xtnW/+7cvk0vSwuUTEgS39jJ/vHQvt5dDBZfqt9CSjJ0L6xcIYJEjdQjdZWtMllRRe7FGUx2st
pBNoMhVczL9/Lcud8fNuSldGt5cIPBdotPnhziFko/WnnJdSTCMzP0WGdDAUalfDfGT2zC56fZv+
/of+xbGGbpCkwePY1tLHWUqxPzw8CG1ak+YqppJqSvaaYnRDiV9+ia3M3Fq2+4AN/3u8xMg7Sv8m
REIEnNOyo1f+JaZDOBSDdfeL17Rc9J+vhOJC0FnSOdnYpvrwplT2iIrAUkw8hq+jyVAjsjoP46bD
Y9tv6kiRjhWJaBcwhMWqQf99+L4omrYWIaFAgoaWfRYt0rKs/v1L+4umhLKo5YUllx7Pnxo8Y4Vd
GQEfuLMRcnmM9LzRD4ZhZDQHpA32qkq9aEJ8gv/nhiYUkrjlUbeIR0UGU23MqG9IUo3fZBflXuED
AjJG65yCnGG/Jt0EL4q/DNTKbUyw7S5PH12MVi8SZQ5y8AipCi1ctFmAW8mVXQEKLRhy5L867f65
Auf3RLGlyJN3HUd9uC1CbjWOiy4inrL8TNztd5kRHECTwj7paHdWpR8M2KYytBuLgB0C8XNd9eGu
8UedSHf5i2fjL687VRWdyKVNSKPy59s06XqwCybuc7N3z3245Dgvq0nRkwk8YzPa1agzmcec5gA0
3VzOB8yqwNcj9l6iS8h1DFuffgU8yaWWCgCy7msj3MGIMTcpKd2F7+qnRLSnqZa3JoPJi2SGJ3UN
WWXygqfmrdUG0qGXJ4GxJG04Oy9+sVT+uZ6mc+jQ57g2W8yPBw3HaJtMIfFZNTP54sA7P1l5vQO8
VXpJG2yvZ8EMTdhh0u1Pf39jL4vwh0eOYSynd4d+L53gD+93oWTtx1FCH2o5jarl5rweI64/UyYR
2iQnclYtlevu73/yh5y0pbfDE65AGUhJBBmtsJ/fWmwznLpCBEKFaOkcQBcefDjmbha9Y2Kkdlw6
PXrCwQZWrQAplJLaXBn35QJphmEj1lOI0j2QoBcRs7y6PeD7oUS79fcvVHysM2hCCdJNLC4PsW5c
qZ9fKCi5rvGRHbNU6hynTdnsavRtK8LAbcTQY3PTNgba/YmS7fqypoFnBHPAyW9uS1HtwBlOAANH
7LitfYu38bGUmJ4qV4+8Hupuwjze+FV5JKTx8ZxIZA0SJqEjZmXkBqjr5xcOfSF33ZrItFCIzMMM
lcCkP9U+5vbc6jXEgyG5Qn2wnZ5B4ORnM7Z340CaMCHZVc1WjW0DDIqVx+hkAYWzPxBfqcfgfSv0
46qGo9HYj5ZRn5AsuRuJJXmz1OhJMqHvzhAr+qQ++/Out1yU/v58a7tgxJX93R95v9swfK9q9hJl
ltgJp6eutwz4OPITZsc8pSaeXJAJIceDZhyfDI1eX1iHP4JhDMjRfrBFuQvj4QvNnZtp0R3LHLiJ
ncbNTRYQi9j0hwbQxwHVNVGCzeepNS0cC9I5OwTBgCeih4IhB/Yf6LN1N7RfgHisLeMI/2DeFAXh
3z3uo8dpKF/1KZrOzmwNj7gIDZoPsbbGc/SApD7d2625CWpGe3FQnqcUYwOmSZZ58FhTFS3EsMJL
sKLcxlY4fitznJo8W2vhSOuuozwmb4s5okzBTi/9xQQF0mwWF8w5m4BRnjeFDmNWVZ/iRPtWCMI6
i4C8Z7n0asoEuHtuVuqgJy6Ro23Z4qftzDtoOb0q7dO1riFehm8jg8ffukFJ6N7vtAKYmNF275qc
nq9PvYjz3NPo7KJzAcCwFETEPoM1qvQnUSBr6KUymcVzn8zCuSVh8ntREXOZcZet4jpDz98/RQ6+
gmE5vdI/SPZt5Z8tuydeW6+QyIURtKQlhBWbOXDVZB8uXeUsgUVq5t129nVWwM6KNvS09L2A2ynD
wrPNMn1ZXuYgixwUOaNy3SFO5fqpFdUcFpPBu5ZxTeO36zmDndAGVLZqiG2CY3pGBeajpSpwM3Zt
eUUzi01gEzEXjAH3XNR3x3Zob3iOmxTTRIqZnD0w2fb17F8CS4zHfv5W+mENIAkbANY7JPqh/sj5
H/eMgvmznCTHtCR+S4m92Yw5SHFWsOsFdwRiOFQ9hK7GPaD4fDxdWyMlslN76pWXx+y5yVi36+u5
OdGZUTk5p85Sus0BOtlJYNbVwvZcuxg7QsN8muU9q7SOL9vBRS64iQY05P6UMf4WWFctH369Mc7k
fIR0EZYPldEhFkt0DegwJUqN/hIcVGVyTG3DLYNYEjujKti4kKARLpNml2niErNMEzavh+cxoGdo
0v2mUJMeKX2+VxnoW0FxU6FMjdkdRvGGKyVCH2jYzwGTuqAc1/PQRe/hMnYOppU1ms29m0fZOa2S
b1bW3lr0bi5ZnX9xJHPjdPLvmXuz0up3oxkw+nZOBsxTgun7aJfXaBuM2by9VqOI9et1SocMgzi2
gOtXxKb7JUpNizULzcKkcxepwHwSOt04xhgp+40zHQK7d4Bfa/UFy1FRce5vBNKKzk6/B/NSqwVU
XqDE6J+J/ERS8I7wmXI5dpv5AgTVGssrFQEqEe5DlTTZlhSR+BzFhYc2HvctMCvEJEvo6EtesLe2
c/UK9DJDZTTur4/5LKcDrdxgy7f5ZrtoK7oZFYQmHcQpQXfW0/xbXvutN+tN8dtv42ihCy6Z9vTc
YpHTW2yDRDNGu+td003Gus4HYydyG7UEqvp9IeybIuhReiOSTnVp7dh+vmS+2e5I96BLXCqFljDd
+ZZz57vhIYp0EMtW8dwEEMLKovohQtLirmvBaC3KzEJ6hqjOWmzmO3fRFSzLhAoYbCI5R6HEw0Dg
UfwsySI4gE7TNxIPCf0iSIINLkuov3OyLWRaEIqLeFc6x4Ekhos77QLAKzdBGN4MBm4gAQX9aPG6
Y2P2D2OEnCC8JaPIui1IBYTVOZMEEloXiVqZDTU7OeOBw4K2gLjQwk7WCcl5f6fZt2QNJ+dCH0kl
0ZvZK6Y0u4w+ZeTyWZzrON+tqCPRqVgPdh494jbQk2mEfdANWHh9niXH3Tllzf3EnJeRwOMggmht
9VnHISQdUEuDG0PGgWkLkpYHYJFbaEw4Wb9HlUpI+F4WDTsqDm4cI0Kxs62IqplQqHo+WJWV7oCo
pbuoA5ATdZwOoGsW6ADlVgPRtesLUmLrGGUKeI/mDML4K30bMB9l9DhEirUlXtxFwscrVTEKt9vi
bM5XQ0KqTpH7PBOKlMR2egwTKq45RmpZxg6tqgBq0eiJ0bJAZlfGZa5AAE2GC205gxMVZpnmBUhl
uQTDdGPmL/1MnIIGvZCCmjHN/H/ZO5Plxpl1u77LneNEogcGnpBgT0pUL9UEIZVU6NsEEs3T3wXW
H7avfRwOzz2pKKlUEkUSyK/Ze+2GTa9E8HW7zy2bh0OF5B1pW3+YUt3Gpjj1G8IrsOcjGJ9qXVvU
Xtu0RsdO6tn+1tw2OmhNAE8BwCiPTRA8HW2q5zPyv6uuc9kDY79a5OmucMfXy3WuVnqNFja3uOHe
itUGWr5QMK29gpdJG7tL2yo04FWe8RKDCpuTLCAPgnFch/4o7PVDZITDauDamuAoPZkahNiELgN9
AIL/FzUTNZLWPZmSlrHu4QIdereu15E5Z0R5I9t3Ws5PDdSUazN2HpGwoxXWwICBELnd+6M2AUfR
zvpTBJe7TD/Y0NUdEZDzck5USQN2R8/+3K4gGQIvmZiS8SrwqNLT7TtYHEODmL8w9ioExp33RDN/
Qnn0W0j83VpaGudYt4trP2xv5UDbILfD1xYfkXtz/GlAoMOUx0rmQ7usdRIqVyzn8l7nACajanNb
vt0WLrfHMbg0U2PBEDS6eJXEh+vgV6uE/hbKjiXVMnpWygN7bWlrlVcaV23hbZe7ZW1v6BaQ/lej
vgLkzb1epojsCKEiPJaHwF1WVxqvMljRVe1MW8ZY/j6pCch1l4FoXjkk20UDCrdvpxUuLF8Ps/jU
fiGZJloVmskmHRmnF4iMt0Q2nFkpZns99cgZWzZmkEdIwqh1e3V7nBnP0d6uEYy1aX/tCrTFekFG
XDNO2p1htmS+Pra003+3yijzOF9yfVr1ciQH21V+0A0DdgtqmVsxMWWjv84lUtGlFuGsYLHnzYfb
F8ypcXCAGnOZVTU/wZ7/fteoTl/H3nL/vp5xr+ITZehdG6txb9L+LyXqjhE/hqq508EOcWgxkmF9
ZM1bMy+XmM8AXXGgLU//7UxDIzmsOjUf5gqgf2ERtSiIb+1mHKoo208tgJW9xzTk9tJKfCfCSZ3A
4o2PM77TjrZEMOzBEJZON+x8ep6AgORPVK27zJ4kQuzs2S9xQoVYg1g0mOaaBgBDpKbdVT3bXMwg
B85y0rvsSV/N1j9z9OWphBN7SElsOflsVCXyorUFTP3VbcfArZrv3LYAa48jkj5TzxFbzK+kxEFz
nziN0bbECb//bWqPFB5Fc22/W/rYHiKF7wdBJVdiazG396xfqXQf5azENnHGz9t/wU6xRwG3JPot
y2g8skwbE8RFdiz3JsDS463qomOcV13tulsq4C+PtGjS7DBt35TYOLxoJWk4b99R97oCQlx04PF3
l3DCXyniKtsZTkZnFKcSSzAxP4gEQPEtL4uXChKcD3jMUIWW04jMkjXHFMnyoUuXwNVX3yC23iKi
B4hUf0nM9DqC9bhr9Xsal+yS1pJGRoU4iRm63PYJ4wA3yWcaExA/nK9vb8VmJjzL0EaK7BSwuqfF
a4CQFzlk+9HPyrsYshGrhmanamM4CgJiqBiwInfJL2v0i6ObRqzoWIylY0fOU2MMxHRUijLThyVh
43GHo/U2NOkT4xf7YKEs/6fM03pspVkc8lZyzzcBDqm9a4bM8l68QFFahRUYpRnW/Y7qpl+5WU6p
mBr7JgwtCo52Oeua/FBK9agWIbey5LvTIPSmRXosmjF+6uq0vit8excKEt44Eu5urfccjsPaxQq/
bnUiCwZYGetSuYfIG4ejHYbn2xlEUyGCMi92Q0Mwaa2zItXIdAluW9pan9sToPw9ibTvkCgXgxhZ
J8BP5S4ZMlZAVU3lvRTuqoPBYoVA7UcHbHWFC05Oy95bQXNsRrBifraAelA3FMZzNTIlqlIo0por
1dXtKHbt8TcXCb6lZW6gDXZ8YA91e6tko4Uiu+1WNTvF/e3HsUJlsjm1kvLFBtExladaIVxNpXFV
CM1vtWddAYYDVVVtxyXmD9nD12jb6jmq/Qte3E2cp+V1ju0sWD4aZeRemibjfAd9pXuGs73Vibpn
wosYE+dkO9kReJl+Uom/RVUjEIogjR25GZPzQwDJ7aF7MZFT8UCUdgEII+hS+Am2OWivxcCvYKRt
0Deg4rJeXCnP8+PgErw5Tf4lXMT6WKDulO+CYcJtrzf1sQWYU+UNX5dEmE+UejaGAuqU+D2JX74k
M+R2Q70d7dBU4nU3I8ZdtGmewiw0g2jT5cNtyaqq/gFd7SaaPHd3uzFENjpde8HD3Xptyaz4kuT+
4daQp458H/wUKYWuNrcvv51JUUv9VQyg2M0wA2Kg8dZlI/t4G3syWfnnhiTn4n7QoCboc0kxyFsE
Q6rHpbOr6ZgdyVxSI05p3Rj5+fa8UbbuFIDq7e1HcXVJWnZQgLpKYbF6QFqllR6NRVObOv4J/hyW
Qy/+nXHnCwYZk9zm1HJrSNPZ3DpdqL1EDZr9hxT2I8M5/e72LJiJ8dMLChqPJRl0ArzxTkFzIbgS
WGMaH1XXvDNaTCBF4SKoJTiHWW/g9rCFcSFXBn7hHJMqNtf9FHkX/Ic4Z6PHiLZ17RsFm07qzNlx
zGtLxjtlLOA0C5pEYtEiLvfDi2xyqgZyqR1pI3yAoXJ7BqZFrpgYDA+zFyhCLzARqEeqGM+dUUS/
MFf7+5CCuDUA89NsRDtadKaela5tEYMqVp+GPLmZsjepjtUuTqdrylADHECfkFiPDUu3hgmnM/d7
oVI2o6S/ohdJn8HQQhmPQXso/XNup+w+7wQWJ2/6NFWn00VFzl0JE79LbTy9YAZXCOHTgKQc+RzW
n7nDhMZHA3tGlsJSQS/MI+zilZW4xkmnlAK20jxWbt/svRoeF+yjYWOV2s4JaSpoJ9yPbCIzrDXb
jUPq+K4x8N8Xulp7jiDHEX//OrPndyOha/a0yNtrgldCkFOH+jsdjvRvH03t9g8R5DAE72/JomSK
Zzfh5krUI+3mPoG6CceLkoxSEhv8lta1+VtDVJpJ3hZpXCui3SsK4qXUc0ZW5o31SQFWHXgxEIsP
/Z02YrxliCifKcnA/eN0k130kPguNsfSdS5CyHpPHkt0cplTHIXPHL41SfRbzOOTviPA8MJ7PLtD
aqlfHBdpEvrF58KK6+dUA3aYNzCFp9q8CtTiBMilZwPUXHmqXCWYgCXTS4ZUo22nVSuz+FFK90u5
LETiOmF63zxDV+ju0JKvtXHMz5KrGJDfhkqfuME4PAytl1zymLRIXnjSqbj440RfR4aBqgFqre5B
qBP69CfVk3sNFNBqNpBA9cZb5p5ndAvACEFoOwQmFlEZHuyOaMK6jJjaWl1g6mra+djAe42oGHfC
SY2wi+3/ZvC1mOsmYfRJ8Bu788zbWC08MkXgFcGxCUG3X47Jo9S6BV8DZ2TXT8OPzW/Jy+Lfibn4
bQDqJq4A31g1YrXkCQfSVy5g2lqLTvjL7V0t5lccZsvlEL5AnSwAWx/y3H0Bxc/0IlH0/X4cgZ8s
MIu13EgBffRetE9nKLy2jq3UaT3KAVM84y5+wHA3rvpDTO3PnZqDaZUKbPsWA5C8jq1tXISEfBrh
NW3ZJJOkZ+1qBPDr2IG5mCYHA0DPJk1but0K6FnamewMY/xNjsXsk0FIvwYMvsg82kMDK+YkDp5c
ppuNcNmpFiQpJd17xSsG0rnxtp5Gl5lWzbsXNoJRRPLsp928NbAG80rlF/CSjRW1BzfG0sIunvVN
+NRqMttg2pPR4mOsre9UaM9TpLngEUrvGC9/3D4cACOuSQ8h6XLi/Ti30PdITH1EF7MRnjLvbx+l
PcPKrNsnCUleralOk3exiWchblsZgUkDSkuj3oe4p7N3S4JeIQWvWwhVQHJQWLRMnjunW6EwLwiH
IxUhNA1ISwnn3RCuQII+F2kY8gSfPHPI1hjhfSoD/rudfRnRh9nKB5zJx2hpFeOu6nddzhLYWoL0
BtCGQN4VFlGShVM8HkVDeJZq64PuEEgyut+a+AUoHgdzx8wAoxU+YKJ//I5iEqxHAX4WEzaUckqd
7GVI4Hp6eQ4wqBtPnj1Hm5IhE3QrJuZ2+ugOLWlxNuvO3hdLN/ioRESB61oaMJv6LjcLci/KMgNE
tRZJSJRPT7CvU4CcCzvjUdeTagVmwtqD9qZdGCyx0qwxPkOghN2pOhzv5tWXxB0VGdqSqWsOucMS
rh/vTIKITqItn4HcY9R0yDZPp+9BwaAwkR43WZhsu1Z8E+r0Vlvmm8mNJstnjQOTXBBzJu5XX+Kq
ejIpcDmVuFvWYoEhNw5I2UyJY24YC/4526Iibg9WgeFJG4V3mr30xRdFfUmo+xacotuwpKC+A7wh
rA29GjoqGoYcGuZm/gStj+LGQiYNABSNkLDxB4Yx+YZWcvGc3SAGyIpovkh1bCh856cRV+ccynjL
LHAHB6yHxXlB/03yA0tKv/LcwOYW2ESlvgG4XABPeE/4Hddd5VF61C6LsYxw9mR67hoNCmphPA2+
/tt3c4fMvJzv4VU/htZUAaL+bTJ5xqEw/VPbpK+pxBCfy+rVsKLvMMVuEGHIDtAZTvfI/7Ud0aZ3
nfCATc5cyECuxuURncYRAlRqkath2Ob94JBpnIfQg8p4H7ErvhA199uLv5CUZudpPjkgpGHuENxW
63G/Cn1mBNjWj0cQPO3JmYfTbM4tkMjmo7d692BXOLFxmq3qwbu3KqZms12rvT3ngacrK0Dl++WH
fXhpWvWmPeOKjtZDphMy3bMvzbxRBjBZzID1XXXvC3mJZklyAcx1wy1ZI/mf44QsvKp+bHsgDhtU
8FYwCFup9g7cSkyGSWcit7JxFFvsN5bI56mAbD8TVW53v0SIxrCNm+e8oIVsUtGuTEH0J9irdVKX
+PlKxN7FOOG9xVHgxCCLfPuuqkP3RH3fPJB/xsw1hrM6QwjbKB+ObErg07VPbAfswXAfLx8lUWNe
LSqUU2dTEtLrDu0HFKOjS927tspQ0qtzvBu2G3BO9ch73ZC0oUbfev4u9vX6RQktCoYO55uZAjCR
E/8W9s3AmatY6TXhH6lxwBF7kvgxtEmXWHkNJXFmS5KAlGG9tgKyYOiMGpSNRnuom3bHZW0eOWwf
3EHm+6GITYTZTfyspISb67uX3vmpLZq+OlXOlVxj9+oZQ7u4rHe3T4FArrdwHQjA8B2Id9zzIba2
G4Ps3JM1n9DvX6HJ6Fci4mDGzbWx1YuELDOrg1qItpkgeVDUiOnOPoEIT3W0xdmo7VNpYT5Hpbiq
ohyKf1T0TwX5FmsnBDWXDdCXQRjLDUYKwLv8dedGMRo7+HzKvVhVLJYp0K90yrNdHb7JUG82Th+i
h9Em3qzilVTQTxOh2CVteVbKNlmcdvBPkIhUBxPa1F0vOrGvauuFc1odXX0I8s6Zz3OPE47fhJeL
2edX1DhwpPMwKApp7MfKfMs8Yz41W8/qjOPtj1wb4wOawwB5X7u1pQuTMGnkxXUHZ+dX6l044Cy4
3NuKVPbb31Pkv5tiautVjLTz7PcNuOV57jYOZfIJPB5BzpOv4fRkcpAb42lAvBmR70vdmEVB1/A+
gvHI28Q5+G3P/R+IDfifCFj18qOVKoNEMnyKwg4wcN0cjKjQDtbZUsicPfZxrLly56CYwfnK856K
+2SmwkxMYa19K7uQ5YT/d0yMfZI/Av4IstnZYcxSWvGi4WuBKfRgFr0R+E5z6Ib2USeOzjnFJHRt
KAkEPVz5ACDoTbVjFoRR/N70Qxk0KWTXPHPygGxnq2eo7VNnVmoGjJE9u76mATInNAx2fWx7a2Mg
Tao/ZUQLBHFO1PbcE+mV2WgHIib/RkcSfOENW8VAORCzeddYqEcsB9bRMGfDqQPqvhpG7kZTAWKZ
tSLZo9TQJSxNOhjj0SnqD59xOzMoVje+TDejYd47qYaXF+iv5xPTMGHIxF+LQEhMXD1MD0m/+bBi
eOadhtiz1DxkJR2Pzg49CnE8UQDaRzQ4o/YdNvOHj3jPQUG0KftFRIpQtYTwsfU9cl2YJyarsmDy
pyzzV2/G0ZGtx5Mv1DU1zX4f9ubZxe8MItcMd0L1n+lIGqk9c445qbynf92Mk0HSs4NGsrG9LwZt
L5aomRyRtAH73TywnDTAdpT2kxjza+xa47qR28FO3dek4X2gHhlGhkgHwudhTDSo3A1tldX9cmk4
VoIMWivrzk7a/Ra5I/D/hhtX62GHSgMeuf9LdOEjtjJSAzSxbbsUpI0F5c8uluOQ0wc8vkeQ3rrK
QVNwbLEnhF0rOSbAkK5YnLHL74DM2Cm08rLDL8hf/ITa0BMUulT0V28YurVmJIcZF4WlWTOiX6/d
9HTFq8ZUh47s0IGhn5RvVjt8SgYp64qEpSpt6fEMfZv7hHa79G1xtTei6KPDIRZ4mfdCzv0zEr5H
nPAPVZm9F7XdBbS5P5mZf7vUxY7zYGolVuPZ116I7jrNc8x6zXUYp4igh3GcZLAkkiUMqQB6Q3bB
0eThxBETiNl/Jzfrg2h5ZixWdp+geZ6HLoUrBwJqKgBDdbFaV4X2JfSUjHqHsIQh+wVGPke0whqG
580vkw+tyN5iO3/0KeIQcoDKdRIs/iU2LOK2q45hQAMtzHCPWshUULJ2X7XegAy4nr69iZjIDCIq
sPHQfypc9d2kznez0HKsjvt4VKCTTEMsgogcKWm4/UXzQ2NMwyPyYAuO6uLymXGSrEvXREY+TN0B
IcPwSN+jX6FMrBLsXcUS2wbDsaNsGN1ieLx9SZwav9FyKtw6fCqs+uyu8cE2LP/99ilE82qjj14F
iG35EQlQFtLSrMvtX/2q4KDV9V9/fwL82TyoIE5v/37cx93aBVZ2/fvd/cw8NPkyg//v375cQjTh
Tgz72+cAyESP0iNSLnYO4zQiQTK5sHOd4UHfX2GFwU+W341J7LJtjntPcSMaKdi5Ef/uue6KsN1V
Xv0dwd1pma142Q8UqJUeYQL08nkvdP9kEQU5oVzpBrDEQIPyedekiG4QGXzMSfRQDkSvZzXNn8Or
HhJQH7Ra+tZ02rkxmeDmuoEePmGYRaYP+tlh7bXVH0hNb0Vsa4HWZQWUhfzejZHfGHCQalcS8BSN
vzzb0TbcIF1Il4HhOtnJu/OYQ07enNy5vnt1R3u8I35MQhYJV7qhX/Sxi4OoewSiM5K1MW3x4s08
F69w5gSn9zi731ZxdbQKApwbjmtlhq9pWKF1tEAAT2fdYVYRuhmVmEI7YMe8k5gnsBs2WSX2OlN3
UiGZRUV7B9r7nLb9LnkyJxQpGsZAGDgoTlpX26LAbgLCgAihOzXeSG5mfUxm9da4mYHv1rnaLHKD
SeETLQVMXAMWToVq0yGtk9F9DltuFn9yh3jcFOYHGEaJOiKOG8xbFcktaDnPeQKKscu/qhj4WJTR
KXWxz0J+CV7yUi4dj8Ts2IPGZwMztxchokB5bVIkwjgyfkSBGqBF/rZu++KpAejCPha69Iy9CvkG
ITgOvEvLTC7U+PsB3MKQVMW+IkEm44Vg4dB9xJJrtHYIBK8AxVgDkWXw8MGTGMfSKIISQ/8c1hzH
suZea4Jos4vJZkqRH00gVg+2mR3shlVsRFmTdf1nSENQSxQszAXZMOj91Z4TTtq0oqoHS51ZCR4w
MeMa0fBYVEW+HGu0War6QgyXBvbogp4mZDGfPG1XNxFnLTiddRhpv5SKvlKt0TZxt1CJXdpx4M2w
ELuWDGc6niwqHjmENprWe+iIkm7VmoRERxnDnxToJEZpbmK82ijOj4RKjJuhbbKNX95zsHtPeQfK
TbkUf7hjYG9RPU+czRphLSvek6RKsNiDR7UrYS0RKzA+Ow58+SY0FRU/EGFRpkTXSujs2CKU/TBq
1XtY47PozpS9UB5yx11nXvcifF8EjPBUU/wWmpo3UaKTqoTMD17KOte0QMLnC+okXauQgQM2yGFN
fsvDkGbxlgFrgGkFteL8rDEyTGuHMqX3u5VGpKBRMNGP+4kcCT2OSFQhVsvKEQjaxiZPQMOUBF2L
WRBr233MPMlNxqmS9TFLJwBcK84MfNuYHtPREBQtjLzy0doYMREN0Hu4ogDmzcPYPKh4/ABmCsS5
6S4AT/Qte0B0K+SmUaXDsU46j8ET67t5UW/ELlM2c7IOWHNOtdC4c9SZvS4bt/uqe3eVvc+hGcKw
8v/4/lk2U7MqDb7c0vjHlrzqePYZ7I3Rt+UGbW0fmFIj/rNdSQOzbM+T8FXD2s9roR382AXV2g53
qdbnC5qbwV2OJiJH8CtMmyMSNvAK3TrrEw0DHMoSIlmuyZR/epAA17iLDMLuUBq4Gu14tUqtdUpd
v7dMk8wCAfSpSvL3pmFHjHkQGUH5gN6b1rngzDXs8UW1IFWT8Y8BAHRFxmG8bgemE8gqdC8o2uIj
a5JX3dR+cGoZoHF5RM1Ph4gge7AA0D6KgtlgVYgH8AQk8LroPtx2CEKX8J1+sAGIGC0xOa5J7+mu
PS3nkhBdcYYCvNKzWK601rVXOhC2FQjzr1GeJmAxG7sghNIZViInUJIq1NO0I3teQlvm9Jebyx+s
adihyTnW6rwF8OHod3bk343CKol/4iPFzzxg0KWOpWYk4Avc1myA0Bp33GIRdDIz2SRa9kPQwp0H
+fkw9Ah6wtmZNoVVPAMidlaRqMrdQKk42ZDiqsE/GLmXBG0vKNnyCjQamximndG+X+6PeWKc0iR5
ikkr6nJxqGabKLjEMFlu2Y+OqT5xpFoctuNDB/RHyuTqRojXDL/0t232WiC9pSUjGXEMGUdJ/LQ0
WpxGepgTKMbWnCuMKRLJZRUMhlMesQFpKwTFoyEfyxyrV8oxMOXdS2KitS/C4YpfbN60EaE2tIYM
NCKgeHxfm15/VcTzR+ihlG0I+aFQKceaJZ0OKafWwg8N2Y++LJ+1aVtUf1I2h4B4u7Vwojcz1hjj
NcwPh6eWFcKY+gwEML9tM3N6pkje9InAWlW3MnCUoe81nRMGDXsNCFpjZV3k48nCz00qSODJOHyC
wxQ+deZybMzjhEerC5+iCfLlYmQO3OVDZHfZNRXeTjC9XMmGxdS4vIVKkauT2YNFKmrDOU+6/6ab
kXy6/QHU47sJtehszKJ9SsmT3scJz+ntHw1XyqcWriorYOd6+4pYQtMTCoDj7SsirVVXywuD20fz
8m0dwn7ZupTa/va5PJHmia+PVrfvdvtcZw90FSq7/P1fI2mhjo3q9vbh7Q9Df4mEyB//+QK8W3Hv
LQtWpwikVVanSDifHYOSZx95BKqM1tuF7ew+a1HzbkzEuC9fUA2yedalXuwjBAT/9y/QreJ/+g5+
4X+q5UcYmlf82x+BgscSc/3vvqCbnb+P4fYg/813+K9f8D8eZF9Ow6Zb8qe5vdT3Mam31ZLlmjRx
f87RJSEdNdpXTyrvgNdBZ1HAv/LaIFlwrGyj5rp9VfUia/XScHv7V88HycqFHB/KwaZY9YacVV9+
iK0WAGzf31kqmchGAc/EFFL+gdK7NeieCZs2fqqYbwUMERc+OvzWYUPHqAksVMbQhaHoPpoKMh2G
9MVOHQJgTZt9HgDzd6dErxTh9X/pbRJmPIQ5TzXynKCwNHFtrDDdIh3r7uDpEUumMJ2ZwiWYMVfq
pYvJWlY9Y4hcc9UL4Oz4XGJMI2qAf/VRTF84ErG3Lh8ylQVVa1offpuolzac1b3diofbR8JNzeuY
JKeq6NgftKI75JVFwrcLBDFzWfygncAZaDk5rITlk7c/alyzRdF/6DQHr9xS4zL+sN3aPxQOOuwm
a5sPZ1yWGkPVXpkxW1d2+9+3z/PLEpHQp/OhWr7MeBMoIT8EdeGha+BNablf//3P+jS317GiCO0L
Nw3GOEBC6T/yWw+bXujDXd2Nxd4LQ8YL/iKcK42XTE0nA6WJBLFKOCnCY0mqtNcn7wXByE8zSS4B
GSUXb2lDQoPKKkryTa64OU72UJzSH2nABvbGWD2XVbaFOdoFRO3lRwQyG3VLEkHT64tsX1bTRE+F
UjaFkuU0Nc8ckicUcCVXY/UWGSZVQzjkGwevqO6yuQq9yNxFbf0xR+Ffh+f/Jz39x++qL7uFGxUl
VQmq6QaBOnz/t//wcP/9n0lPu8+v/n/78r+cJ936ly0MEz2gbdo67nigAH85T96/iF7G52jD9xG2
cD38K/9wnmA5Gdh+KFqxuOB/Nvjp/3CeNPNfIGB0Hd+mga3VQR3y/wJ6Mi37v7pRcMcz6XB5D3ow
XRzbdf4XasE042MbSPzSJwdpC1Uy4QpIVk11Nx66UWWnuXs2Rn84y8ToV2Oc36MzQOFZOYiHa7QJ
TCfJMhUURwVzP0Joj8asqqc+dg+1grkcY6av7YicmOmjr039JC073jYmaRFQpdXGJ3oOgLOu7YX8
XQzFu5sSJRL5zIO1gXF31x8r3zPfc5c1P9EV9tY3SFMDHo730W2AaKIU4IQbvtECJOw//fiIzifo
p3Yk4Qpgq2Gx7akozMJ+uBDr4W9yKLl+XbvB3JLy0jbw0sk0uy9cy9hGsT3eq068NEnUogYdy5M2
A8htHIHnu9dNpPas9dsGiEtuVX9qqoTIFXeT8LS7zIlRvg+pc8hidT/5FGNmb5wxA5CUPM/VbmBB
GNnFY2bJp9Tkii4Fp2YWmiIYuNqZ/E97u/ezt5ol/TAlZLcvKRCR9WrasPPr7DAoA6AJQ/tpERTF
Gkd+Q6gZkXTpXZ9mu97MzUvdMPeyEFgzraeTyqV1Yk7/CHHOfO50oKuFcEZSfk3+nzE8TtawPB8t
Ni/2yb0n3kdMZwioRhDyTNMIjeL70o1h16+2XdRlz7rN719qUXSutdZ67IpnGWlHSoVVPpBr6TcS
b2if5hd7ij6zKf7tZrY4WXV450c0NF6ot6sYhTXlNjl6XiXOpgu+QNmMQ7OD4XJXHS02tX5czHRd
bgoDJfU3upzW46SqDQGGKLwWtnDoY4sfsA39rgopvjoJGpt3YYwYbDP2fbqZtCY76pg5LaN+S6xl
HUPj2GS6IJmF0thvDyB5PqPCXc+NdF8VV+vWjHCN9wjmeXsWL0ORgGeI+nplaVG9p+7xUeqPYgs+
FAciGyvsvCBPBV0bqEHeGXTnIis6xOiGFoi+/7FqQZLYYN9Xc3EsXdyOs+L363SJ5CeN0r1trAYb
epBdNOV2VG1+9vGEsWInSFDvW4DIFTxgPTmDmwmKXlfPgMqiJ52UUM9I5ye8u7SH2G51n0Cp3Lxv
YfBTQv/y6w03lISd6egBrVGEOLjxfZlGDjwzQ2xSqz4RjBY/sdaO4e7aHW2gIrXMbbEctVH1nKvS
3+vj2WtxBkiJFnWKGeqiC35GKdaj/rOcvTVDNmbwcrR0bwaeZW2Koo3R+IrfcDaRrpfIxudHNfQ+
YqM3x4kuvST0PLIdUD6lQupWLgHdKd2kZh9kXthbpwTp0zE5Yx3cBvP0XdXJtzNp3X4wj5IyaeWw
Wjnmc/syKds9ZlJgxakxAaPsnBFeMB0d7pPQwxti2tPagr3qy/6gNfa+tCMcpMQYrZqUsapC3cOo
zYBsaqDrYPqNbDrHQCJU0BsabzsyMo7MXsNN3XUXScsdDNNAsTD7F8YVzHzR6mylok+aEEkdsQ7w
8KK53WoZmehmdJmiaJ/AQEG6T9dpi9k9DKwIQ+b/qwQh8Zq50I8mij8DmQTXJHc/RItCM83Y3nRL
y1VyNW5iT76Td2Ke8lbHMgcxvdV+3KykX0MCj9hh2NVGH+/reHiAzFOcIHEzNUfq3av81a+xNlSy
7nifrEWaVM8snFYp+vgq8a1XhVhzUy/OAsZxUxD1APMKuzp1M/ktOoTSYLLnc9TJi8Vd8MGza2S5
dr4hOazk6XAmYLoY/Tq2ULTbJ7eu4u2UhCPKR/0+1R09qGxxaJzwp0Qp67nM4vrWaHfT2LxNHkGa
RVN9lxWKiEnjqJCddQThQ/4u47k9qZGbykrsB7hexiSTE2yJZMCVYGeZ5Ju2QZMUb8Kz0195kq5G
vC6BrsOd507rBtB0vUQ/h0btbMcuAggOMIqhnB8GE2IdHv15hstgqII5eT8EMVM2r2zzI0J6xSqz
Y7vZxvdFJ+8sAWpN45aLBce2C5Rf/BEzO/RQHG3YcT/x5MCoBxbcHk2W36ATlr/ePiZoyMWWMLfM
hh16hbj7mIpdmth/2lY96FPN1hEyxnqI/N8Ryes9Q/JOtN99GU/XWCx5mi0Zj10D9RQP+tGxELIA
tHjuMc8EVoGs350xkcynVJPMQieFvEWSm8e5mfI29z45bfmFuGOeHEmASeWnJOzWS7oNkbVeh+1T
edq3INec0R3xyl5JWIidG79NfTLv4X0RbGvKH6K8MTXaDCzK7mkOC/ujj5KnUZIuHtqOfe4IUYXt
kv1R6JJJESoX1r13VBkdtkO2+qaz45+60uZtn1VT4A0aL5chwoOSULjnaOwf7LY197IyXyOnrwIi
Cw7YIOdAjaLfkQKBRbBD3VA62MezyTqXPjmmftjAIWM9yVKEVoqja6HLo9QJneMggbxGPHuy0f94
vXMou4ZmjmxngUnINltxiDRzO5Sd2piziwKxdZhfy/LP1Lfywnbro5LyNNumvrPnCrFa3qhNcdLD
kEGjZI5ZldZ5ItPACGGYG159ZxkEtRFnoiMDMRxiGYrhKQvrB1bs+hNWJoqicHEmkE8dqjndI8bd
1TYXWaz0U55jrhlcqzqWHumq6NF2Tt+bzKH0hlnH2K+8gYDrMP1wx7pYGUJP9shnkPlMJZ06C+ed
q6HH5qfa6Lz+k6jzWmqd6bboE6lKOdw6R2wTTLhRARuUc6ul1tOfIf5T9d24gB1wkLpXrzXnmBxo
fQ2nkeOPkBWrod2avtiJpOaMwZj9CvSZVpavQ1qsjctEGttW050z7Fmyg1HnT7S5+DMVbky7GdcT
PLcBBhp8XG+pdWiI08zch3i/V/0wGKSGRA26c457pZmdQ9GiQveQiRKWhJDJFadAH+7Ieap9iDQ1
jXy1jhXnaj9SuLnG/inDSwDbjr2vwQxBQs1wMItmyUrPFKCx/g1odeilILpRtoIvVOzyWKLz63zj
Go2rfhq8ZYsVY5F3tPKx+g7EucbFSm+3UUMVEnptsRnQpqx0syJy+dkzZbltRc9/qIRJAhkPQf6Y
jbE4hKV5q+t+7xDYWYbpeFXu9OxxlttUU420IBn9hY4gspAJ+5XmzOCf/AFgY3DziVCarI8g0yvW
T+NWatYPkytOzXoH+Ido4pgoP6LS2BasiBgTyrdVXPnAPyLCSvCTaJMrPlJmoesxoWspsoBtwTbP
BR3sdSurFM8aV7prqZ09mNytSU+WZ52rDe/4wWXU9E7aSwds3CHmRGAoZrU9hHrjbHDoaiVARI/c
nEYzCefO9VOKdeWlY521K9jN+WB/Z9Uvp5zkQQ89NGVqOuuNeilbmTB8bMaNngbEDTMIMdtoHyYV
KTqhBjvDKIe9w2pKag/Bt7Jorjkti3mg1pssuronrRfDPJpZMq1sjZ3GL8LmSQX9nTCn5qXzy41F
isfZyMzm0C4jhXGuooVpZVV78xFVGgzp/ILcomLknZMdLXVPCBh5QdttyCkn8pMbcbCm17EL/yWj
BmhJotnhiZGG0r6U+XBGEkxSokEBXmnDkx4W1SEBxeXifl3AN8/gfXrbUBjj2oeMiO4l/5atQ1pP
uif6OOV+8oiV0tRXm2VHD/84yeWoA0g3YJzh+JfWBe1EugohRIuxri7Kz5m+Ej/SjgOpgEn2UjYR
bxbZhibhvkvTLxGdDb6+9xDvlVogzhmZF4spmLmatnB2vu6QZqx6GsFlnSPwsmk9aax3RmXYZ+TK
AstNhGeCQDbhcKtakv3Xw+Qouv7uasE3KTboScwnOfIGCoOmT4qeeqT13mnqjeHOtKWPqbaGPxpv
M9ckFKHFUojOqnaTByxC5DX5WbtJJufC4o7VPNfX8GPUuY/qvaLGxnMYfmFKei+DlPvdmb3FHScb
avKg4gwVllAQ0Exoi3TWUlKGqV1vbUY2XQQKqcUnkFRgr+lPDYOWIxFEG9vLeq9Vzr1x60dyQqzv
RMbXaOj9raMjsXMz/cHHAmuEMB7d5l1oQbVnotvcNEO+t22dv1slqaDoAqdl4EOGD3w4VfguXsAK
3VwF97x2pbVyCIyJo8LaTlN7N2tHe2iHFDgJsx8UxVhazQYtWXoJytDdjRprIcFxuODjoFhp/Xiw
jIaxOo2jde6gDIuak1W5hKHF4Pa1Uj8HMNJaI8m39OYZDA1MISmB4Y1jycvL97Da0EDIznER3+2K
w/LIB72aIou4Q19t8lHH6qlQnPtOCSN88C515r6arj8xUdBHiJsRprhGnVDhaLsm6OxV8phbE/OV
qPns+laiSsieBykY76N8MFBvrhO/9h+6zHq182SDi9Eia34eUscxqL68vxhtIQ5aT2AtLs9POenH
tkHU4dqiWjlsHZo7due0mqZ9p9Q5NrMa+xJuVNh/ZO7463FI24O0Twjv9A3jvzuFO6oqDE8nf5Zk
prFNpGGGzscP3RDr+uStwwaN1JRGPekdycYJ63eNkOobvWwTdvQDHqrlIBRh1vVs5JgSMh2EP1lM
Fw3/IRg7cTRUvB9lw9Bl/hHui3BJeHsEcy9rj8b8gHYDqkbQncvNVEzhRhg4Ie3IZvAcYrMmdDPZ
Dj5IrA780yYq6Ld6Ao+aJcwj5w/z1iJ0WzkRKVJJqC/tUavPzDzGReIZcosYlPsuDPWjUj4dwoI5
USEorPsRbopcitKdDnY1LIW0ykOqizMDL2tfxE+FVZgn9N+vI24i3ZsN/GD9dugAGb8GxOYOwOsL
Bji2UaoXocaPSNAYBLzW7luHWUwQ4zvQKINj2BnLgXibFU5oNKpZmh5U5t+qEM2zE9KUqMrnLu2b
g/UQeFwceLOZTE+FBDlld4eCTS+3/F876wDxNGi8c9YFfAGcc522srcCTQ6DMogLTmfTp8TnZv64
MPx2euo9QzYSh78HQ4bXeihuVnJzCH5e0SPpFwRgVbsBi27ZxLfaXNPYpKki/OSiu6VcdzhsFkY7
Z4GMNmHYKXLeLKbpYVRaQYxi521zg4l/kEwvJhfyBmnANMcCoEW8Op2qHrUUHE1fuOPSqBtk2p6D
pWzuFkls+WrSlnZboJZMLEZHZmitJpu0NDzupdsGjzLqfo0avmgYU6HmI881roDsY1Nf1HqtaKhr
B6P3WprD+o8bZJ9+KxnTplN+Ih2KwNnghTdhImKQv2OlmntzRufe1ZOxt7kM+OQiVR9Lk9lua2bE
6Kgk34dVSCJFYewUw++NZ6iTbt3URGAIWFmG43b1iIJ95/sjM2oa507LnVbUpE6gK61ag8UH1ADR
wPZxCocfnnu5TdAVtoy8m7Co953VkC+t3HEVNvTxxuhE8GT+1BqM6FMy96T/LWTwXjjIK1NmxJXt
FkdiPGBqVulEYyYqd06CY7qW0cXMj0DUZpFPQqkt/bMVcoTB/vCp2cG9HudjICOc9ahdfFU9UJiB
QyBmnSTWYO3nxUXFxsUjUauvDlUz8c571PmTxXqTTG88Z4hdYnyyC2mvpyH/LsXwBSskbCgHiVd4
8/xCbKf22fO1CnQXn6PZpuXMIZUr5Q6nIMZOGtWtv5cDiVgTWKkMHemCfmW249PedJaWrdLMK7dF
726bfMHs+xXgtuT4ShvEGPnoXDQ8R0e9wnjIk4KThOyO87MCdhpgO8XbWskHRl27ocVQI2LyyCEw
brzWCg7tOB6Sdvi1sjD7jUzGnKhqBqSaYY4uSxrE58XM8ho9B+utkkNs+ctYtOz7DHuTwj3X9dBs
shZ9ntk8ENnmwCQBewWYJtZ+kpY0tq7T/CXQ1WunOc4NTv86SCrtVOq/nlC/7KpkauQcHgi6ZL1F
hSHd6UVU07UPJn2t2QMKCg537HFrJ4u5eWeP0eC7+GZgPncJ7V23Ohc1GY9h4X7YSBR21MVVZBiv
XuVtU/0Rc9K07xMhlz0OW9KK5EYicUFdMhgXNKOfXf6kq5fEb9bk201L28K9hMRrZcnmhlzupfRE
e40ECLWcuexCpuMx7VPtlJBmMpriKS7yVV+bGoGzawR3Nct2TUpOwAjeg9S64vgtXdlB+8A1Oufl
pch2S9vNaKshY28SeWy9Plwn+ME4q/WXlmFPb+suHUsBNbM3N21iX0rfnPsSK1oJTKTj/J+Wcv9z
j4vFNGroY7Tw6Gm4XV20YXPsQbIecbMC5A+TxRiAP5nZos4TQiBYNi3vaDfuRyh6O5uIY7SE2a8X
SmOtjzfpVOiRZLdRytUf/dY4Tr260gXIV6Wlv0ZYLFEQ1S/G0L2lU/MTeuXLVNGjd83uoyCZUtlb
rODRb5iWIPPDtS1ajwn5rCIuQyibjYNyLLU3JilBh9zo32kYLBJ4rJkl030RIKXwDeM9jIwjAS1b
tAFvhS1IS54y/K1tS2GLfzZlM0zLATWTThDtqG5a7F30kl8H13I5dcjrBIgCIJGVsfJ9OlEwVqft
qLNA9BIJjpPBwclp7FQlW1SgbGuN+nHZJZCU9MD/LMx+9iF/VD+FoFsTRN0bPgJOjP1ZmKNYhxF/
cSKZfdKDdxGODYdgHMo2eh4vyG6RY+5Kg2QeX9GIxbfw23U14vEsXdp58CCb/mcCY7HqifBjFmpd
gsl80SJd2wv15cz2fs6CHgql4I1GzqEoolWrS7n3FC/cid1DFim84ykTP5Dyl0HBECSHk9xG/Sse
7Pe+QLkm/HcU9DwHghrGwv4Os5glq+TfkfIaa9c2zZO1Q9o65UD/GPUt91f4rLetS3Bh9+Dqmtq2
Mj5H+dg/IJy5c3GYrMzhLWz1d2h03JwFuHtXYmE0uR+rfOtUwSEjI4bGm7onKJGWIYFlwJoQP6Na
JH/MawLomVP9KMjhIaN4EWvjsu/0JSCdclH2+E6d/uokiFwV2FxMpp9DWuLRIVWVNfsXZHC5gBlA
9SGycqHITKqSz6Sf9ogbXzq7emPwda59/ozQM7JIDVqV3NgfhIxPC+LOgEVUdLeNYu5aJchiqbo9
L7mEPTtoHKZ7UA7eApxXWoc32udAb/tphTfA49QuZ2SD5s1VZPjhoK2mC/ekVSOtXXmiByOodGim
1tGLnY8/yJ0olXu2f5pI+1SIqwKqZbX8oLCYNoSDu9Rs3hzDMGvqTfPQdIKDlW1/dkN1EM2jFcDw
0rLyrbLbz4ZLYE2xPOcOGgci+16D0fnBRI28sBivOlX22vHBkJME5Yz5r53mB5qX7cMUnSO3uRrz
L9Ztnv3Q8msa3XHw0+NC06P80H/jsN4NWbpDmX4uMtTzKYlZY75zSzvdtC0OeFNcE+qJLPtghn8o
DHOjSk6KXLdEFFLoZQRhTiF9C1SQyOB51TQfpIctzMhAW0/yVCbqXo3TKc2zC9vpPfaArJkhZ/+S
Gbp60jXrZjuzir5CJTmqXyP/MRReIssoDi762W1NmW1m4hX1+QYfPh+plgxLfAh8bmrThR4wDGBz
Q881bkcDKw7cscimA5eM9rnwC+ZX1a2exAMNDrXSc8wuhH5sORUQrNwMT3Ff7PPYo4OWv9Wj8BZu
U774Jvsbpu1DMLQpakkslY2FS5fP1xgcUHhOsUvN/MW3VwUFQFbPvi+R75mZfivVlVxDOErj0F0l
0rjj5bAX5UAjlY6RCvRw00tJ9ZnofNh4CRfILteJOcuGJxK62tb5Kjs6E2n2qEVQvATjU/Br1SEj
S2shtewwWPGjj3ct7snMUoP+5OIkgpyt1jl1TJqYaPdX02jf3Zqs4CB7cW36VOjjnpC/vwmrf4o8
FKJ5PzckmfN3rIqEbh3cqP8i7gsCtfwK8vakNPlU+Q6OSulNKA86Qncwseg6jO/AFw+sr5OJ5NHo
T67CD1ejDU29m4rJmMjLf95rIrR72BpXZWLOmDJ21bjySALzEyRcRy65Y4wWjcID701BWodb9f9o
Jp2MXI8XxBOM6lqI76keAGAzgi0TRLbc5QAxbzAlPhph/8gSPzZGkEXr7L0a+VtH3O3SKrq9G4h1
WVIzOgwrIIrtikgsw8Hn2OJkL6ovV74ePpcm/jxYl1ho54koQdTzkoOt7NvPzc8crN5SZgenoqJr
4uYpt3rc+oyNsyQm46/ai67eGgOQ9VFDE6Yp8ab3/nfEhNDPr9IdzMUkOR8MpEsC2F753HydI576
Klh5RXnQgsxb6Co4mV12JazEmhN/60XrodkC37fqpLxbvfdTlPIpk8WLcnfURSARu1Uq1IlDnSYk
ypmY3a+s3XUIv6m02IRx8XWBca/y4cmywmfT6KAroN+O4hdhFjs9qN9Go8KOOVULX/mH+S/XSfAT
+tqz5eESTrHTFWF+0trwZtQY1c3kEtfRFx2WJyQexOoO+U8d8VkzK0+4sMkDKicfBzruYcvZWklw
8okg9+ydiE2sl2syXFjHuQIZJnM0JJoW0wcgBwebRey5372EIhBQblvQJVRAx2g0vC0qeEoAEWJb
HyTK3Xy6ZtNzYmXXGlIBaaD8cvjVDV2C9KJwsCwSauPGZsapbw3b/9aMAIsgHjGMpuregAwgpZT+
/B4760vkeq+ytvfV3MPOs5cqnY1pSPoKC3mUGuvlpI/M68qPIqR2iSvOTQLjMiffK8l7TxB6Vjbn
pk43AUXC7Yt9e8f+Wy+clCtVNOLIuO5qVUVFg+9BMKDQve6aDM43duVyPZao5SXJBF2/MJNkFfro
/8cBENq76/CUvZGMxyY072mAitYIsNcF6OcpToY6IdmcQEGA73uUAwI5kAYY0azEUnG2nHscrg8j
sIlYqdKRbUOkz1OYnUCh7DRfADxgRpG7b8wU30rZvVE8i20yZ/u1XLUhKM1JuxmNFbHg8s43RrSh
e0qin4lVLGExYDL2Fn1YuFews9c7jkww9rm/QncWH+S/etx/VSUTosk/+8P7ULonYake4y10D0a1
B3v2QNBQ41y2jx30EJxrT3XaPtA8OEeVcy6N79SYRZ49ltf+WFrWUaXlhhPoPmMxJC7qopLumpdh
xLqHLlukh7pUaBgxm8Xqx5ses7o6Wp3cOLJBAhysI1rMZZQjGx3krSwE5n2LHFfTiP9pY3tIG+2C
451n0n7QXmOxiKOXjqZlLettXxv2agpJ5lL0eumMIBd7CYsBNxGwqjKn8O1F/zSjoZclIZ3hXDxH
5T7M34luvNtD8uUZye+kuqfKY9qAK5pSmfGoV5tIs3QQYA7C7zxvKGUIWe6w8g5MC7nTozA7tHAO
0n44IbPaKbu5gls7leOPDPdZ71zHlOKkiF4wgWxDK3r0mQPS2KQzL0N6SwQ5TOjsmYQ89F3yRWrJ
N2iP2b5+rstSnkazWmSV3V1Bn+lbJzSLpT/ZZ8MVPxApjq3unqWH4l6xPHsLyVhnxZzpxMfwlBcZ
Ecv58GHm1YmpHXwc/q/RfWUW9xzlx3HSPmntIoMYJoKJxLWny13J+q2cFxnLVVuFQwmTzWMb0/ci
ksGcsgtjnLvOejcpYF5ghVYoMT6UxURHDAeyxpkeVuG7F6C5dcPdgCpnESj3PI7OtxgC3LjDMUky
a9u0mDWa4p0qscKHFRE8W1OuaL4WLI2yn2gibToatFFJAKMiV9lDdxxZKBQs+Uap3ux9XpIMnU+7
IazSHna94n+cLNbDJDppSC7bf7Uybr2TXfBrfRp5+OlPMe3ZZBb/0N6vh50fJFAcUCSvaDhvcait
XIc1q8FM3fZavdTNbkMw2JnMn58+Cn9zB+KdM6src79lhU6w8wZnbHsTUElcC9Gi6gxOVtKjL2TV
4861ndfI+aI1dmeoli90lP2rsv8HKGNTcg17YwJPypZboj9h74XxZlItpyFyvGG7Xu1eLWVRS3ot
405z6ScGPWrcxJuPRglMyMGjlPFvZpuDbGPTUmXskO3+hAa1RYhPrpNfr+O+hzTkGj1cDsYfjhlX
BzeEMgSWZEvr/0E6jgWa16M2z7HcWGXCUoejGq42lKk5LbVuOS1og7n1StbFyqHb4Fl18wClgTsu
WZU2Wv4Sh9oKUZPcgsj5GkAzXsx/CLw7DsStjZzdP4SKXO8cVuC2rrb00D4L4gZoStsMsJZhZ9qL
ekhpohVgiLi7+6Jcp61H2ohj7ZRMX8Ya7UoT/NI5yxZDgbDG0MjQ1HWSgOvwTzbhQ/vLI4y8WJGz
4NL0c5h5nkG4KtNj4Wq0f8Bqgj37ckIaOQCwnge3vxZIBZaVmre1WnD2G2OMjCpiEKiBjXDXjkov
1IVyUTBYZBUpvfzNNZwtfk/hljp+0AwfmIEFWVxjy/2pUlwOlhgBLCDcgWqGTEktxnS+yHO23JM5
lEeyu3GUQNzMm2kVJem1ScwNlMVtJEJqHn2raQyonaqaFtZQbWVNoWiqYPFuPLYRPSYSdIvpZHf2
eXCG1zyhSA8TzmboTlI92nCjh+h9ppKOAmO6G3y5x4Dhvl2IdvEaTHRBXAPLstVfRx/7M2co8l1o
bunMnfyE2NCOxMYJn17kJmz1xEz9r6gh1+Wt8eVjmeFxqajmxp6Ff+jUujOhsdxh0Z1KY3rCIjuO
PmNQmlor01r5MWUcdeG+lPb3DHpzQjbOpGqeXE9edc1wSdzQ381BfZRCldQVjOzy6UKa3U9YWPeg
QuHCqzUDqP2d+Wok0yaHS76RY9+uFFdO/wDOk2l7Rcw0AYUXHbcDk7ytJzzQmUp7LqFT+IXzkfjK
2hbOLEvhoAE6Ac3LKyzGOxYa0ItV9kjnGO+rtUFHEmz+1j8NfV7ukw8diquICndFgQKGcLKAnA3Z
qg0zoFztsrfHs+M0vzZlKOVxd6RZxAcwiSf0LN4kD4r2RiTxX2IVx+8NCF8mHpnK4WetzWcGp7tl
yvqQSW7su5SZT1pxi9G+XaRzvWNRCU2+89M24WNmfRM7hlCOUnGRB+WuDxXKS/PXUqZctlIlK2aL
bM6SfcxCdEDz6t7kEvmhWXkLkdUH3SS9rZ7e86Bng8sRsqA40FsMlxi9nggd2pskZVsN2V5VuEka
jmFwAzixo5XrFKdu+v6ku2FX5N+VDD4WiJvhl6coVojYjIm445/3TwOVLe3ENSB5Coc6/I7b5qNy
JuyoHLoqd+p3PEEoRaGzbSGgByWY/SAxWLtsVy6xfxUdxt6OtPrA77vD3/eakZ4cumeq5ExtB90b
FbF9QEFBtlplxsN+4CznACkBC2DqKypxcm9MhXVNG074Uyl58F4e8kxMB4Ood8SQh4JOMHXbTIGZ
f1xGur2XyRsSdpg+LjOKAFboweooSNj0YyQcDWcG3WdJSmwy6yaSctfIyj61KPDWwisCHWls2R8C
p0BE6VpvCjvd0hhwTRpky5SpzLcDx6e/V/T3kEpA2TJLf0jq0ncd2e3e/JL/eyDJ/f+/RSJIZxit
+iIuByJ+Ikc/yBlVgEl/aauQtX5++PvKalmVhgriC0RlR9r1IUzj5mB6sj78923Ozhh30HWpf3Gt
D/4zCMUMDvpInZBRRM+cEYT3yabW+7vXpVvHgnOQdcwiQzFw6OHIfIhh0gKwJgg56cbvMKa/bND+
XnrTLZwo1plGDp6/7RXotFZrDqnFQP/v4b9vbV1Pd4aXcGzr6bgNCSaersftzEyNG/HQiLlyiET9
MXCwWP/9LHUy6pi/P/j7cnoYJxzhf3+GQrY6/P30v28TQsyWYDifVKU+g46okCwftjGBr8yFuOL+
95XvcqAb2zZc+Dma+t74xzEIGRfx9kww5wd7fhFEX9DHF0DnGmptuBEpjTK0uoUdrlXhL+0aO62K
7R+noEtUGdnFGeEC1+ZYHdr5wU3q6mDGDyVQDCdn3mWiXIUeZgz+ofES+sFY7aAcNcvEqXbjlHyF
uf49Qa+CQzC+CS3EgumA6RvR01YxlkBv4oQkWDsSxGP48uN7JNvHLLZSLHvFVzi1pzZqQQiKQ9F1
J9jeP4bs24Mh/HU+ZMNDOHib6AdjLaZMswv4xTTEooRP3wHtW9Qu44uSHzdjSsu/2MJvLa9jZqCz
bpHP2WRjQO790mmQLIMW230DISIG3IZuEg2Inx5loFvPjEzlcj8CgNpowN8XfkfXqCSenjTvDkzy
RGCTbQTc+3GzEzQYCZDZ+7JkKND13YXBJS4RZ2K4BS7J0C6mb9fvVaBtyBUgTx7NyqLyhwZ445hd
zaE/jI7aaG3n732GcvD4UDxocbQOcbQg7QXj1WuutTc0dhJokNqunZjCd0VOO8XnI0Aw6AaVixpH
vfZWW5w6h1rLSxLJFMNeYs7RaVS/hXliP7C19wiM+35deBqR69pXGo7pCJwhz9emMOE/1vozoloq
V+s2tLjjEZPl8wFZ7f1v7gtltSewgt2yIC5i3bJUcxgvv2gOMhqbmODGVVsfE7R+Ta5Z+6yMjJNm
2ntvHAvOwWLY1Jl/ijIPmRIMqX+FRcUUd1WxMcK0WUed/t5ainlAjbVGz03OjePFqwTtTMoL9hDv
1vmZ/WClc1/B9oZnV6NOGlvnUNeGTkvE5uda5/yT7UgDGejcqomQi3hp88ENsSWa804KhmAMm9v7
ppx2DsyYJ4SY/dpylpgazSMCIbDfDtluqf9kjRwCw5GQhQBMmje1zUoxNtxXOS9Zcxm4ZBoeGhJf
bkQBcSg3ER0o6NsPUA22Eax/R+r2yen7PdxK54pgFVqs1Pq9lyG7G92tL5RLNyRKcO7lwalEmcYg
nJ6U4cbxotbM77zTvWs20JqctPRYTcxxIpRUNMwj89bX00qzvWzbRiratB1/w2XwuqgG1WKGtvfw
8crLaOoNfXJqoLjPDj2juGdI7NVaWjmNS7IyFrGKiTJOerEwYj3ehEaYHF3s5hqBLw9lml77LH77
uyZwJfkrg8PsDgPkrcyRO6djVTwbRXaHAOMgdM+7FX2hcmFpybcxJs17UlaHJiuaS1Tk1oHwa/hT
WQYxMjXtbhUhbNgABHM32iD4JM3kQxvsLwZ26ZKItHzR9WPO55HvWDgQKw9Wtfq7wGQVHOv5heL+
wzBrtyigEW6yIVjQYSL3oDmljxEhMi69ptHz0ZHZ1QzrqxanVU8+xNnpkWpoqCsdEgFv6Dbumug3
f0D7PwisCQVq1TNKPZUFDuFORY9ZHo2sIYncmUBYlqoKwk3epcW21KBQNUlqvYguL2nQ9GqHZ8Z4
/nuy4azPgJWH1RdbxXx3hSbbScNRrSK2eC+Q/OzBaHX/fDelqvb86iwrx6aBohMWXgLdy6vhiJJa
Ow+l/eIXrotRgu9SopX2VtI9VJ1IIKCm3toBrrOsw8A/eZ0XLFwzz07dKK9NYB29hJ9Ehj0B4u3a
1d+vHKwevVADQJOFe9x4Ccf2Lu7MdZ/1dAcE8DinDS6tGDtEFZwX6E5Wx78HA+nU//6TiX78Os+n
EMtOupcmvjADlyKFt9GcjLCmEvT7Z0wmESkVYh00HnUnI+77UAHG8rWznOzoqAqgUu6AnSBLBnSI
yogPRPqSLwHmySqD+tGUyadicZsZ/Fk/Vg8p5ui0t9A0DH73WMdvY50kJ+TsAHLtpUlM2D4KG2SD
Y4s4wrdO1qD0Ew6cDQ5y61Q5VMYKFsZ5CumYlAOMKmu+GbuJ/iBbymGMfQ5VHXy5tgjclSr1a4Ux
wxQuKxkrNeEQ9oOTteu2Ez4wpGCDp6l7ZEh/75owBpABrNyX0TfjxunEJwQVnMftRBd4/8eZTlqA
44OBIe9/i1gQ2ecYycBrdvNMU20YbPRLR4P7b5co8BIyioFE/MSVUGu3IKpzSnZdr8d0Cazv1BwC
joiC4X7e1itancbRFka9ytuUFcEYR95gyaGD0Mi/H8HMDK7+VN6tuDiHSRDv+oQy3bEqa+8MQbLt
OtK9zawhoZHNoM9BWPPCfkQrL0Vqdbcoosv49+JLR+4Nky1V1tMj4rvkwdLFKieAwUj15qUf6t8e
Xb/Zqm4ZjpG9t8oI+4BBZseQOZuRoMKFlCJGicFxyFZFvfQ8299nCquHqsp0FcDhkbDB33WHNJI+
7B4MBGaLAffhRQ7Wd2DYch80RXAxpaTH66D1nGVU+LxWSX6JKl98d3MuhoI1+hR3RbElJfonRkCI
AA/wcd00/dase+qQmDYkhAbrpcd84ApGiLGo4muTd2iZwsjd2lJ151FZTyMuiSjP1JvVqWRjabq9
RXdL5WNHdw0CdhNlw5XIiWcvqcwNYBlx8psq2P29/+5Ikp1jc7qZScuB4ob/23p9kqw20h69nS1Q
K/aB86SLZrqURuWfzIh/FAh+m8ocd5dYcyGEePlmATg6hBZhBbY1reOUfQzR54OfZ95352n/6i3O
uOwtkvCSa4GnWbZpRfiCn10kciYDX+hu0Nxmk07zGRjNMNQcOmKG4e65bujDgm/CFsSRVSdfeM/y
KI8KDeeid9TedYfshoIGoUw++CuBgJqWb3ywJ+4ckXsx3v9APuiUaycW8OyQNP7n33ctNINN4kfl
efDEobfqZN0Yk7fCtuRd007v2OlgWQ1u9Fnauvmp+GIAbPj3RaQVHgwMTadyIcPSdMUbjQOxGTqE
7OyQcxR7yAlJ4mX97yvNzk9c1nLbNJDKNa8yz6Guyg1MFmsd4uCnnwSCJ4cwcRg9bzwnac4IqwEt
WHlJv3MtO9lkyO524/hsokA4hA0DmMSKMboW7WvpVp8ex9RWOMazKyF8/B0oh05vUQXjYpiUWXD9
1L/pWm/y8LEtHJsGuCMP41AtksEr7o7PBGBi0NXrZvIGVxi9ObM8DWFmW8HOCMtI23QZk1XV6Oaa
lk7/MIXcw4bAkFDqYxwukdDDa6jynyFjGkbmk47Qjq8iXb5WDr2LaazF1mFBI7NIbMtmCFaAOTBJ
zntIyt3G7QtQDGkTrXFfZFugVKiKq02Jqugh9PG7tHBEvrS4Pk2gz++G3XvkIpA4rI/genOpPizv
pNdieI+DPNx2NdzwKcg+gFP0d2YTj9owuh+zV9jrvdcWWsednhaQXK35hAtfbBLgSJf/Y+88liRV
2i37RFzDccBhGoqQmZFaTLAUVWiNo56+V9T9zbp7cs163pO0c07lyYqMAPwTe69NahKygckpfowE
YZqtKLVT46XNGfmgeh7uLPwRrpvpY+E05hYhlPs5jszXo+IVj/elMrEA2mldnz3Li64ZllF2WZ54
jGZiuuUyb7Xuxc9s5JwmEyUcqsZ3favjEDE8sB34xCkDwaidxROSpXhjRGivZ4rmU3T7gwRawaE1
saIDTx12i2PS2aL+WA1E6Ox5geAtmAowY7Axh4X3dscoLCSCZDsntaKtEfJE8V9umOKnwVyJL1ds
c9MSzwNyW58cid2/e4URKygY+h/3Rk4ZyJPH+UaFMRjeW5JN3YPTyQ8EhvFnuTaqdHjvE8xH0ax3
EUSI93Yif5GFvtpXNhiB0EouiIw/3c5yfx3JpdPm/kccTR+LRcBJW4337KfMfblM5UGaprFzNFsD
phn11jHH8mkI0SW6KWhe7pcoMEZODwPC/WPWGOeltBlOZ+X4DKfZYiZdelAOzU+PViJoLOT1U6WT
TRcCyXXDVDKGiZpdO4E4t+L2DV2S3BhFiA6PM2xdJvgROF2fIi+5JHa3BP99hHF6nFznok0IBbWu
vhgJWhuGn/NeO8JnlNi6F5dBT9AgJ+YSK8GAdeqDFcJDpsaJD20EvBnBfBMjn5yTj8bxnwH7/3vU
/wePOjmC/4NHPf4qv/4vSzvf/h+P+n9Zpmc7vq+klBy6Lk70//ao4za3HJI/fJzqDh4G4RBU+R+T
uhD/JWA68395BO3wZ/xf/zGp2/+lANfwR57vWpwO0v5/8ahbBJySiPi/4zAxpUvTcjxeCqIcGxDV
zcP+f6Tidl4/EIz4VU5N+2yK6NjcnpQDp1cQAww6lcV8SbWX0A7pKYivVWLMhymiZBXWHAYNfrZ8
aegtssKmYOIwzG/2Pdhc7DLoyjkkyb2RJmFUXn8/dl5153fOiqAt4qTmayJIjvHipCPp1NqRXGwF
2vMvbj3Pd6lVAcsOx3pjjBLFwK0mJXgbNULGygMOO/dieVWMfIrMa8463d8UcLSB3lrEgDlzG0mA
BSMs6X7+vTKc3tHDaJOk6Fkxj9d6SE5Jgci19vaqgqtbqrI8jktj7QamVaBJbnFCEyqXFh/FBeHw
Rc4R8RFl2R2k4X5Xri4ZeyA+Cm8ND5X8tEtFzyO3SfI9uckJ+FrGtropM4iw/DqzqofDyOJ3FVks
PDKro4HTyJgSviNxu4+O+71m+OJSp3XEwTOlNPi2OeiorLeYu5yHcWHBDDIG4b45PPWV7I/SJyai
ZR6XkWR/F7eb+rYrLaIGXLljjHdyltm0gyUiCAYs2FcOfnZKe+waLhI/CE13bsiAOErjx8yfiWRj
LUkIG2/Vue3LG5+xvtNI+t8R7T7IpiOdKy7ujVBE6wJjLtlARBPrdLR3ETwk0e6NdOgecCXhJUKj
vJOW6R8c2gijxtEzNWXIiM9X97xjH3HS3vUAYjfjIIk74/iySunfuT7TznC8iUdqNme88cl9Z4j4
HhK3XNsZc7nIMpfNmFjVBd756bZ/2ElhBf8uFEi89WvbsYLKDwXBPgcffTTu+DNuIiyMs4PevR+X
Z8GmymXhvRVVSXJXGU+IgXHPzp057FyViKMxgW+VqR8Y/j/v3+ieu5kveWxuG0a+xzBpg4zRFJQQ
NCwmD/ej0TFOiSvj3hSLcWRv4kCcjk7MTppDNMaMtXX5zGvAjeY0DdEZ/t0C82TjVTreWq6QG91q
isgEqVgmvDfzVoKOttH9pgxNrWhTE/T74CyqAcduXDIzeymERLGJlzACXILmR1+I96gP/9hIGWmQ
F5mZjEcmdry1JrAAVTqcN3vv3xdT9Utsahr8u/VLKyUiddAF0zMm1j5MACUa58qWdT5QShKo7ibl
BV4Dk38A6+nAWu72fsjadc8agaYCy6rXJ1Pdcixk352SKUH1n+DPGrxsPkHpY6DuTbt//zZmBnpC
aTOMcQsIWjUAltpvyUZjmFoZNjtTUECrArnzuogmxDxyGpwdVqkXW0bgIG1G9LIct65HwkCFEfJU
G9ic+CBzAmhONe+ozcL6wSnaVy+vIS4Tofjcms0hW+oiMBCkwCgW5ZqbYibfw0eF0mO4jpaBuBKA
wz1l0mSRqDe+ezAmN53CiCathRZu1unFKNofxYI2IH0i22ZeGL2GQwojDQs5C2fCX4uJ+YQzO9MG
XZdapXZkvZwi+nunqfIL6OCz59kLgl8iexgmpEEZolGzZ7d+Kkp6/rl5CNUwM83z/7QV2NssXDZJ
Gf2m3XxQBsYuirSLb3gUuz7+HspyKJkKkggu4xjFVJusmg5hR9PIcs2ekXxeoAe8h91r3iQQCLIf
SNXQ4V0+7dneDP3wTA15ULIpEVfbvIMl9Twyy2VLmAKZcr370HTufDLALzFdNmnRHZJ+qKsjWAp5
eSLtzdzn3fjHZ4I5p0X5vYJUjFanx32vZyJyi5vt35XVMXdu+8YF/whEqzWKgGnjJTZTzqz/Y7Ic
ZyRbYPFqa2pa+rdJMe33Kha9/pB91wkKwcHIv2IDmGuK2jFwSvfYUbJfi0kfmoX5Tp6RQXhqTDSO
5qjAMM4uU4HMRLvd+MgxpiKIMzwqeXsLjyhwR9GOMZkEkL4aNFNbCwUtvF2qfTAdBU+9eRy9Lawq
soHRNwhF4Yt+IUG2BqSxxJNcxn+VfQuzTbmvyJFZW6Gudlyeq2lkOtJU0UOK0xBBH5tt2tAq5YuH
r5gNGTzI8Cku2xLRGN41Lv214QElISL6xUr8tzwv5q0VScDI2ZpOo9s4QJ63XdsdsXw5+05G14UU
PsX0yyEvFy89e7uCxB4yZE5EjjwT4cDyvai6HRu7RxGzCie/Y4OqIl1ZvrHNwyIQ1Xvpiw0T0ke8
jzwQF2Qwy6NtuY/+NAVmlbPTC4uXxm2CkXCBgCXHxanzb4+GYF9wqJpEq5b+aWYAh40GknXIgW/W
n4ZVQ5UY3+08wszbRJhyYkmX35AZ4BRkmTUWUkWV2p86d/8Y03zmloN/ngxBQSjQpmLIhRK+W0vs
mhs1RIjTXdRf6CEJLIfTxz4N9Uq6rKHhmUGLCgxvHIppdkx5VH5JyRLaiUHcLpkEfx7f7LxulqBD
gGYd25OHFMDbLXlM3u/4nTLj2Vjj9Nj1WXiekv5pqrgwgFTGQWLVXDZEHGPx4CpV/g6i/3RuK87Q
xgiP6NP5bPsaJxVSi/WQ2gu6LubRmOfIOnD9nW6b/iBYR61axxsumd/uqix2jsRsOMfBhuUtZo4W
b3KOHpbDDfEQEAAV3rQpg65O+vcXubDVDkTVX29Co2+CVd+W7IIxbWC9g41wZsTWb7y2jrb1SeG1
uwCr+JE5AXlL0kKgTddybkNcmbgmukHfRsrnrqYVVWiheV1Fd2ODP+JkGlZJUn9FqfXKUwRfU0u/
GFcPhsr71egFoF5NxJ1Qi8jgCLNPNTr8G1yCxMYu0HPytmBIb/oJ8pxV4901GDZcw/uZ6vFFasT8
fJLenYMvRpg6PgJNhtxmokgmYYjMOQdWArax7ZSzA2vYwc8RSmDf33iNYKM2L9emngMJ+2jdaBQ+
EetOuKguOx94yxAxnMDLCqgeyCVytkYr65/cxEioBnsgmuSg2GpA7VMuX7Pon+e0elGIxDgGkKoq
1o+rjlqBKoZjCBB3qsgFM6AY5smQbT3J1A5bAqO24TmCtkkaMw802Xy7VsVOV0UbG7Wt34AWKEcX
4TWug7029HvOTU8on3UZRnTxbBNLYxTbMWS4aN4a3ljCA0YT6ZFT6PuXub32XphDnU5YAHZqZc30
+BkiignGw9mpwqOqukfHb9B9ttXL4kJtE52zbu0IBoIrWMIpAigjFBecxgG+hb9OaUIXN2GSGq28
apc5rd/bxOVmgT3F1oPpINQ2hreJ0GHDHZ/HKn8bBdPjsbbDIEspNcKSig2NBYEDaDoH48Ek65G1
Fz8JDbwhPQfX0HRi2Es1zHJpZSxLAck1Id3TtzdtCUxApC5rhX5oVgO2kbAtm7XbYuyIuaXVE7Is
AMeZU6BHgR9OLsNhtu0HODl8Zr2zHkYuVXOxAdP3yxVu0bHOpneSAhue38j/2ppbuWlmxG1O8ixF
fGD38XqzbEz1QOSxZ587Wb/PthGthcNDvbEJiINaHiElaXyGQrobLnAZqHbnlB0LuZwqAtTBfoRF
FvfQIsJDVEOAHcpu3AyEwqNb0PdJlH7NPJocA89MP2IBtW2Mh3HXHLu8whbc5Fv/UULAwaq2PKGe
Tda6mSiT6g8V+g/hPY5G4A4jY/4IaYmbvbJtidbG6N4DakAIkP36Ve8TvBJ/MQPDsdAjkVKa5NBy
YsIp2uQTaVbJx4UKvF/Eq2cbbKuBXs2V+liK4gsaaQafh9hdBQMorVBu+lNLmkFWbGVZWiReQuBu
0O/arR7XdgMY2PGQE7IRe485LrDCfA89kTEbmehTWMFASDd8170V3g5ANSKRb/kAk0o+g40FYYSx
nQSPNIbgNVfUcs2ozjntlLlMyDngvDC3FN+GiVZc4/1tF7YLtCcnd/auvvFAIcgFOqvXRmZvCVc+
mXg1T9pR82Mp9ceiPnF7EHsgvbP0M9JKwSJXw/yo7IbYuLp8UpO9pTEWwRLjgJpjgnNblPlL8Sla
60lY2ZM+OgL/Oh3o4uevlLKArDC/ZSbDeoRavmiHwHaWiygu1dKdM5dx+TjL33yMj7Vbf2h/jq5G
2X7FoeFtWjSTAKw4typ9Y5LNyQS9njm5MOJN6fgIGdBSyWqYdu2SfMEGX6DqXELWEEHKQZFwPOZi
2fXy1ZzcxzIeaYFAFJLDx26cEhIliPNKSnazHYH8uDj67OQpdbvioOVxKGtFkWbcaeaaQRKhGGbK
1p4dmLidbe4aO1J7T8ccDIYL4CDC4IfsHXvycESSgLKouZtJ67yZQa5lrMcnnZtfTotqPXbHjS9I
SZtmHo6hMvmg6r+VtGjrsfGhCn7RFDFMI6EytAmPetB9G9NsWSQN432tHOrPLA3CuJYBlRv8nUbc
DpH3msVL1sRm4Ob12VcEz/QFdkB6zr01obGca/WbecXNcYH0mpjSF9O13wctnqo2u5QoYACOII5p
ETvx6/tFeoogjCIFtKZNK++rrKs37oE1Ku0O1ItVMVYbmYZnF/+2dioqftd5s5s9msBuTXIUEUI8
7WHDcG4iVDZjSsqxp+YOB5O6x+DevXELzFrAcjH645CYyM3zHmxauUMHg8+DvNAdnveXRIzPlmbL
RRvNrpTlSBTeTgf4Vi9EXLB/o3af2/F36EEzFyQNlLm+6kp+pwKBttNV+6YzGcY6T7yvCD2rZJvp
JtoCxjV3Ljdna6kfv5Dvjul+z5ZBS9JH16kPq3W+IM0qymCwce1VrQc4aXRBnqHxhvB0lTY34uDc
5rsv6WAepUXr3onik4HwJzurax1J/EiG/sS6s5kscTXD1tmnvCmaUqCAIxCH4TdEPQcxnZ9s7IbT
G+rLNWqjN3qwvWlGaH5Dojm8/nPO4qOlUY95oRn0o/3SlsOatM/4inlrBz4k2lUdgaNAA+Bdhe12
LEw8PL662AZajBh0BBOqjXCak8H1mCB5TYbpKhLOsNhynsqk+YmKgnrKCl/w2Hw4hbxfsg+1eO+R
mEFlRcOftBcRSpT14rUINjiC6xi5p12Yn3byW4PoqLwZR5XRI7eJX0WMQoBqSxDG+RyRU79qSrmH
TYE5bFjeUyt+S0CJYHmIjm5XEfhl5Hs9zr+idq9pbz3ZdvRsmEhX8IXMLKQIuiE9UaBQgmq9BhS2
lSLklvFf8It1/C2esVUA5laG5G5rSV0S5cOooivrU3c/Vgt53XWE+J+0QXP8nhD6YNJaGZkDYihd
vpv2VirBkQlxbK88jwLGTXdo8S8VBQyXHmO5mjgB8HH1sbazkAwlpFMOxYcrBFG6E88TOyRuFCDV
VuxdAakZbes+c7M37ZpPYipo69k70w1a7BpA3jYz13TcfFuGfZqz+ZEUn41dtRh/y8eRtn9nNYTS
IdmIOaJRfqGnMTp2foAMdyaL2407ETao5whGYBWTGuNa9xkHaoHYYwEzxHKZlJgrSx73UBn6Dcgr
/pbcI97FTM7GbQ4jUL94KQwI7WoUy/QtzBSKdT6MK3LumgwXe8lcBV+i2DIXUoD7jlHSso3Oy4ea
KWcsJyzLfvITQYkIVaM3i6pfyrlbudXICKyzHhmzbya/KncAiqBqGcOO1dU2sWnCqbHv5UhFY0rJ
9iurpjWiNpZrqbOSD+VbGnMBM6GBDYnhcGInhoSM6ceDWUBY4NawGwj6IU8Dw+jfqSD3fmZsMs8J
rJEFjT3CTBTzJ4hmZFUt4eM1HVXsx2+IuzqWG8u9zUW2KiNP3a6Cs1LxWy+HAg0UdrcW03oKNqRE
NY80CVnPyOp6JoSY9TEdVrPnZ2tGG8zL5vVYmi+6VTStsfwlwvDL6HPi2gsCWTrjbxjG287oghwe
Tm3Hd+Q0B1W8MKMh2ZO/O78vQ++jQGRuCO9pSZvvyozY0oiemwyUaTQ917ftkzcmxroui5+2Jm7K
st/NamREW5QHs3S2lbzgTeRWj4EWl+p9GdmkI4mYgjbjzgw16b9uzlA1u9hoLA6Y2b7tqsMYHwJG
mc7aw6faLTyvF8FwOZ8RFLlDfY+j+1bxpM0jeQyfdngL9piYyS2ps40tMjEkvJzx9lQuI34D37+h
VVMjKOLp0Djhc+Lj0YoKKrmKnzikQM0tY/qG7YLgOLX+gIFmZmuU7yI11EbSoN5SFg5lpuxDPREg
KZylXTd99QI6B5riDtjn00DqNg44n+CU6cnUDg1IFXcU1Pju7JF1WRKi15Ih8cliOpIq9t751sts
0mza0nlncvzG6vRPpbiaSy/b2DET64XrNJ2Kvcheli4k1DeP8KThXKDQrR8rRG+7zG3uY8750B8Y
yjWPCo7VXe39KNLRyyE85RBzWEXjQCCmaDUzzsMQQUidiwpr59UZcpkMnWRv0GR5vvXqhRo/hrrh
3Dmiq2vv+6/SFDaOdQWJaDyTwTTvqXaQj4K5DG9f2oKIGJwG8FOadI0egpA+gJGVOefwdXDDEPsL
csdLjj11EaNK2K0agaUzGHhAoN6NU5EyXolfW3b4xxxVUUSi7NpWLLC9On1MRk4+i+U3azJcKln3
tzTFNvTIfiu0XIupPs0RcynfcN8TCQxE2u0vGXi7PoVJKNruyZOuBWGlqVaYwjV5toJh95xihUie
od/EgaT9Q9Gd5FRUPHcz2HBoOujf5kdm+PgiHCJJXMwhqxGY7wpjVpDV02keA0ZjZwfheFV5X8zK
n0wS0WuH9qntfh0ikChx+RUdQQMfxe21dIejVr4A1ie2rVzuVMqsE+m7i5WvwrY84ulr5bv02qfR
XkeZxa525OE8KXNn58RGFvULCpsNusOrrwhoBvqRR8VXVy1GEN02lu5NlWjbFI8jRcmY0u1RftLl
ite41R8YYopV01oBPJBz3OR3osvVueni7NKHzFM1uTUzo7qt0OIh440a8s7b4jHc0eiOW6vCA+KR
z9IeAfrtbM61XZwWZPcN8Y9q2iXofQUchIVOiJUaRTeCy5wx3QIsY+MoeglBYNAGiDk9JbzEBv8Z
3ADM8Ju28gnJrMWniHl42A4T02y69qSobAsLzxisgQAXFaMyXTlMaavPuCLkF/Hda6P+2nkeb9ig
gJ2IGAk7fTyeDI0aZWl+pJ6LE9EfxkrVUbgGTRdE4XynDW9v5xY5nN6WDK+jObHUzgn/sz0exV4H
yEMw3k4xl05dpbbI3A8JDlmkrszQcFuPjG7p4baWbj+z3HtuMvgl+cxzp5s+LbhvUBVgD+dii5hO
e/K63Ij0sTXcew2P4vrNBVSr+jRCn0bcYwlBg84gikj2yaleom6Hz7RfDTNvoKjb+wE4EukMYMD2
kOJImncwW42McapOBiJ27aDEVIdOSeTkmmRlQAjpcekIbszIrOpG62iC0Kna+A+FFrZQnnRe6EME
xEqxLAKqnczvp9Y19yNYMTRUJBxa/SbMEHRg4RNrRxfevgTtM1SMcsA8N1tIJs6Kbi5CRPohfUcH
07AcQcDVJ92Vf/C+jNuZ5oEjuQJg243zARaZYBJQ/WXXd/RcUx1qOhCMzaTY5ep5lpFz0HApDLs/
W04xbBNFrVSU4UsNFmmHRkofEWDesNg8fMY6/evzmlGktGezwq3k3CKgclw9HggRd3lI4GMQHpUM
0R/LHNtNmYHcGeqhORuug5tJl58dpPFgzrSNAMwFXyEgpIQeEqaRiG8/cmDUKedNcNER/elcWhuI
EnP45lip7r6c59c5mr/EdEtMgXQmMXDHqf7uKhmuG+Tzm2Ion7u++50thLaopcyA74HvjEJpcFCH
t2T1XVPbvtoCvwbxCNkuT+NAce8f4rx+K7hKVo3j8O0lTtyo7o9txtglDhkB1TNtsW75yY5RvOdd
iUMWLOfRQ599TCJWnaZDRoyBzgUTB0n12XDCFwq+J+ZJx/LC7pfuv9OJLQfZvWzGc+9GDzom+gHd
OggevI5dmA8r20LmjBa4Okbnf/91qiW4tbnbD32TntHBOympDCL3AW1i4LSymBoPy1Oq/bchrDTb
uPZruOUIsbfdyCx/TmIUYAj3122N92rosXTAc71CmF52csDtwAOzBVjJDtaFjOWZTBtBj7NKZQu7
EQrgyxSrV103H6ToGlvW1+L474uTBx2QmW3eEhKTVCfCRd56luw7OJiBA24EjlYfxGHNGMM1SZB2
KB3iqN3VufVCatxN5Bl5cdA4EHlwYwX0T/eVX2ICzneMoaMNvv4EF0rW7vFV7tjysif3GBOOBp/S
YjdvSZzKoC6TGDD4aV40j/9iJ+Pmq0AdS68Qo6o0z11ovvUKdDBBVE/a6eDxTpgPqMVo5sr4ZSjy
EiFR84HC9QOGAJlYKKeP1mBtExa/fsX6S4qsDYRoNzQBz6wPGfUKzG+MMzGT4mmLJLZ/D/u3xlpU
VJyPFf60alwmfBRpskvHx1yjqa1aZkea1UygKzw7MrX+ilTvMLjV96qFuWgW+TF1s+Lgi+zLJmVG
avqUWpAmmZjGmRbkrU9ptqdoevHkbZAVez9VEWJPKvKPdJxZzET1O9p6pDWDTa8PG3c0kbuplKjC
WzRjnmPXyfcQ2F6B4KJ0bxmLOtTmts7eyXOnf88gZzRxF2+oqKEZWzRoUfjM+qSDBu1u69b6KHSL
lbYEDzG5WM9mlr6saGrihiHJ+jXF/ej/LSlpd3EIXg3UZb42upxcJgM0cW0MeJkrPKoDodLxaMIV
lfV3P5tYSJV8psmuN75VnN3W+g0L39nbKZsRzQS2mukH856EENs4hK64hK71bUEMvSUXbmPsyFz4
+1EOwHjiFCD7HN+N8ZKuiiGbj3n5FGrjqQRg6XizuRsizrYaA3KISXz0pLfPi1pseYthvSSUH3oc
sLN1O0hxajOT7oeJheePB8JrmS6dCYNz8iCfWsp7HLiqFsP5bTD8zxhbXVRvwZLRbWbQKiNkrUFa
4xLxNCp/3G1FN34kqmdmW7mXjiFBP07Ej+byrhsZY2Eo7Vd+Cjhsqo1TxXITgUN486NSC+o4SVYm
PO0XiJwQql915hL0UjF3HZfWuUs8IBZl+OguZn2JhnBg37RcempaO+HNEO5wF7vyOwlzZInVlxzI
+0J1/KbmY72MPmQfKPUxhd/kTAGRKjDnbyOCVn9nWDjWC8t8mHl1sU8GRsCjFOvJibm4HnPTnO8G
zCOqunkq8IX0iEDAgdzwWJohdR4DBJdAdYjse0aASdCrQivjKq6gipBczaiijUr0tM1wQq+zn1Jx
8weXv41pR6iJAf6OQ/yiGDRfi4FKofqHA7cbKsW+e4OVLDZ1xypc+IU69C2TIi2A1HLo+xPJhgPy
GCOMyNRWlCeJR5sLKAw0bpZ8C7v7bRM9rQZBUwFf5eS5SXhY+uFSm+5e6R460UjWHIDS9UR4zVHq
7I+hGvpm4xXNJ4QhnpMY++BjjygM0qYPVEPQVj3khO5YNvudil/CY+0B+y4If4qMZe7UMl7sOXBt
bjm8xQ0HUtLw2FbiRfhkvBHytvEGnNc1e6iN7nDpsYSHDWwAp5sZLXe4dJJ2DQzMXieiYTRT73AW
gq1g730ri/hwXhvDZ3eRmuMGQvUUDEOythdcDBFd+rr12aO4iMap9PQdHrPhaDf0Oa0lWT4wEZyx
oPMATS8eeYts9iy2/YUQMF0a63qbmguye9mIEoyY0jO0Y8cEBEcznxifL+lUACON39byAlvd0Ldl
KlkAMGkNcQIztH20O0X33RsUWICC4T7Hx3yo6Wp5XCi/gWBt/pqu1299UtM7Rb9sNLcA20ZjSjPQ
5YgdWtHPKY6PlKEfg2X/pLcxSZOSQFHZGTHgArxCGiEyN2pAV+pTDeSqkmZfI8lktCHNlIgJqWHZ
uSkg2FAeJ0K3of9qDrXYX81WSFA52XOFMtcMzB69kfuyzKcXk4oIaN7o0cBCZayMS6jGgvOp/mO0
LY9lkLSelzEVxjMwm0+j5I53mSCv3LL6SaK8DdI4+hnM+J5klHXeMGSyMXNujBnjEnPHsoYczs1T
5gCDgR/LqAAw45lB1Tkxr7W4KU/bHchFVnMD8qnebsl4vg2DsoQh4e1LWXfqUnXxa0lDG1HZ5K1B
VltZMAYevI3bpHuzUf2lxb9Kg3ohdmRGUFbOm1ZPh4WCDfjCEu36sRIrzf7YMOW06pWRbY2m2QKk
G85dbugdGeIb6dZ/4yZcjlEIqiE1/SPnt8L8wNomW/QDJne5wZz1mPfA/JNFXw3fGlZ9151Ch2kS
xxSZb+VjqwAX0ElZm9Ypq9esuq/OmOUg6fI7gYjv7+26t7ayEweXN1cAgDIJWlhQ7q1r3efHqB5/
zNRbJbP3x7VH2KF6Jgsq/WUID7PeZT1RQnLJeWZdM2EHVoE+b+KA8/55d5v7sIiTbZ+5rJNqBnPZ
52RML1aP+YlTPYNla/xxwj69pjnV4QLICnGSsVn+zhhv7Kwb7yLs+akGzqNv++DEjDGs2Y0mGoUR
c4ePkU1g2JzAao/7Vg/bObfcrdUirUUxtVaxRT8ikOe5XbMbk8ikMcMu1pkYJT1H8Ob41bnqpgrV
LuW/j7GUfFfoSuhSAIDXf5wkfgbVRepdyEZAJcuRtrxGbcXWvbDP3BtEIlTU5kQD3Lds0Zb6JmIk
WoEGSb/54FkeGmyc/P7Fjs+OZWY9PcwhcY4WwkdmcQoJ4JhIeocl561KmCj4g3yeshAjdtPvle18
DV5unLpqME7//skBpsOBYIO6VXZ4QMpVa+o0a37KgOoFqv07oLU4Wgb7gkn1LGc1639Ey7gcAScd
vKR+dzpo+AQaJKj00+a8CKc+Z5Nf79NxuTO1YnXb06dksGLGmI+ETdFd5Y5qpTKlD1HHpgaW2B+y
DbIvo+J496V4ZDIAlW+MHMp5136C+n3lEZMcl2zqj9R623ThTYuzm5OSgnwCN4GYu5vuMUYwoZyC
vFfsE3r8Tj2KKhnW+g37YLs1KhEhtMzivVl6sOEzRjXV39BUPwvOqZOdyiuCjfg0G+DwHBxA7xSd
85bjSe8jmMzvsZoDb6qGZyfrHBRi6iePWb7WRXag8akP4cw6pHGRTlVPhXbMp+y2HSObaWMQ7kCW
CpEcr8bEBKGxMfwSR6OqiENwEWdLMqIydr7rwm7UkEmtPFQn72myGdwqqJyTIsRB9Y2xs83Z4gEH
ozREp9Zk8bdhVdfRLC5d5T74bI22EXn3mzH17mmlo5NWU3RKi8FaZQhwt2IpmsBrNWS3JCzuYwjU
9wkZILhsGWUhdnrCKf+f/ySWMkSCQ/pGOdkrY3CZ/Tt2u+5qCQUrXHdADLfzkP2yjmbaBrJkY5ua
CqWZ3WNsUg9Jz8TM3drlmqbuiJ4IhYjVo4iBSkP7hLJJlhazXethnIV+SXvauGFM/F2Y4JukEHfx
tUX3WKXqI+0BTowY6enIbODiskZe+ZMuto4CyYGgl8YMSZJTJeICzqffE87MPqWDoIFu5xqaHIfC
xnBOmMmuc/QMtF5VNxTPneJpOdtTHiCRTC+p13+V2VA9ExrxmfS12v3jAsTd36IFDR6nl5HQFXLY
CQfizZ9A3HeIgMBtdDhA1pEJCrtwzEfD4uVUnnyVDbHwPEcb2yKn3UmC1mNYS9Z2u03ZocMIFdHB
ztr8MkUiv3S+u+qQdK9Yo20mQzLdUeNALlb21Gcnp2eii8WsXMuKJUbaybXiUTf46QATU37gZ94b
VnxAU73KRuQPJNaAPqgvXe29CT95S1Na2IrraSoreDupDUxhvajtlGXTUeHFId2hlrt6gFwyEmue
TB/Mgtd1Y/MLztynMUcBsxhvU+V03yIDN+OOzbH0G2RHOKej3PjKQLNPtCNG01bb1py6/exPX+Wo
v1E81rQH8bm1onfTb0oQ1/54NPJbb+7oS6QGfTEmr91RGBKNjH0+6hANRvGENkupaJtEtrNlsBmV
1vsk4yyQM3BYNgx/WwQuMzrYlemlKHJGeVeq/8XeeSxHzqRX9IkwASSABLDQplDesWiKTXKD6KaB
90i4p9dBj0IjLaQI7bUYxu+mu8kCMj9z77kDyhkkvEGfXgRDG3pdHZHoh4ZRYlMTMps6Fd9nRr8W
BXO6kQ7NcUTYjRHOhxFlDmKfcc552GEEYQwjS6QtTwEsCyKVqewVn5eqKYRtK8XH027iLke27KzB
Qg2wy8yTDBj/DaO4BSDe+awsfO7x8BxGHM4KTBGzOSBbuyQMLlpcwmyexK3U0ocw9NbSpPNObZBY
oOHXqndeO5Udmr7TNhglw7BlLX2xIvVIOv0vF73muuHh8p5giYMo0mKGcqo5hU1/qixx/ttXopx7
HhcUnB49JYN5sQqFFcdifGYiWCFvxZ2KC/JKHNnk5jgRECM3b1hrgmKriTEwSsClRh091SWLZR2d
L0PPdUykRSnc36AIB1/raZwL9TqGyRuRa61z93K4byFq7mMrsz9OH28o7QnDoFhTWQepKGFypZEf
YRe8S6SSAqkVDKCr784LGFYxGZD2mPpmlr2ylAh3NcqJRPUaQ6757HmQAxN6PRV0J+wx9caFbsdR
q217gVLXXhbj5a8yZJuedDZytUYzN3DGvQ2rfUzdzPspUCTwSq0C2Ehk1xwOb33dq21pMx0qbBJY
EkudwIWRC2kgmJ67HQZH/DLeA0pVDqXa4A5Popnpl+0ioh3OSTFyYedjd/37xbEDPO+m+Up093/8
oxwAMsbg2UXlWToXIHTjyQtJBVv+Dnulc/n7V1Hs/cdfWR4aO8TIzHQmBvZ2VWI4S3DmrfO08JVw
nXPqBOY1s0KU5D3PpxTzNSfhdDuZEavw5W//9SWuu6sVi/DopTUo/lBN278edssF9aRwn28GBVDq
75ce9buTLShcyejLbmwgkcac3GzOdBnPOM9K75HbDeCACDSwmtuIq2fB9JpIepes1QRiBH2hdYEr
zAQw+fXXX99OIa1+lB8wd9VHL/oM5qi4IRvexASg2HHoXmZvrN4x3b/U8wQW869HRIPo0DvFNRZD
+yCFtf9/m9HLVH3/2/9sMzJ03Df/i89IxcX3fzMa/f0//NNppDn/kJahS5RmHl2g1M3/jMPEG/wP
3dH5F5YjPGlQNv7LaiT+IR0psCFZuuFiSPpXHqbzD8MzbaojE4sQniPz/+I0sqRn4ST6r04jGyGm
ZdvYnLFEsdsz+ff/xWmkmHZg2JCbRDcxGArvM7UGePfkUfkAUk325DO7l8ZlYKTdyimt9n3BqYOf
jqa0Nx+1KvSLLknPDJUYugTiKQT8soVD8pv0TdAddMOcjYh3sx9Ge2zLRhRcUfmG4CvAoZM/OWCK
Vy7owppgdHdM71g67hg3X8r+N356Ysrq9jAWGBWMxmKhSc0K2uNIumCER2MVq/KnF+FTiLLZyCyy
L5ROKiByb5C+y/o+Jak+ggEg0EiwgRxPRQ8XXcQBN0p1zycdSJTdPlTDyGJTNrtWIgV2c8R0NpLq
FduaZ+nWD5jdtcNgd69Z0jyabGNvUxdjvYzDcAeQCpjjczx5D3OTTmsN/aIosltUvxDw84NM7VjH
RriDu8Q0co64fkzxzEKehjmGHzv8kU6N5A4+2SWSgKDJLnNhY35YjfFhd0cr5Juew8hdY2jnWzYB
GgzRITRQT6og2LKoXnbfUDezpDuFuXid6gQdSRJkN1LKiV330n2gy7WFu+MoRuu3BT4BRCV5vc09
bwNAWvYXXHjLs+ShMYIZ5Z12K9x9aObNpTHHi+mkD/D5kCPVwJ9V4h4puHo085N0jqCagMP2KDPD
7It9GNMH7BWrPEr6fa5Zl9GhV4tsnZkNtvqisqdTlYYvhoi+GPPwcQW0TUZ/sGqXIlKvcTUQ54gE
WiWrlHaTSyYPaTIy45I6kYHk1f2Y0ZNdK1o7dEEMJDoMMtkIUTrpdoEW9esxK1/7wf6Asou+eGJG
ocPeLXWHZschEsk2EJfoxnmI20NNUNmzFi+lZUarVOnpDnlKv9IK482DdwNniNuuRdwJS5GB6xjq
3a1U2Z270jroE4rD0VI/pgfNOmhVdGFK6fANNibzMsgEPn6QdBO3LkR/KsJqDKp1UTImgS/rE7II
MWPSD3Ql4a5doq3dSEQvXUpiBgnxSACu+mD0zHAYMQUetD13QRi4RnFg3ZGtjcojIiQaMwCEVKBV
haCmdQysyGMNrywdmVJ2vOG3sKzCrRyreS/qhHI2u3kkC6zKtPKOeTzc4mkXGFJ81oDBEYZ8xkOe
898z2NaUvdPaAFsVgk/VBV8WiULLFJQoCbi7nh7y7je6OAjAZauUz/E46OV7ZDjwgW204QOqjpuh
e+vOICtnlPwRDZWedBakW7vCIUh0IdY5KP9MH9Yt8aErpw+v8JcqP1NayTYkPxgwHNKUstQTsBVy
r94QCrm2eS1ibXyN5gYethNgwpFMvVLzJQmreWu16M4Hjewc8SI85KzseE+4jS6Oh5BjgvsLplLz
E2omJgflDKJVuQmlHHkeByPC+qjnhMVYA2wBt2YnkTEnFmMLozL/rMD04B1nGFxG+DryUkcynvDn
UAPwxJJsKT70904o5ATofhAR6e9Oy0ILl1d8iCNyb6ZTzMZ95XY465j+PQ+VcXLUtarMe64nT012
DAjP9PPc5gfreOuy8s4O0p9155kcYfpwdzRx0XttHc05w3k9GA+M23nuxlBunOaz7UJmCHUWHtl+
HjFIsKEmLxvQMXLwcG5WZN19yXC45ZWnHUI228a4r5aFZxqC8ZFLfncYYW3QchRgCuX92mxBQ7Ot
AQykYdcJcWil4nfsEiEACb/1Oadvos0GlJjpMVUxfJKCmRzW1Q3ptrQKDZ8/GUA2ShJWqsNI+JNy
/bjoSR0cgT7nLIHSU2RPxnWsjJeub7+BH71y4ARr/pThIzM0X5vpBLx6/JrcmhWS02/+iAL/Q2ry
h02r5GwgPJot7WEcCGKgyD2gWmOE2/qj4nmdTIxP0nrxunyrDCRbMaC+FnUoEFcjt3p2u8nFkvM1
8aLDDEmnEDHaPzAtFlJ+fbJ4aHtvnbNVrxU/S6Yx19oOPxrJFUPPPBgm3rqFOQD14UFDb+CZ5jmf
6xtTobuuO1fVuVulxw8J5LtVKrxbpgigHAbxoJG+HOeccYxITKCXevBYL+4MtG+7dGLPQQuAWb++
TVP+gCr2o2MoQ9BO8AGy+h34Te474rUlJmfVStxTYX1nLbx2VHvXBtgJgagOjUgeK1IpYYNoOovP
7KSR9rmFWbQQyedbta7McfT58iUq7XusUB5x8O1janm2R+ke+mOwwjH9TQbGYegqyEHQtBQsX4UG
zleB9ystCWVv9fgJb8kOOu4qhaUAyz+tV8B2up2b4tvhXe9ieO6FfiiN8vfYlzuz59NLqOkppV+r
lmVxNSV+3N+MqMAsl5V4MaxkT8/6YpnynKt26/ROtBkm8YihhGkYG1RyteZ44wzOb6S+d5Z5016m
9k2f3RWxS91VU0bJYcYxUte3REcRR7o1si0LP5sX7DsTzAA4gNyaHoxZQQ712Mkz0yAMpZQbLeA1
LuMApmzcv5bR1IJXrN8SFzBDXYl7aRYfQynUWbiEbTZ5sW0F8SkMATpIDArUUaA/VUt+VA4InIOc
UVBwTrzf2mz/IBolIHcxC5Qye9MzWsvKyVgFyc9sQgTFMO8bBuonUqA92Ez2Xqof9r1nAA3dBRYQ
GKa14WawgFpMBvNLorHIVDHQ5YBTGtMNco5uBYjkNW66c13zbxle/EooRtfN4rDQRwoORzwQBq4j
4iifA20y947pvqawfL00w6ZlKHtrpMpYD1VzKEeH462rHzuZ3SVQ5b2nu3cgR7+XaIbes11/tofq
EergzkJ/BsXe0XauekAleWnxJuGIYKU+G2lwHD2sEqFKt4imoY+yLxobd1dFZ7voX7viy3WhZaFx
/9FTqBbpyJGK0zpU4VM7gPSXaOLGYJ22eLJiV37WwQdSLm1DrB1lFaPDrTMojsvGOnd/ao3Rk6jP
oD2CHcygnZU4viGLt8AucFlpbkGNlFPYEO7gznm2K2cDvWEMxsRh7Gd5NwtdHTG4M9FxLb6UdLaO
4J1zLJpdvHfcYwLk1Mc1UbOHDhXJi1a97QrG5US/dJGb3AqivucuifmoJl7CWH1YxsUrK+vVDS3k
CqI4hTNMZCnjHRE8eF74jbBzjRzdfW/sDTcWK4lAvTb14En93dAa/T7JWARjZSx3U1u+m7Xs1m0o
0jVGHXRfJaJzEWuXWbBXsJqfSnrf3pTz5+9urm3227FhftWMBms5ZxlrSsSg1n4Azoe6xp34OJJN
J0I4KzYRb277rYklpLh/7Ju0WXcq9I6WB6oudtauFfMgOzoaAYNPDj3kY/idcvVuGH9A6J09m2Kk
Oso6BD0qy2nlmcO3YvDn44c5Nxbyfx3K4wHB4EfE9sTvKpK3NCslIwICn+os5yEo8JYQwMsSPn3S
VXOw4uTIGIbWnXwPFu3M5uyMwVcrt43D4K4QTrPDyrC1LKa4gNZMX9odWgit/iEt7kvkjvLhiWyK
xL7YxOz5UQOdUdpAnruC9X9hMYUMz9MyekHwErm7NglQPNZd4xsIX3s2TyvCjLgK2O9Iu/pOmyXv
uUUz6CVlviKzmE+ju8MZOc8e0nBDPjqt9hzmKM0+ISM/KOu9GudDoedsimY6NHdJGtGD79yG6100
CGg83Xrmuv9xmDk2gb01A3CYCqx3Br5pp0YgOKk9kjWv6RgQozcbwceqbbpyH2ot9YnN78as4CvN
GRfDwFqx+dZpNgT3NSoOVJzD46QpfgzokbPRO6HYtY+IuinSHW2D5ughydXN7DUkzcCESM0Bcm/h
XVGhdrfBrrR1ylkrv2oWHvNyFRs900pa4t8Wu5a4bT8bDx5pDceRKABm+jijeKkHgj1WAaqqtIeX
hJksRSaXXFW8r8gwxpWE30uW/mhBTJ39WkNB5emfKnLOc0ZEhR28lYskom28vWh5lKqeX7aZHoau
mbkaGARilYczw91RdRqESPs69gT7EFXU8qprL63LTyqp2EVng+mtAvsdmQKlVD48NUZx7ZzqnQTY
0CKhR4sG2s1rKQammaik7R9RI7tk7waCNPxNh/c7CV7YmrOmJFpsoBgOCnHi8TwatTzaQMwPoZAf
HbmE40wcfe0YJmqL4mWwkl/KLJ+61Ll51WCuPTzypdfwc2pS34Jb5OeBaDcjML/B0aExIv2enOwQ
52yhciRIVA0dVPX5xyjZtOvxnoIHgf0YkMoA5L+Rr2PRncYoLBGcTYvqlMyQ/nu0X6fyzwhZd2Hq
X4msxJ073ycCBQYL4bXJ1IxbQ2q0gOnbmCtABsTiwZOu0f/Ve9aYOkIeilVKzDltmZZWf2h5BcrX
+VQGULkDKi+Hjetq2oy1+d2lUL5Tx0A3xHZNYkrl4diH8tMJ80O5nOwReoYegtCwBLYYL6NNPxom
1V3gA/Uib2K8mO0rm3Za70waDMVWIIq3nplZFCooDqCV61p5AFrPBw2x29FqtuzpS1yIX1ox+4ys
15G+uMX78LflohiIgsfGKJ+B/z8ADLiLUoFXsPI3hSrCd6z+Ve8FpIvw0Hv9OwjI7JNS53e9QEY4
99clj/gW1RjtjEk8HSCzV9if8jo64TMsrfgUoYbG5dXPq2B0fsSAb0Kkh2AmfF2yOfP5HxpFO/MO
UxR8EmAY+4nJyUMmHsp8sfY87QHaBpFyjrimGQCOAK05Eq+M30Ni0R/hf5Qld0XskXMP5QCL15IC
XznWCtAUV1RSbxlwVD69abiZQtwGC+OVKEaGmnWf7dyqGc9u0BzjYCDPKhP6xnTD+URg7trOogKh
LveGSjzoNE5A92ozgi2q3jxqDt5lEkFXrRlLtD8of5GA2Cm3Ndvqj9ip9hLJ40r3xo1wSmSmFNHg
ZBgbxd1jiGznZKCqJldnb2SVvRHVAGZcm38GKGuHwsK2aeL/JWZBrJXd08HGPDh6vbOo9A9Euq49
qrCS+Ru3bcEDGvFuq0e36J5qBIbcutEBA9Fd9wxcb/jmfZAol76uP6WHtU8yld5Ydjiu5MQVxFaf
oJOk/0X6+gpk66Xpi3PvLBonlE012bUY6khZMFoDqQSMBOLnNeb1VrGXsfME1CZjxtXziukVPUh1
MFMu7UB6D6EG1tzIi0eCouol4vArbXJu94HGJh1wiKvefQxRurat8dAIEg7L6Zn7YCujiTWPUWPh
FgHhJGa8N4UN+rymSMrjddnU00bq7xgonhoXlLziNWIvOJFIMXGSqeBs2FIedST+ediyxLZYVvWo
DjFAG4eieNR1w7k2ic0gbEgD2q30gbgLxEZlY+9GEGrTu4sT4AFpoiW54cl2/3AsSlSdXR7eyYiY
HJi4Y2GoN+wLqGnD6OpGn0IdMoc1GqaIQ84NTD6N/jKqeRFCKGpVJ8i3oeKyRFpkJWOGdhZV+xyP
DgYHDe8H+zkWqunKiaBH4hL8PTRx+TainNbXFdu1G2oYuv+O/AbQEYzCFM1yfVB5RHxeJhN+VVCR
ZRBr27rG/RjXwx/W02tLG1jBtjNKhOBH5Uv4K++73+jaU130+1Gx/KoW9rMGZ85iG2tlPqcrOSyL
PTCYipeY54aUxpK0ulb/wI2xTwD3IlKHuyQ+Z/JhcoVUpcw2MMPLvWYWv4zm0rbVbfJnCLzMxRiP
ptN9roMfDJ7WputRx6zNcAiwKAPrxei0yyIj2Tp8vz69wxlkAgA1LUFSZD06vfmGC32jTb2LNc95
I+eFpS7LI8uF42E0/Pjr7t5LfFhoVmBmIBYW2gPETXZ1FBKrPHFzJhb9c5MyJ8Ua4EvGnmt71E96
M7COqotd5gKRQruQrYyufJla5e2s3MtXnmP3684xnhGLUWVNxXcguj9tQ5pmU0XvdDy+JLCwndpo
Uyw02g4prmDO6DchrdqIkRULCgJDE5buEFlbKx+uVh3vXbsPluSGwXcm3lfHTfRtkgawjbrxBavz
T95D20xxTwRF8i1M+gIUu51iImRQzUitwgleME9KLPA6nkkaH/ztwrqEZoEXzViSZULvpMsZ3Qja
iJ2Zz3taiz8YHm9Jmm/LYj2iO9xH1quDb9yPUDk6DQRHqY4ytfA7gbv2oRurtVMDJlSWvat6DKGz
dWMgjZJOFE+2rg5pTlpbYgZEizBzVBbOpYYrJ13iM4braC8me/EMC2NvTb2O3C191wSGAbvFDmwV
IfF1zx576z1M73qjEQxo8EADn/ZnhbM+U+y/LYi4OmdzFH/O1jxse5BSWkleEQUGdMQ2yN/7CbMG
EV8Uxt2p9jpedBR2iJSMWwPTnFS/L1F4T73d0W4kGbyfLAHcRa3fNEiX7LQ65Yh0Gt6htUcOHJit
FgZOegt1JTYLvtLvWwZaAetFzI3rRvSgdHCqm6m9RIZlG6Lhh9OMyjID2c/QGI/4lFE3IKUemaS2
Rw++4aqPFJvNWK+xNCZfafdlxoA00B/CKGl7shfGp4Tw3TNJUAeoCoxbJaE60eD8ZGFb3wZX421f
II4R43MqHqde5XZ6CsHbZoqkapLT3zCbgBg3hto3IBUpMAFy7Dm904RM9ih0jmae9oDUS89d0/oU
FO4tcR/J4F45mBaGLo4GlbYWzSxfTNvBR2GPgS/qVE5rrhOx7chLX8akty73ThTYHtCgrFmHoSBp
VENimAYmYkNqu1AO+YbpD16/XjsI9ub8tLm1TVJN+yxDa6vi4FwnjCjm7jbWclvHFd1Snl6CFKVg
1t/sybt58sUewFlZSF4TEk52zdzdsz6+hMqA0SnddTBi7J2FuYOrb5BmDQJ4E3nQHV1txrOM6dDN
zIvtuk8i0tzdiInV72X7oozpRKwpzk+LWk1B2IXkru2AdALVBh3lMOHWhfuozV/ciUeidzJ/tItj
o4TGj5miQYsfAO1Cs/VCNDJFgla6fkIZsjfC6iPnZWEW9jDUaNHISmX43hYsqu/WQLvSWBNYCHYW
hYkIuqr8njfbK+c/uTF2qwXrUmhyHVIWbWxhA6oTh3CsfloNzZ9yTEzPnEWlh9yWQhbYMNqGNd0B
xR4ivHOSb8cKdc5A0EmPQ+Q8dNN7EDzbIgBtXfbJGurBT+qVv72CWXVtLsgkgzsggSxKlUye2a86
BJ45DrgOYkTmDBdrBpNYYLyLF3CRjGVF4HJKEheCgVUKCW2bToglpFFbDy6MEkI22LLA1lkPsrhA
cw79GnHCig6ZgJrsydKbR7mEyS+YLtVpuBK5lsIu5IyoZ/ZRIxO9KiApSjt79mPfiQp1PawGxuNm
X108PZZIoeDHmvVLoERzdLGIyYQstMrSIzy2RMyMVGb9SDpPh6vn1KTufK57suMyD2Crm/4KxHQ1
DNBXjOdTPXbumVpqov4QjWj0yrbF9Z4WFzPrsK5NnKLOL6y2nf6EHyVcS1GAiiBwsQzBZSpEmAiX
uC1RXQR4qEct/ZXXCdn23OJmiplM1ETq5jMsdmlcZ2OnHHtBDTx7JhMPgCNwoLqrGceA1sbgFgHr
ThvkVz1JYrlTsTqrBrVp83mLL5u5n/PCxIvUnO7BcMuNmXZslZgMhjok8BLUB0V397vq5D7bRN2I
y0yRxYR5G/1n6xxUyKCsV+z/Kuo8q9l3MY7fTnlvwkbXOiXXmq2eMZlQHODs6GwcuLwA6hwnIqhW
Wdk9agWlVtLMr2TVcuw+uJZ8hlb2kwXtZ6nM+NIZ9kdZ0/aR47C3AhDIpTbsWbxutF4s0QkEv7B2
uHZsZIFExK/SeC267jNO6vng6vJ9dDhTWpqPDSkK+4BDoKUj3oSzA33L1HzTJhDKlSF5MO633oI1
moAW4adTD0Bnn7wscX2EoE+69VrMCccQnCTiJJmKVDD+yDLMT4zEkIBO2UvjlJfRm3+xIWXXMUbP
oUxY1AzgIkaYTzbuwwAXD092TmuZfQiN/VThXXWCuq2QGZ83dk9uBKjOtL9H3KBTzWvKiHWJ6vYF
8W2wq1R+RDjXA4lMeUqEzv4UjJqPWwAnRrykYTp8Loi4j6ZJ2KfWCmILghjU98qqh6/ZGTYellfi
kvjRi7JjfM1WweS1X/c10V5kNXRMwcntTYML8Stw1xq4m6SkkiYsgZhF70GFRMYNIn2XWOm3bS5p
Rm78TMbddOibAq4ctCrieEnS1rTnshq3QPjx5uDGqQEHFVpOpVr0l8K5iGr6Q6h65S8Efd4Xwfsy
mh85Cjsthf9s5idKleeiiuI9l5Jcqcj7Ku3gaMSSdFJGb6wx0KQH5mbsxQfkC/izUXgzGCVHhBTh
uQRawuLRqOcT/iKGGT1y/KTIr3Gjn6Iuxn55LQgN6ytIEAZ7Byxrt0xng8ZcVdfjo8tMBlfrvecI
60h8pNuOOWELiQlt09nja+MwZCIQZz3khLXLdDgMFcC7YA3CbC8JGrw2mf6nGjBpW3H40mngPPj4
X4Ow+yVeNNPQN8GSOK9NZ9tGFi8LBEQ9j/qcIu2R9VNblfchZ+9mi+HoJM4TM3DLH+sUn6s1AJ0K
TAJi/HoYv8ly+wPNmLv+1NfzHwccTWLEKVgUfa3h0yCi8Q0BZAwZEalngP+J5TNuM3w6feSL3K6h
tfW7sVFfc1leEvg2rUO4Rp8Q+AMAqYYbCJesp5mMnJ0TSmr/QN6KdkrAMdgPbOwp6hhJObDSo9uo
ScGmDY9FlfZ/MN6AbGXehUd8XFXeNdRtLJCgQ7d4KT9m2TwvU/huGKpr3SfXYnRPGgFNpQOvlaK+
YhQabZOSmlFmXA5dwP3fEBanhKCx/YkHwW9s8MHYI/NF6R0INXRW9EtY1iULMRiMq0yrnpIWEilN
0HMjyb+dHNbZKmILJCUojHw6uXqJX4zHVwXcXqgo+6HeE6wzbltMi+s4waDieSHVZhmxqC12bs+v
lbsKyqJ3SxMLqhM5WF39pVARItJ+6eLsRrGj+2MqPwxJBpvbNMfAckkMsnmq+/Ddyo2jXpa/YKlm
tFipzQjNQMQepHdzVot0n+lUw65buv3rLDxa5+ZHh8rnF271ZIBizwwbGJfy/tAQ7BFRvZOlADFI
p8dwik+xOJIsCHFwwTR09329b2ryOhCmvHoei8BZ6F848aFbDMaRldt1LihYdaWBUyvwDVRuTCNN
+YbZTJxB3L7Lujx1Cix+S57vLlnah8TVxtVIKkEl7T9NhqrRdKIzIymdz4T3VKPDGc1NTbWE9R/4
vyxsXy/r7DibxZZ2J+yNYy0RtubVon3j5p6mMt1zpNz7IaJz69KvaiY/KMia5gTB5zeDcAQAjDst
wEf4iZ6IIvkMEuCQVcpzEUeIefpKIYkoUjK0vrFEPo+ZLLeD8s5jRQOUif4wsY+x+aGtHSN65BVH
t4hhqUt4DSUYyGI0adThiipWSysBjhK4EMMTdD4j9UWkfSciX6yJ7yVcdxotqg8oYsegL2PqiW7r
hJ7yibjGzEHtnXojU1Tdj1LGJr2ufllxdraH7MIC+U8qcZGHIA57AlWZvnX1Wnfsa9vH835G1tEK
OnPc6UT/kEVkzeQ/lieOLn5Z0fxhdE3YWpLfpd58BVZ/x3U44PwRMcrm6aey8dxjNu9G8lOn+Udv
zW47l5hma+LIR/mr1ntWx6V7GLJh0ede3NluNgIxHcd4GG+QGR4H0kZB0Cd5jrTD5IIRhB3afaGT
droAXMgg2Xuj47eitP2xNbZiSQYLhNeux5IGx5FD+xp3Lbt2mX5oyfgWWtr8acPDG3Tv0VEJkXJN
dGCJvsud0dg6Dk/ZYIzEHJByjMKY+wRc0tA2p8420/WUYDjy/sIW0nbe5ywWdwEAfr8LGcWHlRES
kElTb9fMI2OcleTn7GZb8K2HXXtIwnHrhdkfL2lY9NOQIwhgwdzUHYRgBdCt585ANK0rqzoT42IB
wISVm+ff0Mz4eZq54bPHAUtRIOElieyF8TG8R6yPk1m+QuEie8orv4p0uLs1I59G0n9y1znOtRUZ
rWVJeTV19B/w19x9A6orzqHceN09LZZNR71qPLr6unQguN28gV1sFdt3Ix1/l/GiTJOrigwAtlD9
s2FHG5bMuxAR0mAFRElU9deohxej7Ay0+PY66rwzrsrlG5IDFfHI8+FqPlTHU0gQjhubBUlicb4p
p3hf2CGY1TjzM1dj4O3YRy7hty7wnCtZPj01q1ftCqBso+YxjolmDY6APh7/SV8lQGLHJOFhriD6
oJ7QWSji1iMAUCKEYLDFgPCUBh92+gO3Rp5SUzRMlykQib3Y9foU7gJXPU5D+TEQ/7EOIhkChDQ3
sH3zy4RP2k8Io55U0UI6YHxXwYc7N0P3xWi02POdPObu/BhJ4i4RZ7DDaZpmZUydQEJSfSmmgch9
FdrV0IoP+sDIajAhB1xs3WadOQEtTtvkDeHUAfs9yrL5Ftry2eladF0KwZHMkYSD5iH9O+C+D2yM
a4BQ7AYFtmACUnGwrSoUuztHNA8BFoZVedeyZN6OKkKpHCHmmgPjlFgOp3fILJMHm2zwgZMrNzbE
hu8tUb/butm8FBCWjTZ6KxMVgORAYuR0pr2cSzezRuM+U62y884JLlixiMZENaT3yZ3vFVyDrSHi
r3FM5B4HwkuE+GsTaDnm5oXWXU1WxWnnuCtiryHPsnfKzfAPLg7tojvh+1i5vP9mfetM75IhbPIn
gjB2UZhcW/ooUsB466EysLI4j8zZ9g5DaTQk9Y3sJUxEmXxsEO+CucVE2NgPU9DuDNU0ByfoznYP
mzKEjLUfQvNrznDsBhOsa6v1XjVQDg6XMi1YFu7TuWvvHKl7QvmUO/tJyn+ryfnYhiFoJBy8giy3
bai356Y3dHo3Uk0xoIm+yzcFWvmqKsPDjA97y3C6qUBOdHGBDIBPa2uL8MXCQHA0DL3cENHwIvjU
B2+Otm3rtasuJ9iS5tkXdlSD2GnhzteUPYyG2rL4ChgzYc+609mRpaslrwOaNBRaMQKcmntWbROY
XmvAEvpWZ5pDHdbzRvRvRcIZkg/EzhYF4WNZblZ7rAo7fQ7uOmnno2OSjOU0xLvU1e8yt95kxgh4
LB8zQ7d3U2TvkIQUG3poxKpqeo3liPYAk8G2aruzJVivaK7+Vppqfghm+TxP5abulz2CxR0bG4F+
dHF0BHK6jgaJdKDrue6hlMRJxKRAN6WfZG8jZgyfPftLNSSA2qkNaH8o6Rtfnw0Cj2Oitu30RXfc
z0hv7ppe8s9Us8lEfJ/Q4u2yvKFYEQxpWi08QvZC1Y7Dc6qfAkhM8+CchhrsUQXn0KwRdnkNCTX2
THXWLjuE6ME1Z0x9LP5lxSvv8enh8gZgE+esRIu96cQsg0BoMrlDz8o1o1v9sZqqF2V/Qa0dIC1g
MiYAS+B9gIDaahaAwwSyIN7LVTtE6J7MrTYxow+D9mlCgOZnUX0rgDmFyfiAdYBfNIQk13UU35EX
nCFPwgDVo11VO2KrKk6hqVB7G64JMqJxX4f2XdVEPgJotvqeXWmcIw4LSAVVBvvjZtBDtlHBhinq
Wk71VSwXNEMophBRvDMXtCIZ0yurqpqTi7rJn7ntkdB36hRLoU5UzW9Wq+MlpnBhLQ4pCkXb6e+X
orVaeKV9VmKvxlJB0OXocGat/v7l3y84gOS+tvroossH89/ZO5PluJksS79KWe6RhtmBRW1iHsng
THEDE0USgGN2wDE9W+3qxfqDrMyyetNtta9F0lLSL0oiI+DX7znnO1khT3B/Xo15VHszRloUmcUw
244wbR11HYz+SzmA7kC0IOktbFWXMGkXDzs7jn9x2sPfSRf6gJv8CUPlbqO2+RwKy3iEReV3vnso
Kp5sdBQIVp1xtpWu2nkDc2pB2cn9wEG6LVqbIj2b+TlR7NutkauF9Z765LeTOYlASYwbG0fiNsmy
twSDiylDzKxm9D4HT5Jk7KmP4oc5m5c4IuUsFEYDmvuKdPNLT7TSmkELvAWPEuatt9HTdKUDsx4L
H+uGyv8o04GJgDE7CSZ5gAX5NPLwPsRYwnQkWWMpXFIlXqANpdl67RbpC1LbBqCetYko3MFp7f6K
W/OnXzQpww541GA6ojCzxh/3iH/xHeDwNna739HgnAmR5SziAlLI2pypwESPH/BMAMlcAWFRuG3f
kL24aw/mZy+xWtr6KoXt4glPvvhaTrFBJYM7HXGE1S716F6rePmr8bUfx/ta4nJdNBokkvh7oDmt
n60eh9qE/RZlYcWZLzZJbNEEV4kLjb2AGLFqlDNV1BYNhOyAqrPWOJ9xrK+hIr5rdO7NOMbvema/
sIBznRDxgG9EQOvLWgYJj1rDY58YcpLwBxGLy+7AOfiswmtsDbG/Gqj7MmvAqHxic+D9JiuDzX/v
dJe5I9wNkbas2UYXCWw4INw/9NWv7bl9KmjFXPsaA6OoCDwn7oARPHc2bWVh7bMMsEB9cGy9j97w
+ruq/0obXdzNIozOqSMuVqWxTYTwopqdExTeHUnqQ+BX8GUz3lb5lNLv2KOXmdwHt6jB83aOMLRE
c/tG/efShaPKqxHXu3wO52Msgm4V6ZR2S5hRUJdBngfQ8Z2OmXR0iF/nsLYhW9Fk1QvjFODgbySZ
XNlKaz1xkVO1G97lKIP0bgQfleLUy4H54W6rPgvbPS10cxfTDsYbn+XXZFDTl55S6V9Isb85A92u
nnyDEHiNFtBDOuijHuI7hLGA4CM7A4UPUpXeacyDX1A2d14kLpB/w40h9D1P5EOiomdVVA5/MQzM
1fyHHttthe0MNH/0MeX9Bxm5Uzv625ldhHISWCZJ6GHP0ScgOuVKWbxZ2FncI2N/lY54ipuvhkfa
JrL2hOPrWb7Yc/GWjAvI06sfC6UeLAhn68Qo7kl5Rwj0+gdGDdZEre7zyvqxuJ4BUOT5OHr2vRJ1
dYzsGXcs5j70lS/88NnBmcqnUhl6M2h3i9qiHmcqoJJ8Vlta8LZqMgHzpIcJVcUzzAh0m9i1fg8+
Ja14+mTteZyt6daMZzdMH3LtQFb3WVplUfytkvGj8uHrmUic3lhYewfyNfySudnbCZ1/yJ0nUwXJ
ifHgcVbldNHuphsEU4QSnOHECkIwRVaW0FoAYGeN4gQnDCEx45Y8KP9A5eE3CeFHzHvFnlBXvK+H
cGS/FuQ7N8ZVnpDByKPGgv6SXK1CPws3qV9LExLX3Ab4EhwTO/DsmyerZpvL+1Q+Fkl9MON5OCCD
gM1PzOiW+/6VFo1dM9/ZjZ2uzc47mPSe7dpZDycwxtWq62FaGTxCoHkSAp+7QzildzZeuL2peefY
3RWpRpwK9KPZhdWV+pS4qzmgMZ27R9TF1Cws68mRgOA2o2JuN8Uk93ExnDwW/Z8Bhpys194vyrHk
jne2dywmUT11SrzUBpUqyfCMAGk/FJXe0BaVrWOJyAiBzHm0ZaU2liWt3d8fpukGzJ5xGfGZEIIX
+WtqA3VOBl5dsoq9k+u20Ip4BR1Ss+drUOPu8cZZb6ngHfdDGnmvbLESaDhNtE0KcSEwu3E8drFz
xLetKQsLhxCWzTh4dciYXcOcxve053AIp60xY+vJZb3rbd5uXVnfbNybR7OeshMGcXbNicD/lup7
LvwUejeIWKDDocd5ZfeAAJxvi8AonyZK3liBNTFnkmTfOjm/Qbqu8UH+lOBZbt0c3yi0xfLIBfNx
WA9zHl20rskWd1TJpE6NJSu3n7y0BkMoPe85jsjfmm72opw8eh7ZtLQR8k3MjLabx1DuwY4mmPkG
72EIOnzHYQd+0N3DYT879PmeRQ8iSuUwYg1tfjfxVD3hgOAsp8kb2J+XbUTV3jJ8jncNYPI+qZLn
wYpYwCuKqXNR4bKEjb+DjVQscZzu0QtgdznevizS/qVnNldmSIgxuhZ+3l/jsqsINRFHMMf+ZpYw
iE2c7FZWqjV/Ob67ve3DAmgeQj1MuChB+aeDQdld3xIJqYEJy3b4StB7zzGEh9q+znMubvWQowpL
F/xBWd4J3gMHPepiQ6c4c13qjNuwTv2Dwe9BzZCmt9YhmQVsvu7RWrpMza5l8PHmncWFfFvModik
pDzTKX8Jq7QGf+8j5E5efNau/QVsKSYr4H6TBI329sz+q8HZQ4WD3T6oDtKl6Z96vzwCHJNHXiLm
pnTBPyIs4lB34M3FDW43ofknWB0ZSRVRX5rAYj9XBJuwi3fdjhBJSMNCoq5LEDJS1RNbTkFryr3Z
0YGlHTTCooppiFkaWrMEyrVbmviIcqp8SN8HR5l+SVU+C8z1GTqxTOqndNHJTJ/khewXNonJ4gR/
8nusAQIkpKliuKmMabTLodpUV8rlaHNMmfFg8nDbF+VLXZGAyI1mg66rYC237M8b2FYRIdj1GI7u
3dDGAi4y50s8tr855Mxd3PTsgTC9bVLH+Ar4RNjTnGUr39OZi6nVFzQ61qF98CyMc6X2rGM3Ohvo
POUTUCYqGUO0/lIFBrRiEw9T2vrQAoinmMkwPdlUznUENz6acvAW2X1Xm7re2cvggY+ggEiazez4
SoI5TfsKJm28Lxgn7mm/fZ/Y21S1P76ZqhEnlqa8jGybQPXgGGxGZ4xfGctKjm0cRra+k8J6zipa
lmm2CBEzW/fOSsdxa+jsqqs4At9UPE9IV/s45ujlzy+3E6912uUL4xQrx6ERQrMfHVI2Am4S7iwr
yFeDL7Mn1kbzIWVnspZR8OXZonsupPEH0dL9M3Aw4hALX3XBdg6RCfvwEL0V0r4BIgm/zDM+vZuk
wuURHieiK0lq06HHl5TNQ+wle26VEObzwNq7afOaCJvxcjAe0rilXXq5Mgaxk566IOs5iRh5cZg+
JjViC9eR7ChpWYPlC/HBTQQ4oLEB8sUEXSTWfDW85h6klW46fx+nXE/HtnkG/oalY3TS+8wWX43u
m6MIRsLVMm9vbYtP2DEo9QS9cprFCIWc5RJuN96YZXQmnh4c/BqkEq9o9s2DAAnr13TQNMxycl68
WWYNgLiPcZWULVUeVJIyi1XzgUse1y88ACq1AOJOAcgLDiw1LzCPlo2WZ463DmRZR1MqnFhI/cnk
5vvO5rrZBeP0Trn1++SjgHEjlbciBeSXJa9Jktw1Aa0Tfwtss4EsJlvacvbCrUQu2Q3AgJ+H8AYq
3D7ziMEXHEKPb4aOIgNySrtaD+IqhuFhjEsMp0QMt9Mc8w/OPf+SZc0vB7fWpk0pf3BGNkBad7d4
AGqipyRGLIuds12AJ+LeauFFvghgwlefXMZssQ0dDbostetE0BcyG0gKkcy45dmv5L43QEXbNdXQ
Rrk3SvPiFNVLXPdIEhqmdjp66aYzZXqmfdaJ8va+9Vjwom/N68rv4qtUP84IqgEqwjervqsXM6bY
ymKfX9MUBNwJVwwWNrOKISBypNjF1nAoYFADZzsrGODXcUpvr6qu2volSRZ64TRBB7DvjFY8kbx0
N6aZ+/RtuuuWQBJRRu+Fsoo/lYV4GbrYy8DzrP2Bt6ZJ1ILO2ZdoroDClxl2VsP9cKuRFwWY9E3Q
xUSbJlyocywe3HhchXPvbEnQWcfCsSAq45KvK8xXc28yyVLvA4l1bSq8zzSufwbdnK3s1Mcf5QZX
OYEPZMGNnJS57qaKlESH5mk9z8GRHmAAGp67GiAJrjs37zbFOOy0F/02aPncc60oqE0gL6jc1jjw
AIHvY1YPttuf0fIuCfXP3GtnjYMUcnA/qTsRRNF5dutDSTOZisRD6cf0DWdiU1shpMwJPmSxJ5Jy
dUM2ftwtp3WVgTLUTA3THDL3iMd4oFMnr35Bwv8QxEmp/VZIzc7VmhCkozE8ukDMN15kor8l9oX+
kwByR34tIaMhdtQsjnuPwcqFI7Ym2PrQ1KA9ZsJcnduszbC0Mc077/mQ/hhm8yml9dUXVbfyFndb
GcrnUKtfRgodPllC0kBxsYCZFhM34kQbmk/x3GUbm3iFExFMY9MSULlCTLLhLV8HI++YpfaOeTJr
4OA4r2M/vbtu+C6b8Un7/Ndj3RxnjIQEkpgM6Tw5lFEUkw2APkGiYbFVBnS4RfY7lKmXyUi7+6Rl
SJCJR3tp5r/TukZJkvag6sAOYwq+CxpzwVjjrW4uPkYU7Hgey9Xps6th6tcED7r2ufKD+9JBn6vr
S+kF1zRKrqHDfd6xuVZiCRY7xwDuDCaOjoaIcCR103iLbGzxwV1VYF+JOookdAeqJvgTppOz6VIq
ipzmkyUysY8guJ/G4ilv7JsanYde02+dOLeUJgiIdSyCq/beaTGzaj6P6+CaD2r3LQZ4kgA47ArC
Pma/HZqCmY+jfcy4TkZQm/EbezS+G4fQU9Oum/pdVQte90N8bsf2gwoihnbQdnx6w6ouJOR7my1W
zG5ITtQhu5ZzsBB3V5pogR3mG8+TIQ636r6VPBoJa28NCQR6OoaxydMCUvGmt+SdcA1SThPgRrvA
2JyTmJjhiTm29YWLoVv7/nyFPXNr6uwR9fE2DIrPYPzKaTJJsEHNKn4MwY8a6Ug0w+LF0n2VOhp3
mcZXk9s71dFIg5l0he+YoK/RO2eQaxGayYRYckUTa12wHBKD8cbxQedUc3H398NsmSOpNNI3VrUZ
POO5Vk5w9/dDm2CokwRyuXcRKtJQLQeWvjzcV6lVPLtlMm+UpYcz3B38WaHF17esKmrAAHGWEkZL
ZAyQ3bjCY+jD3dzOsLiwRRKb3vehfxtgn2yQo37SitucTqYD2C9MuX7iUR2DYo0Xzrq1/ngPlMoD
RsWPOLrGQ8QoQz+Z/Vuhb3AY1ttRpO46yqx9OEXNvjJQuSOjma8xqg1v4TKlmqU/g4aTxxnPAccj
kpGlWLz+/SG2pfLUkMEAdyNZI6DB83ptTiO2rCADiAIQKdw4YzRwveNDqBy+NAsXprYt5+ROUNsN
S3PE+JWxK4b4IfC7Z1FBgSta561deLd6+ZAMeUwp07jjHfxnnkDFwo+Cb9h+ewyix8YlgevUrOnR
QnxyiSKEH1c3cDCrZjo5aUhkZFFoDRCovtnAQd3HpfWEmTHdplHrskLnyw1o0Tb4TnieAYnNTumm
8yd/I/CFHn0JwgtdbO3YGcvpCuxe18C+bC3jmLVLpWr2B0WrufqzcB+nID88TUN3R1y6fqZjYcEP
1xlirEiXf7bLhodQQJhibBdFsuFb2nOJqr/KRhOpRmjA2ls/amXCLjTm53KikV22ACPNvMW2Pg1M
XbrZjy4hrhi3wmhm14wE3qYha7yWtbeiDot9hmkjR4hlmzT6Z6LCV3f+k0RAAIYmDHk9NtZlvFJn
mWw7Q72W1L810HCuZpzNaxs/cena9tPf7rdXBoLkqEvQYbRK7x2O8jujwmKbNHDDkJm8zn3nr35P
Vq71ataI+a7ASrCjUZBnfhof0oh4YTCc7Gl6qni2J64TgIKUX21I+te1YEqSkGLwMedTouRPgKh0
cOJvb0DEDeLhd1PzEHNJtpN/rL58kR3FgtBRHBZGnP2Y9MqvOo05bJkfxI2y8k1RY3Ecc9ypMJPW
hYn7Nu3in0GnV7LluE2qnW8kFkeYWWyMebp2SXziok5JF6w4NbAcoXaHZ0IBJ2oU1no5QvaBU9Rr
VJNoDGCy+hzCldeTPnCpUMMOTw/pJg9mMIISKGPS9j9Uhz5QmtZypOP4rK2yOsAIL0Yw/p4ZBwe7
9LkuRNPOr9tnXMYPVulaW4KRWmCXxrCDXCp/RTPek9r0SDB05jv1nOG2p5w3QHA2JATHahzuyvYm
ysJnku5+Kcrd1kkNNjBwSVqN7Pbx9OXnQWXvDTfwtRGSLIKYi+16ktDBGi7pjR+4V0jw5yxp6y1J
6ge7CZlvp4hSSIk2agpBnDzcpCAN1uhbnj9Yjw4cK4KrAHJhTY4psAvHjn5b8b3Qpt5GvnwkaPuU
U9fW1ec5Zv8h/Mjew6Esty6W4ZXJASbj4jFIISvUVEiUlahXVcepYRXTc9vHTJoRKDJUuBJiQVhv
iw5LUyIxrk60lBX1kO6tynq3VLxhId5tc3qFvBRTU28Bfmcce/eD6mgYJFu4qc0r9rTogiNHnDGv
qWrgql06MbhXezz4EwYuc2zGbVaDHJrZEUe8ulxqmhXVQ6jR4jp0OX6SHhZY3L4ZnRut+WWOzTrE
Koh5bQMJbuVYA7NXHNTrGbN1QEGyqiEzmFwHzMLJLrQuHeYBIXoGSqaWls0GO37x6WG7kSnupwgm
i9MowmzTBKpBfKpJhfu6IFhOLulFDLQ5LUV+PhONrWkvVemIloqq5aUE/yeF49Qogm2CpwSLCoZq
y/gutz7LmF3qykeOHYzLyCof3LvrFfTX4aTi+qVLcnhr9nuaqk+v7V5pfgQjsKAJRjjKe7Qvf1V5
v914JqWm5huwlRdkuXuTnH/VDS/2oC+h1e3tFl5aKT9rUZ/6wre2juNy35J3Es4bHXszSXlMLWQu
cNglPy4QPLonTp6z8DQa7yfqE9Cb0HrD/p0QXdovpVUNXitVE8smhb5qjP7eg4a8N6Aqroa0Q4lX
xtbBT62mxl2NC8+fNc9FkOq7CY5KI7fFRdLEG1W8HQd3kSSq4pFX0MJLvxuYxVamr8KVHZVUImj3
adDJox8RJek1l8mIizM1tFUNr7dCqpunNxh5DXJ1ZuF5BQ90MqXB7j/1AvKOLsbc9JrFHsz3anxP
RdavAwiG5pR9eoTMJuLgmtDEKs1KjIqRlX70BUmDLPmg/pa98FyKXbz41UQ8EQlIyn7ve/0Ta96z
kpZYB1HRY7RrcRLnwGOwxCUWCTazLsz9aAxvXL9CtvIDjSB5dC59QkZhG1yH1DI3/ej3m95gL4Sl
C6u1pnwj9q5ZQVPAYEIocUMR7fsiXts2QRdjpGXaiaafGuNsHvIF84qJJH/0ihuCyH+eoNYaw30u
fMGApN4mzeIOZJhYTRlPLhNntoFNcuMM/p+hZ3tXtdR7d7C6Sqs+OIl/hRbhrUyvvOdldLVbfFd2
eyPVfUMaWYlBUehjdWe/wJc6wmVNNHWTMdWsR+x2x1bzchYFglvYDceRpaecpm1TTgVdjDzW8yD/
mpr0zsnRWD17vgcJnSzbMCZrAwXe7yBxVMFSmzt+VbA/csZcNowOs4EHk6UZxDEihmla00xlan4f
ifHizqwZCL+xwdSsl4H1fVRKPkjHDVjr8GvwWT7iIH/w4FmyTJOreSjmoy2q12qsoxU6NMq7PX7X
/qPlD18COwH6H6OAL+GaA1FBDDgNfVZvKiwQJ7ob3oQlrwlCNxZrLM+CgY1evPYakcu1bf5Dyw9P
Pe+K3cj1bJ3RXrEFnO+AUHungXXrlxKTm0PYcqKOIOYSyqbqx3WM4qph7Fd8Tt8JUeFw9wKP/qCy
GfroxMxB+GzdVvZjH0Neourjxs7kNpDnglJr/ZF9e5wxtpHMt3J28Etco6xO8zy/B7jbnDaGZDBF
X0HxVJAIJoGy4PtMbAotnJpvkzVTw7x1DlyJu7q2CnTs+lRldokilZ7dLvbW7uQDuDe5fBW2ZRKY
RHnsAu/RoGFnAwTiJXb1vZzC1dyIz8RfmrFd18ZpzOwSUK5iaWc+ti22s8z2jp7QUJtIRgjTrjdt
a14NlpjrsJWQGgAhoc3g++CmRVlsEWwKauRX8SSvkz3SwBg0d5HgNpoX2Xcp49dZ4CaOG3WfDC3L
yWwXzQF7HlEX6wxMdD+1PDqrVxzwb1HuwMJyqndW5SWGuMVO1126afzsigwdvaQC2SAE77Nm3KnQ
uNlhX+/xldSHVKl7d66cg0zM/Ow0+gm3G8dLDd7CDQ+GIG1iWuzR+mrZtfm00Q7EsYn/XaLeAF5h
xhthVA/YdVm6E6QZY3pQMuOoVPVKYBR6AHUHQ5R+OHO/j+fwl2XwoCs6Fi1L9LMbuVck/UNEkNoz
rT9Wal4UVjqFpN9WD3UxHuVItZchLPCjHugtxzfFalvHGcHPir1WzNaiamxYrkSXiDze9zVmRdx7
ZxoJK2hSJhpPxdV83BUZa3aGdjA47o3ls43u7Ttbj6IWog1UBzz2M1BXixPd6TgaRbWVKBpbW0YL
83+HRfbgRT04fPkCMvIXLchEaojjG7zrotSs9yJhIBnrc5eIZy9Mviy+9dGyWTAsk/jX6G80adut
jbVROPNb6kW8SA08V+782lbBXd/dz0g0bP71bSpRDr3GYY6ohoNpoET2sr4u/2t78oiA1MDINAOn
tYQS0+cZD3M3ocmmxUFhte2vUqgnH6BNMoDkMZaxImbbUnH0wie3PrlxnoH8lKwFq3nN13U/QwVd
d759F2YkZkMb/JelDeRuzhrbumnvOmfyFdRxgHmtXgprKfB2+V7GRR0dgijbG3vXZW73LZIf88XC
xYvxZbjVJnhalrN0LvsHNUx8Gxh6aKS5TnXeYMamTnIone8xyR+4oYLWhalcpj3fIVqSt7FTHeB4
RCelblZBdUwGOWujq/Dsp8UNgMWlLbDnCGoCWWpzkFsk5CqnCV+SlDoKgF87AKmgISsSp9p66zpe
zF7d8bbI8jc4b59jlewlV0kqYJvhluMkNS0l1llofTY+uLOQao0tXgGGlCV6M73aLCw2msMCmpKe
b1U6SWq1anBZ3a1P8p8SnrFqRbo1q5ExwpwOk9tQQWq7vJkFR+0Q8EKIFbN/EMVUYlnyUIW63KFq
8YBgNeK7+Qs8+mvb0e3XhN0JIG1xIGS7zyLG4oXi58BQpv5go3Nw0sb05nekF5OE0jCpX6XHJmuU
7TOBmNsc2H9aZ9jHtBkUA2+UXAXfSuIL1dN72XjXacbM02nv0WOpu27b6BFrHzykedlKYGPj5r77
O7lJGq85Iyj2MFhyCik3aN5vFmRBFKwBzw+W8EKUxjUF/uHRuHNA9n0NgA8BAwgz+dvGoXSs6PKF
mG1E/RnDAcTQqd0B+GhRrPU7+xl9qqyUkcEGGs/9YKU9m8XXDB4roP2TKYOoYNb9yXLfhZFe771g
PNfBbZiHaT8uy2iYfPfNWO6miPmbxTRKE+YYBMBb4akLCPynbl6bbjPs3e5gWvaXAyln9b/czuf/
D7fTCv9f3M5t/vNdfn6nZfaf/9F23//4t++yQ08+fv37P6zld/4XwNP+J8zDIAwheFrC5fb+L4Bn
8E9Q1jb4TMcMXKIVwb/4neY/heMzS1DJxlHh+vymttJd8u//cP9J9NMUfD4WjMLj4vk/Anh6nvWP
f/u/AJ6cMaEvHJg7InR8Hmf8+n8DeApKKjpuk2upPFRxaH0XnBkTg5W7gY0jHwgef2gT35sjaUMQ
MHOZ4bg4o0Af5qWng9coBRlV8+o7MAgF1B/+bRTQtt0Rjy+hrGna9T47XZxeOOCFrMCHleNjDHUk
0t10Tz3eKi3S9BIW/a30kY1Dt9cbM4ZrRK/Hm+82AEhaczqTY7xybx2OUzTgIPdY2xc9Yjjd8JvM
oiBT0kx0TmMR8RtZeYWEVU6xAXGJGH7DlvxX5ISUA2pP/vazN5s6O9p028+yQX2BLnff4yjD7SPV
a2NetUmJ3TgkwGywJRCMgmbtHzuCA1jDJTePaELq6WPsGbXKLrlI/utD1bny8vfn4MaQCEwz8hOU
qusm3rlZ7+4Y+GlarazxOsJdvIqiOBh+vQ+ZyJ/MueUrH/TX1HGbUy4K82J31iGaLYjV5F2ursk2
kmLBwjp3Ll3HCQ1R1BRICmBMfOupAo1oJFSoN8HWp5gH7YPHRDkAhHDNOT+OcfqShLq564YkuOQI
Mm2cprBGe+fOJejz90eO0aa3LMW350Zud5Red+5kmF6k0Pspzcy3gLtlxcv0XAbNHxJIDdYJnro8
JbFWJCbEidhkS4LBzKHDz1XKvtAGa6B+98W1ix8NZ7rJ0TcOkPKZcQrpbOfls8xMCvwnUM8ycdEw
x59KOdh0UhXvNh6LdZ1X0e3vh8TL/e37gClhnVZNf0cfQn9HTYTLxAWEx1BFj+HpnnPEuDSWf0Gm
6I+NFxYDPhXmW3ps34PBfhW6R2hivLkqbRJh6IuAS2OckP52ABcYWoG+oLx001RUZHoBt8VpcjAX
Bu58MZK5P0SGLCh7zVCnctxKNdEdzjGO143tTCdwqNwVpUu7TJIYp9QU7Hr/249LpkmjkHe2Y0KZ
XD54Elt/VTiXyIrV4e9PadxmRzMJdq1hkSBuAwN4LTaaC0GEcFd08lvPEX6t2P0jDIegRgzo/05U
fXK3zN9+v/eG+SPHInFKZ7WsOmtjleHMxgMZ1j1ZhY57gF9jMVkYBv/6oOvCgAKV3v/rp+LcCc6q
lB9YV8y9OeJt/fvB6JP2amdAnaJsJj8cTN2+DUuIwM6yvFVGfbFzii3bpbft7wq7nIAuehPBmK7+
FXJ5m7WLrJi0JE4a/MOON7x0A1K7U4EG6Q2BGiAM5V1z2W4DK+Pm1gwaVl2HutfAEWOaDK9R4V5w
Kjgs/xAw09phr8UfFF5BKbGEnCNUMXd47FkucmJ6xtnAqXT5+/+C1odWXCm6kKfZvIRlaF66ginC
BG7C/tJDlGr4xxC8ekIah0u1fIDumt/ZPi74uDaB5dV2fqXqEC+EU0uSC3WU7m1JTBdECgwfDZ/G
NDN3i2Pddqjf8W6eSryjA2jm6hh0hNbNXYHNEAE1PU9QzzOQiSiWgND7mZf2oV/w6BMOwUDvs9Gg
wpVUpSVdfS7w2tQLWl0vkPWSiSiAuh4u+PVk4sqzVLCu+Ks18MbAtHeKNGq6oNvLGIg7CTparLhe
Rryd+5FxmcopfwG/F1N/LhYUfAQTHj3wwi7WAPPnbZWraLCCH+95gOQh4QB3hi2PLPYdx9d5Qc67
C3w+gkJfLDh66lJpAeooy2vQRspBbsGufdJ6VGI3j2jBqF6t4H6AcV8w+fmkKMcFfl8uFPyEWC0u
0dLKUdZMGwuCfCT3B92QxGG0oPRFoWhi6cP1wIOzXmQVAXe/y+sD0ZYTBZgPLgBl8mnOVdjysQvL
Yw25Xy3VcA0s/8rpqKxRbHoRQuWC+2/h/rd7WpacTUQbgJfoB5FfExIqudq2S2UAFpSjDW03CsdN
vkyYgOtrDowQDaO415N7iyUFBPjkrrht9sID0evqTZLoA+bHJ581PH4h4n7x6N7EUmvgLf0GuccO
v/OprsouFQ0I9VKFoHRDMVRRXq2R9bJBXwIl5Gcwrryd/ewFpThap578BL0t2OQd7SVgI1ijLSUM
FY7gBddKV7aEgpKjSpbRhzVYa7S3ch/2GfYTmELKGzeQ6O/mpe5hXIofOIvWsx/9uEslBMj7jNSE
/U5WU5L52KqlPiJZiiSSpVJC0y3hLiUTbObULhG9vmom/mtcDBdvKaWwlnoKwtXvPX0VxlJcwc75
E1vr777x2oPIaf1BRyBAUNFmafyeYGwqpXs2Xc3Jq4RY1UtFRtWLDc53lFZWbIz1FGkUgPkKmjVG
k5QUsQxDU7kRLCSRKaOGg52KsfZA/2zykL1oUGPVKZN+O07xWxB4b8q4mGUxn4I0wFVGvmKu46Mh
40Njmb9kFGrgQRTDsxNnOQ5GYakLwTSQbmARE95+CpZCkckggdnRMRJM3BMytnwkHXkiLB0k+RDG
hE+5Z1ZYzbftUliiaS5J9dQgA9fMYfJQB86rmth06MBGI2jViRUQe1Ub52Ux0DvEZfWcowoQCKQw
JWyvBdDBcyh+smkuT2mFWRfm4Ue1lK1kS+vKUr8yu0BlecT/IDLcmUtFCzEPyGm0ttgu9S3GUuSS
LZUugm4XtZS8JEvdi78Uv4RLBcwEp2zrg/mLsARCzZktMldUxlQJgrA3USNTLIUyI80yFHn4r/Rk
UN231M5kHQU0kET1S97ZDy7dNElo42he6mqspbgmGKg7yOmyqZAB1sLwzW1qshg0l8obz9Qsg5ca
nH4pxJn77KtDB9subakEWE+xj44VD8QiKjxRfUexjr1U7MiOxp18+WAyWDlLEc/fn0qXcp5mqekJ
uTOuMFg3+3y5gJYB27AIhB+eEZmcqwQCxlL6g2cx23aV/zDSB8QN/jY58jOauwtctHkdK9AtpeJx
afktsbGAB26M6St7LYYyOGepzZ6lSOmALhKClW9+7Vycnn0LcbBXRWdRPIEpZdh6xXSr1/HDuJQb
5bQc4d5DrsFLqug/MuhBUiPKrmT9e0TI4HUY/bGE5V3axOqf88zcu0u/kqu1PoDd5UvLY+49JWnE
0q3AkCS9W98sj4uG3+j+QHIEKpvSHe6qhDarID6ELbDtWTn6rWG0gdBoJaeEHQlMnxF6yzbonfHe
qlW4MwbeO6GpTn09wDhxsm3vg5rHCp2eRFPeGlF4T1a9rK3pAVlhb7AfFd6dDoXo9zCY3/Dyq1XZ
SrDtFnswc6DGaqTPSizFVt5ScWVpsafs6S7I8+ZAWKK5DHbb/B+Ozms5dhzbgl/ECIKgfS3vVNKR
KZkXhizoQO+/vpP9cCcm5vb0nJaqSGDvtTIv7EfifYvElu1i/QYuBW1Wm+lt4NDhzGbQpSwlCAmZ
hnuSfCdALu3hr7QonFc5WwYwgKynyy/BaqNe1QXuLjpAxvn/fydrxNxWdwi8xe3X+/J5DAp71wEd
2BK+lyef1cqqG1ihTniqNgA4/pkoZsnp9HpXGYRsjN75V4cDA0WevVTwqr0sQCqwAbl3WdQMvA5x
bN9hpke97KAs603zVLoiRchBopXX/HOeNL+J5CnMOsw4lLHB6xpYCPOuYtsgEr1UA10TLwfV1iqT
SDw8WO0iUmOtt3EXtRoNhxxtHObARbtGYnBbaX84wP6rz6bVo+nTzEODyeoepxYWeyh9oHtdnm6K
pDwPtDfACMhtH68CoqMbIwHPgExsJ0I7eYBo/WeNM4Pcmkl9VpgvxfSBkLPYRZwxukDTzhX35mIZ
dEacc1KTFERCpxcbXUG4fVj8dHhcwPMnP9i2XUYgJgnl2vg1WQ+hDv9ume+ceO2QqeFLYSLAc4hA
WPQRZdkSDkeKzSWGqEICz1Vd/emesV9x82clN7KZQYrbJYMfkHydBaxXdWcVYuJL5u4B5DaxbSR9
3mLry+bun7v4+wJfEfFMzOAULXK/xfJn87jsqe+3i/+PQF5/UXXFAppyipfR/O3RBXYDMLZpMQia
i0uwQSpoLXbBmTbVylqMgw3mwcVA6FXJoZGsv9PFTqjRFPqLr7CoHkFU34qyAVmxGA3//5cCyWHH
2WprL97DeTEgzjEuRFXqbbnYEX34//biSyTZR8UvO3OXRM60OBUhtEDQgWPSb/TiXOyQLxKxvO+b
4Cv2g4oBcfbtMc3kCYyxMbGtp5gFRlmB7ojYBS64TbIPv10g9R6gBFsyTb8SDyT5WvT2qCGDxRHZ
q/4xgZO3dtFHoqc5uG2Eu2Hs9m2MzXFOcvuUFRlBQZhSNl1Z+j4YKcXipkT3kJwlusoRbWW6+CuF
aN5sGnqsYJlyyoTkCmPH77Dz38UYs/I3P2yxi43+X13xR1c1szGAK6QO8BowXkEah0yTfzy6if2D
7suRcym+TSpx63ExcDoNLk6NlNNc7Jw+mk42PnLnLOZO/qI9utffqmlBH1uKmnM6bPsC7Jbkw6TZ
Aa+sxQUqkYKyDn/IBZbQrrPwhebnJRIBOeQOVvaBkkqxKRHvbm3DOCPyHk7VNFz5BfJFsAdeUkU9
rjkNAMYmyp5O/ghGiLNe1Ucskt+E5koOc9cm1iALEiclXLTq1iwWVNJHNVCIhl8+QY3ZwIqc7voG
c2q1OFSDxaaaLl5V1iK7xhMv9WJcNbgfrrDXlSsG+6zwC7M/gR9cW39Wq/gh5ak61kG5NK5txsOE
yOe8XqVVy9MX3yug/bPoaRA2iwvWNW7K5xA06/y3HQN16olYFyGLR5+14dpLxCIiYYvD8w2fQgVD
1JwK/iRIj8bpkk1VT9wJalopBJNhDeLSRFi/a00mKjCwvoO2ehUs590p+nY80ETCrV4nA3JUxpJq
k2jcBezpxtkuKDckgrvjbFMRITVsjDyuNMSSIAyzc0NsZWyHcg/2wjwCrKOMSnovCxngDl0ORXsU
NMZhuDLZdkiRpKW1DLSrF8sP+enXj3EcI7aZoz2I3GsQag6sgL2nfTw1w2M7zC+VLq1z3zmvwxzj
cCgaY53RjAfKMQxEmfznqm2+p9m/byW3tKibjrbbAx4I/L00fJq0On2Xg3izS/YIusgdwi58VUbF
n6Tp6LNzQCUKkf54IH64n8hvcDvDpg8oShTQwEawJDmfvG1kOM7ey9n+MdQ5tLhJRhC51AaQ10AZ
2/ru/NiJ4FTETrCzwvkxg0bF1xIdT4SItPjMyU40LtwMYrePeU8mvPCYQ9GLY3kUrC3OnKsm1dXW
msqXuk75sffFbY6SJ9ST56nmclfzpXF9yiJT/Q4Wrt9Xs/lcmNFnlIsP7RnUcVJyvY5DSYJuRq8I
jo0GVeVGtjh7i3ubuCVtcJYGqm+PeSYiukujWodPtMms7SB/FYnGJHVejf7PqejpG83BzliCB167
92KQ2IY69zrBqFBBnZBy2DWV3lGdTU682gjEuOEDWOZvYh3RlgMCGy6XXXqMq+0QF/1V88DZ8zeG
7ZwWq4iX/iHNCqgUvvsL8t87OqION86i8erZlebk6wiM2dMm57bTU7OFnOTIdSEUrDWpmatUznJq
bbJ1MjBhIZkHKjMO4Ho4xYZV9TdTTp6FIpYA+uxb30zjXrBzoBpLOdtvhi2JyKWeoH8n8omdoe7t
ybu3SdXzQ1c/sy7hN7jSXrMAHJx9KtynErKpWRDQTxUPW6TXUDSZJR+3Romd0OQtdwzL2Vn11KvG
JcqqjfQi3So6R0bPT0x0/xzBYzUd62gbZvB6ynGEKwjGH7rp/BcSY1uXILTIg9Cpzh1Cs2lAO642
mJHY3FSTxAPtyfiYYiZrs56ZG61hxbXNVlvVeruRj3RYJFvLoWMd9+4Jn+Bl7j6aeT40yuGn66hj
QlmPxg7BT9qhwxZcAZYA/2DwjJ3gx61yOw64ERa3aXYSQNts1clNbEybD9akxKm3wR7SREN9WRod
t1ZORfhEec0Fu6C6kMZNuCyPSfSAU+HZZzNcy09+sBund6ZtWmEusD1NXl3Cv2If1/ULM17FZ4Pk
vqA4atifUpku6NkYjKyYNqqE8h/ozts5ZfFOiEgfS+I+si3eeQQ/xLw7zoyjqUc4c0Cwj84or0fS
Hi0VzvbJH5BOZfFrkLW8X8uvITOBk7QQ/W46VGfT/nYUDlpnfq6T9iCgIIu6RW5u9XuiWlDEwe5X
Sm1gUlNP5J1oJ59Y335nCEzYrt+qikaQNQ6vsB4YgbBEolpkr6oBoavD8115Np5Pn60eIpXCBC06
T817FNCBpMtG5xh9tj8Fu8aGaR4w5T3VfYhd0njEBxxtImL+76b6zZcGTwGLAF5xmDjszq0j/NW/
yq6/APBuLDs9dTPXy1R/pBm/AdP9SPIoXYrNVJFSRxHdXOUxZYpCkeoEhjEfOgcwWTBYlwB7Hc8S
sTwCIWYRSpTWK79kOGptddHBZyCApmVm468JyLLfr7CkUrH4ivoWBtzymSnt4WGOGnr9RLMSvrlF
DugdMj4gLBbRIhI/nfbAvFkEtXtu2Ek6pNRB5oQ5qcNTBJK2W4Iem+lj2vJvHuPH2ND9ZtL5n1Gn
w2mIIPbxllz3RYn42XmKSU1t+ojfZylpdNT9PVDQcgVnbO3LS55pdZjiuNoPfJxE1oIMuanO9tEA
p0+N8Rt3NLy9wCBcQfEK7MfBTRYKgKrOoVE8e7r6lRnZ3UbfGRO3PS9GsxbeEekk5Dfiqp/9s5gR
ERsygjcaHfpxhFsDDhcu0sqO+r+e4TgjhYtptk9auEixmq1O1bXFnLZEDgd6TchcOmI1Ut0AT8Or
f0kibr78bc9UyS/CEvdQ1hXvALiIy5+17v0/Evp+nd8Mf9gHNiPRnIThhff0M2ww7h+MS6UFjzTM
qZaZAe2YNPok60K+Keo/9Cw/leiB8fOiCrU86Ey8B30wbHThvBu98elMM9jTnOmaw5lcjvANN9S3
S75Y3WkoH1G9cvoF7cFi67Us0tMAuc5JxKGOlvdSDbe3svF0COBlefWUQMtym3o+1F5CXxIEsvC3
Rl5vdTK+W06BHNt9zSHHbpKYt0yLsbIiR+lNfNBsmHF+ov4VGDFo6LekS1ZBGbbbhuRRGNhHu6el
zepMxxp7CRKeBV2RpZKidMH+Pq+Gs8gJyhbp1ZtzxkF0qScQQ2lr32kr5n/aJ9pOFpv22RJcolfH
+3mZVL+1nPPIcimiwBkKIDv7qkb6akVZKiKV2clzus/RLk9JVr7MDevxeWpfpmJgmqOutlb/gP8d
a4MMVGRNPO+D8sdT+ZFZu3UoREpL6NoNDUwTJAp16xD5ldweYzgQeZ0FICJmLo9G/5gh6IAy2ZcL
pA++8czg2HIpAZIwMhfAolTjkzvotaPnm20AYK54o64AhqqSWV5akr+YnH8F0w6wENyfCc2F/GhK
69pkDdX98QWq0FOGXK5oy11KLSMLUEUwgfqWqnp3vfad3yM8BUhPBljGrAZcZZTm3VTBnIsX9BXs
FX6qPJCz76I+KJQI3l19Dsb0i8sNN6JQn+M0/GK5gcHcqY4BvbuNBsNXyDTZALRmRZZfzIJCDyGj
Ty+o3hzD4n3P5cB01H1nRRy65vmuLc3PhM1aHwQPNUCYlGsD8WLjs0FGm9mvDCgxI2fw+UPBVaN1
77m9b+0p+xFKImZtqcmMsJS87M2Sjy3nNGOiZu5nDC2qgZzYGF9F7m0hAYJ3tayTrGPO+co9F8pE
8oqWvLtNnIRWGgYGN9/l+FL+i4FtsTDMGZGn+U9UI9RoGGU1rrXR3nSHOK8glwtHPumQHsoERwrk
Nb96CwU6j3kOd1bFe6Lvg1dpdS9unh+mev5iPu5tEzgevoGMgDUC+jvbxy6R0TmriCN23IQ22gFN
nnFrRjq0Lg1/OrkqV9u0Ccjj5DG3ndBdh54XHhqMZFZKPyvNjNUksktkceIwTKtj8sjQls1Jbc6P
crmqxNEbgqQGpGfxLXRg39OfWytSYbjhueGrDChIQqxl12TJJ6Tl68yA2aexSS3YlEe28/uciFg0
GemKWdRHFX8P/sAPqE8Po/iSBHzdDj6tXnh0yQkI/zYgJ3xX2MbAkCVnUZmkh6xMV3ijSDLZEcgQ
nww8x6tDGfXPZYYvq62eA2uk/GUQT1rRLb/hJIMoGdy8QokVN9lLoZpHmZ1Y2MPmpCZMHIiS9TWo
/HdzqA/8o8GNzKad72oWBRjjWi9LCWuP3NmdecttdzcsXUnGzSpzLl6Iknp5z9S9CDeMWB+LVn4C
6y/Iri+5Gw5tOmwLOOmsaSpOtWHQslby+I8D/muFoQwwCvzcKUVAxS4eehYRqyWC4glQdJR413MX
PqGlU9w8ggski1PU8N7XkH4oGYon9pBr240OhW43GHM+l496ZOePVTPNm2LgPoAULoznazUgj9fO
e5Ak8Ia0xCrEVsWcfxiq5BtPqSeAzPWeWStQ75ZPfxru1GQOq6pUPzmWkRLUGoCOH5sFByfT6jY6
Pe+geTN5IdMe57Uc6giAXaZ3k4BUJvUb1Vd0CajLWIVWUCcgo8EU3JvpQov1/h9J9J/CGhiRlKbY
uLz75aSjw1hpBt4pj/A2XvicvUZ15BtXpkhn1OwP5RiQteQgXIk83NkwhNZxnT+GzczvhOWr95WZ
LnWmhq3KGD2bgw0tjpEnm7PkYVLIwdMlx12REm4HA1hhIp/9Zgmg2eE1BnbGXiJ67jBSGK7mK2lZ
SwzhtbX9dE3q1Nkpt3rPKyZhxjB/wrHm+SqeYANgSrMc3gt1cQp848VmUC4iyBXNu56fYsx46wy+
9pw1xqb2WCmN/oObp9aOKwVRuGz6da0H022PXaxoms8W7ijUS0bw7HVqOwH1zxOBZpn4MZevqOZg
RcyDnxL1jV3lz4ehMpl5TqywGtf9Lip2R4WTb02giqve2vtF6y0lkDhwOK+b0l/ZPDBWZj3x0Eis
M9J2Mlr2eKwtG95AuVRQQd9mBlZQs3KuVpp1B8vPP5XNF3zM2XVC0yp2QUvHvOFYUs46xX5gLzMv
6oyG4Ps8FXKr0sVowwKZ3Wx+8sUxY6awwcJCW54IaTXe4q7fdyKDQ0bsDFnr5zz52zT01+Xg5Wx0
HPJwJA5LYxy2bYeeEMhKNSMHY/6KJ3F4mlV9S2OXSYWpGwr3/d3AwMzBKq9pYSkusHFWCcKzBRdo
AfaFrSguqGYnB/+lnsPD5E93/OU/amruiID+n1zdcH86xqXZnJmTpj7HDsV9I7TYX0q+0a7DKrfk
fU5crutnxcoxupV9/GAtb4WaI246jc2hCyOQC417m7L5sSVHbrj5X6yAJUjjHtQC5/GEz5qlWFPk
SrdbaxmRcbJKHO/SIyTa5jMLLZcjvFeRB6wyITZ1m7IJbh+jaCk5RgWZ7Tn/ggHzGKJbSPMg3oEZ
35CO2nu+/z6KZFx5JKNlxtxvjlxYUjw5bEEUOnUPpWe8RVl7doLsw0yJmTp+/m4TM6qagGcxYR3R
YEucItQ3Lc8Twdpu6K4+Wfzalfcxn6LZ9JK9DJx2pwrWoH3CksxVMTp2oP5F4312Yn7NyuEeqPi0
SrL6krnxtnPIzYyMuub+mCBH3PhEcHLBEIWDx2qod15XX6wZ71LWFR8dlGCwq5RRW+e2sExnX5+D
SFyiKb4n2nTF2cAVHB7W2kxxzVRddi6dYQ8NbOtjz4wYNKwkTSMIIeI2uCaazoSyMDmS9OxPy4sw
IJuiGbATmznLkne1HG9t4bzG/TG28ul+YlcWDsVzW3QX9LLdKktpUQxDTnFtMpg5tp+z471XuG+M
pdglkvbdib2WA0jwHZXRQ5MY8aakOLs3cGf01IjM0P4VzI5XwsmcdRX1V9uO6CH3jOHqpj1lqUG5
Glp/2u1HuKX8+CoQsnvN4qkt2vl/I/DJBfhB2CS7Av1jOSahUHQzS8DOv2tK/SLoQgMsm3kNByFT
NOo3hDCfqfSFK+vb8JiWsTQAH6Bw3xgOCbQyG3Ys/bKNjEsaLdLcRNQ0TUZrqtBrTSpvFzhxQseO
b5JDc4B1yN0ARDvswWdw8Fka1rR+l8tGn/yRYn7myJafEMjdhWaRXvrQ51MfV82m73m3m3lwnJdh
m9H15Zb+Is26aVGmzuRtJoIEM6MZRhrJLlJAb1PGy0wsYQmMX/UgPgKm866xcCjLi8mxc5lE5xij
k/ch6gilBfxJe1y02h2OOiyP0Dm/U6v5iCuoBjF1XThTp6lIMCt1zWsiSN2UWbbN4+GEnaBdc4dh
c+Wts554AbG4f27O7Y/OCqexpPwqMAgVkGwWyEVo2Yc6q4/IYph+g9Vt6GPUMwu6HPgAVpdp7p+g
Vyq2fP4+Ux7fbj58RSY+Ov4+eW3+zbk+geZZjKfViR0cl6AgOhbAFh1tn4J4uDSs0GsTL6XM2feO
U3gJFD3xfGQuODGhwYcGh/2Yuo+V532yUqm2AbEEPGqE8RBqRVzWwRv3+FdC7p+8+/xd6nInRteq
T1yWP+j8rsRs1k8dfZy7yOC9idEhC92/wCtHBiQETSjTZTsmcf0dkL1vPL80YRBm7EP31uceL1La
dNvYH5OrrHbQwwRBkxYXCp+OrTnnil2Cve0i8UjegQKfkBgqWTgVRC2qfj7KFhoQRKl37pQpRev0
i9r0FmwyPMOFzEC3cVuVLfWt6Znklrvvq3HtC0DRU+4aGw6rRwj6IZBpyB9G+CklMLnSJjYoLOO0
dKJc6e2BOQTv/Ge1pn0yceskswJCAVs2QBGfg3CoDdpTI9+7WAEYNCbSwp78iSLy8WCjSLaHNGo9
81GpGkVRw1Srnv36jku/WzTgvcDRKFdfyzBsN8PIqtGDydQzW93AuKJTX4k/Ql3ZfpqHd+5x/Gaj
hiGBBgQcvCNS4dw8ROmWAM+XJwfcKxGpREOgmJPCeAtyKc9mXvxjJbjyWNZ75OROqWW/8J7mNduA
goncz7wy6SFpY1eZxjGvqtce1hKsH1hxPe3pgD+Sqf7pMT64QCefTPqbRTpXdywS203roK+xp87b
MO2Pt1ZFIpwtTUC4kLQlx8w64kfB/GiOwzPhlCVV7+3SDPTlInFzer1wGJ3frPWH6///ArudAy1s
y7p4hXnrQ/MxmdrF6bNr07eEZwB5w3J+KMUMu3Fq2lUSAD5ye1Yrzax+/Mx4deekvc5MClfNDt3h
VxXKhVOYvQhjeufSK+EI1M+jX/CcHhg5g/761kGCYbdsX4eperKpJ/V19ErZxtjoeHqbNl3LUn0I
iET1IPYUwCS2p0ztDOhdbBSMcVsXfKkrRklT7d0TzLCv0cBqRCK+3ZDZPduFugO1ddUcNQGZnJp5
bI64PS6RtC6mnH9NCpzaRlAS/iJtfyNV8mrbnPPt+RPZ5h3LiD0dT0DJ9dap02tc8WLE6/GUM19l
eXico/bgBMUZg1m4ccEoMmHZ9zwEnQIKAlcPEjFvAQhMd+InOQ72E/urP92Ob00akh8cSdyEwz4j
ZwdNkOAPGRxu4xF6OsJNRDSre4Mr1kSDIc+MXyE5cMwAXFTy0lYtWX4lgovPzNFFPzEWfk4c1Hsu
c7akjNhDLnnHgnVdwyjmYNaRReCqrxlAf4Kr4xjhGPuIAc/9ggzWoz3s07l4g5UFW9W3P83I5PPf
E/GaEiYu9YSjjN8+r6kiYkAoNmVY8tCL7U1dYJfgd/At2QUdLT+xIf/iqrACu+GcegiHEV2ftP9o
sM+rbKJGUIB2PQtJZ0E7znUiiSwnIdk28yYZtKzZ8PMSZ1W442D32UQy/eZR9V6UxmHuiQ927U0v
qBn8CW/az5Ndm7KvGbr7CguhCv/JRUpIreozawbmOkBCgXytebi9+nyul29CBgIV0Lp8o2fCkaJl
zAquVcX2Kou9aGdhRfRM9Iht1n1p4PR+BJ5ZYFBUHm/xkANMVz7bY/1DfiDi9mvc8oG6LvW9ovxx
YTIZAfHlmISGIuvNUsm+C0bzd9q4i8pxsWnnIe1rTcapBFHDV0l/GXW9zjly+PggC27EPOfKQzkA
TlI4IwfdmZzjKXDDiiNUMpOcHFxJ38662TgnTaw6ZI2vwyKjHIuvtrmFQ8PEdLjAo9m1VM1WAw5L
MJE3Kt1MXcLnSEXcmmJgCURk8Tr9lVgw80WHObGsX40YMgcLMl/vmffCkghoxmY7EELFv8TAKqj5
AujyGHkVhvnUAf1cPIILfRV29jxlo2SdArjMAZ9np/aHvQg8TUyeLF9O1myeB6t7GH2FNqRUuzh8
djGApmbwUS5KUEE/sC3/OmbnheweYvPKbmRjcBoEHg5koKQulV3LpHuMJYPJkHUcLBuCSXDvUg6/
K3K/fBk2gnpWEL0Z9rVYBKYpJlP3fz9wEjCMJ2y7TrvhvsB7KhYBal0HZMn/n5T7bzx7Ll3lXFKc
qTFBfVL+6wBPCxzVRayKKYK7a3xQGFezRb2a/C9hHeovJXTBTPp98NC0TlFz4AGmKQVhcG2ab4nh
wsfsSj6NC+XAbKokDRRif62xwNq8c1plvLiLHtZ3odNL5v4WgaD7GIesh0sWUigA1Q7I/KKZTfHN
aryz4yKgHa3pn5v14akfWW/SlTW3I69GAgz9WmCwdb1EM+pmVtTAXz5kWQ/cTVANNTKxNZHJXFps
uGmAscTyWpKYbIwM3uS9YLGfOX9AWp9qNxrWaKngaoS/HisFIBOA/LQJEqiNpyMcXaVajPLf3Obz
PHgahPtPlt0XkZWLP9Qv4GC5pWU0c0vBWKLL6TpG+e8AQluQidp7bFiXqhz08LJep3TKGKm7+5pf
5ZjdBnzCi92zGw37MOUejDSUwzSSx3VSybsSlJRlI+CB6vQDsJFLXulzSXf5OLJu4L64KAFN+o8T
sFm0qe6OIe21W+THpBd/Z40OWcbJacaP3Nrpo9cWDPExJ7eLQrnGpRwuUuWIDw9oewDvvTV9+Ik/
HPMGPBRbojt2wIjG8DNzfgdGHSBGCXA3sxBz1pm7fFImxM7GT9jP/yAkEhFbxM8eP36+9N4G3deV
zXhw6mo00YK6pYU22sMpR1B6Q6aU3hZmaXdRTPeLbJrRMOIH+FP9JE9yMvnvcOwLHHZliKXCSfM0
xV3t4LA2mdxLnNZRgdzatCKmnsaQbuAxtRs3yN5JwBR7FibxGjR4f+h43bpEux6nkKlyDnN4NHNx
MC3YI+6EhTqf+F0B5In3xuSsiR/l50ZaWFHId9rUDab6I+CnQPncju4TGe/GaEwexKw/SkIGaTRB
y2DWdQeys9ywlMai6J/Qq8fA8+FgJJjCAXqbG89DHi4XjXiITzzRVHBUn+xZOJMz5zPjKqoI8WIh
X3TkgYOY3HTzNwkWOMBYLhZ1eWNVl5JxRfOl8Jq7A4Jzv7QIlI3cTUrSH1u3+Yyn4Lvxi5H5urHB
PnKtebIbtDlcctCrCOky2p11i1m9SWLOVNaPjXG9iC71ImBHDZV0jBCMNt2Bd2fHvsjaOc6RNl0E
7lJMd153r5VnkI5AKWLiep+cofzXBejfuavjnws+fbzwziKIb2g1x231Lx89FsYl/YhFJk/I1Nkx
NMZza9MixTgfLOp5HOZP0SKjnzzrvjRZnlR46mPmV2Sss1eXJyab/JqqcXrjWMbVkOf4Fg1pMcGf
lvx/B8I9EJ/9eyY66KftAlbSvgvosppdPxw0E2027vpQ+8132noIypmCObH9HUB6EBkh9aJN3iqP
xCkEXgrRpvPXd59+7198A3RCaR8peyokKeZjZdIftKWLVMwy3DVdFvwufn8cC6u7lDhpzaq0XlL2
L1ZavZXR1JyiuL+Vcciv3iAZ6UCyk2nDgjkg+2PNHfkte7pXvCg7FpBheLDBEKHsBR8h6wFesXEP
UXt51AoI6WQdriDZVlUmH+wQmlJVmy9GYH9CBifbpzNkBGmMqGqy/uU6irc57w5bORfRT8+FYVMA
ZebJNwikdf9QTcyCpU+XRsy3MrcTiPjZRUjMF6L4NDS1sdSkF8HgOm2fiqBs95FJSIfVGAkC4Ag6
rfetGRNaUXLfh8Frbw0GJoHqoZjYHoxteWfW2TE35l+nbcJV0yeHqqfG2VJWDSB2YCj3fys5/vB/
45oBqDk/hEPKFL6tOdKo7OzaBpWVamYyaSX/DAs40th5W79rXqJWb1pVvbQ8a5khKQY0tzJFIJ8H
3rudhB+dYIe1/JvKgsht3GdmnBGspakxsE3axwmv7PAf16Z6ZZrGA4uID4WgdLDudce2LrOCh35k
rs706N7SXEo4+eVJ9ZLP1YPTORcqySfDnO7rzOEiLQADoWdGOzieqzJ874f4WncJCVTI/SRWNzOw
CAbDRnCC+JEYPr+dXu5kr462MV7Jbt6Z2u45e6ybLtiByiMggZ8r5ORVu/bzLIniZUFFv79eu260
tlmCAazmn9sN7qOQ5s0MA1VyAxV5JdcvaUaLZ/T5L5hotWdqD1QZwbIb6h9qOfaxONJKWf5imHlu
q0Jc61OmKRSO3Vge4HbgXeUtlA/ju+lVJ08xbm8TrsFwahY5uL1NJYm4pIsjLkvpSTTZsK7s8cFs
KNLEDmgb17I/bTVR8aPCnmVgVa3G+209n+g22pTdgqtdbnj8XZQmN76gsRIxHozqI2PofXTU8ADo
46dTBCTA50XrFMoFgi12Ky6niCpTwLWABRjut5Ta3cLh584Q6OkouKgRYFNwLzjHmsML4CauPJwN
NnkZ0JeDjzfzGuhahAtGe+qs7LEo5YvbXftSnIXroUOZ2E8XnMusjF+pBF/ZxMd8AKYKjfTdiaoG
KkXFz8J33jHs9SwFsjePW+dKmzyAhzhiM8ANeV3wW6dvob/F2Kxn2Jzs4itASJJ0RmtqzUbV2psy
bI+tn1jrnL+ES+Gmr5mSZkxqYGMut5/8SZYD+sD6bAkSWVaPWZlWWkOwLVXlvNOB+VwtY23+Oxvq
ZMi/zP7mMrsiTrIRcVLT8KyeWOeSMUzZRmAkLyu32Lj2iIcMDFyzrCIc7JdmUiBvzUI8wnAiTWdw
GEjF54ynOJOHeT5G9DxUT5E98c16C3ExY8Wt+aRE/okBGpci1VjHqOHziuhuOSOlh6KLCDQL7wdO
EEEGIux1Zu9jXfGOGkDojMl32Sw4C+Fa35xZsnh4gHwZnPyO3F2QPVgFt0vqJCwsgljt8iu3VHdb
t90P+vZq30xDD06JPyIPNc4mHvGuksEyiR4n29CXzI+mVkzc6+yC2cLb+BEBXNwIV97pW8exbmQx
o2efmNgqCxxjp+rKPPpEPCI+2l5omjjAHWwe9BqpykNAzomZSo9bZayttZ+q53hcG00Xga1E9jPZ
3Z+YSkYIkWsfyy57YYfUPhhqICBLBw4bxjKKQsq+8oR8s0YObaJJIBpm436uoQ25YrCeCvTWdThf
encM8W8JXvGmdyiw98BZIn5NV3k/DA5Y++IGMYobR7YvByPd1AO1/6WDG3gz9IV0YN7QuR/MS01+
2555F2YGXTLifSQb2/5uoXe3FT8Rr3tj5Z5Quy0eWg52Xegbb9Xg8vD8NuxgK/iLu0azMaz6TwkM
aeIYSZmEKplM3T3soqVFT0bPz/P7vBpfCIVG5AQxjSBP3QV255Aki6qNNdo3kxfaHqfHsAaATPhO
z1e31OHdhJgxLjlo9rIOj6y/CWaE7CxcDoh0H6GzzCtLdx9mt3CR2mesUPuECzMBg5BTXcB+hYTP
Qyy+ejsuDoXTgfXpaL40EZpzp3vylfXgk5JkKCaeWmtuNsGIacS11zPYKDZRuOni1N4lzvi8PJma
gDrcNzk02TaP1hlX1Aejk2xDALBZccEoV0zef4wIlUrZ8fRjUYcQJn9x26reF6Ugt2SFd8wjU7Y/
w8fMZI7qjnln8YzGosgPQCX8KIy2ACeAq27VJOOTpySv2eB9ltn9aEaPgdW9DSNzX1xYWMr4pxnq
Ae5MRGCGlJay/xjUbfktlgBnlHmYk/mAT++O7ccvhykkPn7w3eZfk9uRq5vNJzeLyZyR+RvEgjZF
67WNxz9+hRPgk/oJauKLir1vQz8Im7EAdYRTFfKZdn3+N41RHXno/bGW2BB13fspv+Kk65y7hHFs
tWfktw4s3s9WMF8UzBkuZouqZfLlZsjx0VmudbACGitNWcIKAk6dm1sdyje6B8PGt6hrw7+RDH/w
6r45mX7UxdxugypsVqY1vWkd3HEZfjChWeAXuDffvcmj/Ts+sHi9BSWfkZbFu+GAvf2PvTPpjdvL
2vt3yZ7B5Uwusql5kFwllVSStSFkSeY8z/z0+R3nDZIgQILsA3Q3uu3+W7KKvPecZ3TNiSATBRxs
wjPlKgGqUa+NPV5DUUO2QfontKtXq3nxJyRZfKqvrdW/F05KGmXxmtKIwF9/ImPTVDQNTPYddfiK
ZBv2cDf5U5ANiuO5uZbkqfble8VuuXHnA2revT7ypRc9v7hNle9iehBduzp1hI4aY/OYLV++0x7l
C2m+iWZwedMJh3OpxWRhse86Eet5+IbqikblhOCVoGMl8ZGpFQZYgN7u6O4G+LSd1zp6pU/muWX1
HXrmmkjE5ainaEhwN6ovj4SDPcVUqtGyEwXLT7NQs97qh5kAwYl0Q1ocIXBagbSZXLG4a9HFJv6x
FNKsSW90MijTRUsQymiKomca/N+GgTDXNOuDU3Q+0McqyAab2sBcABfuJqO0T5glj7hqIfO7a+TS
35JyZ7sOCmMAnB09H8CIwGyErMLUBPaubJxkGy2MiDRtZaL0GPSZf5rbKMQU55BNQEnyQ6YwdiT+
o6UR+V2H+drCrkJgPpdr4D0ya7qbnALNqHHfXHTQwIfUg0P2jgNFrPXcfpD49ccYbCReXIFpa5gP
LYyU57Zo9XsC98qA76zLovNgPjABU1qk+DajjOLwEZxbS6ObufgJNWxgiFw6U0/fNPHfYk3ATZ8C
ltG3mtOwcmgb8vpn4mKbhPCtOOuOA7S5Rz2tETavNlFUZrAK9GKPgem3rZn7MG0vxDKEuzpQvx0V
vbryArszrp3eoqQej0RTOOBFxjmhxvZs8tzjJDZ+xgDS1DyXMxuexYecxFzkurJ/uQP1uRYnY+r7
ez1pv8cse8Na4pJ+xNEqOemrrkFNPJ8GryB8OkU25hFiZvIOd1V+wId4iFFEBZZZr/umuIHdrkbL
XCWdNa+qEV4TXPudWZE9tcmfez5Q5iM4ZIz8AOYw4VHlP0r6WTGb74E1uRutV4eKS3w1ONmli9V9
RozWAzPqdUucnvdGkRUrclugl9K+JsVvEDm89vBUBA49mARcE9KaqXsA06BFo/Vc+zNZ7azDyrza
dfEWF+YLw9455D6FQc4POjCqeKgnAzbCd+BgKDNIwc1r/Mt/Kr110Cynz51DmN+YY85hecW3E4/k
G/tnk/OCy71+dyLeRncAVOHHw1TLG4ndOO9op/AdItng/yQ4kyZ6HRnLYKCXLhEItB13mVdgruvy
En2msx2USYFWSC541lbpfozwCNRjcykG74krSseF1+Kg5CNR0OUkCRavS4/0MCdxuXCRKttgwiyp
bPKlc4T+wx5tGffebbcOLYrGVFP95IR/GN3RJjEAkcEIIsA3FfTqu3Mrba2m+Y63994kCX5vxaYK
RWBSfg3zWrSUnLl1d5NPaEZieDDmu0uCEHGOC1GkmgaPyw8R8VxXKr5mvDxzOqh1GlvaoQn/VugZ
kLyH88rzuoNXzldyFC+1nW8Gcv8AspvTvzOY7LuR5RWRUYlMYkYOLeqWW+GQ+BOLsXEhMYQHNVqW
n7acf+LFqM91WrRb9A+XQWPR1exN4QzrgvYLq2SlDdfDvimrlwkh1ka3FYG4VfiLJvObQXqCjp1x
bOybz/S7nh1p3jayx6kd78NgPXrNsjeN+TMecIlbZJ9yxPyK6gx6MvRv2sgy6iJNpHFWRyqwmeWg
HMghG0gpiyey18hwLdd1XPxK851ptHCDCgDHDOp0y1T8oZX6lXJFNlZzwY4/ei/4aqnL1IufQBUf
jmEbm2QqvhOCD+yiP3qmG92UO3w2djisCcPezBVv6BgNeODdnpLH0Ke1sjSIhnOPkUaEKaklEJi8
TzYnW1k+oS0zGPzHj6Zj1M8i88qsnOw0lteEfitEuc0+1EQUjanFzE917kw4qazHRTevygIGpuTm
QFEy8CSBv/giHmIr/BiJgSEEUpTrmcW0X4JhcCXLMwf86rLkXQJ0tHX2ZBkveo3mnnLwdQ1+AAvN
YV0Mv8ISsrqbynbXtyZ5nwH4Ye+XBIWoT1U1/Hg1HnRCjneT7e7KHhNjDZRsBzSrAxuhXqJ+Lk2k
rTLHTGS+N6V5ZRj/CEYAFnS4rb18tZluH6pp/gwCDk+d0zBVxq3DTm3icCAM/h/hEI4+ywQ3SRPM
NxIAphOE8KEcrBfGatzvuYQUaw5Ra7+oYUcclGdPpu3/9rKOg33cYgZ/yCz7kHTGjx7gPabL4lo6
CzZxrtGpMR7yFlIvzW61BsRksrytjaG91UR9pv28a0xMiaXz3sMyrDq/ey77CWVMlP5ujDx/gNGW
VCsOCDkSbbWbB+hNAmvmmmu5qixrry0OEJ17CWeeNyfwoHbH4YN8FGJoE+8Nmara2pl27tI7oQjY
tS0UP1glSWvu0TotW5b0YV2xG2xbYFOfQdOz2NjnoPo9qgnxQdSA09Z7XNVUIi6JTZBXvech+eqL
vNxzeiL/cB9wLjGz6CYol8Xl7KSXomPEagdqkPPhZrRMeU5MVDWx9tsiQYkaxuElxHE4Z8Edj/wZ
HhPLSs4yUcev+hI+D47PhYyowNW9L0x918HJb/Kbtsm04Gvpq9wb/c5oPWsDQuoCO8HC0h8IRtQj
lTagHLLhZsUJT2AVJJuyqA5eW548rXmlHu5YzSMArn3LOlNtK9e4I3tDnpBda50KQw/X3CnX+nsT
1oSctVO8Xgz0mB04PdDHpqYHACFcS1JDhjbGzQ485vAfHSmEOb0NgCd90k44iZJvFWJfHYnxANOk
86CynJeoGRBAmdErwsPtgnwYVAESL0Z4OGiolQHa+YzJ3+krYMbc77YNSd24aNIjgpmx9siwWJIP
oBt/HeNdYDNBdh9bPSHpvfaGzfR1bMuHKjb+ZujIEWml335RHH3UIywg9HuxqP7ojX0vx/gS5MEn
2L2CPdPPiKM3seY99i6yDwjm/qUaoJhMf/JXpLx8TMPrEg/SNJIciyqnRibIdvaSIEQnzJaL4SIv
i0c2H9gaWzO5jSiayaIkY2Or0f6A9O1c82f3NbRrubBLgFfI6BA+DQu5/BFEgC8hEcIMGsTlW7p1
pGLBLsqfjKbUHVSDHoek0k8jWdExpiZzQ6mCdpxJjkYJ/uS7tLCUqf+hkDdvZBK0rJkAJxgC5uRg
U6UL4dhxudYd9TB2XPiRmVElN+5z0x9p+YgZLNMMir/Exs3Yv7bds9fGp6LQ31FqfRIAGa3lvsH4
1ugoTifFNmaSyZ8a58pnakL6ic4I6Xbd4M5Lpl4CkTGqu9pwa0sqq0LKneSP0saJUHDCRPWmN2iv
o7gRAWGl8zMUEbeiHuJDQ9FY5wF2VRq91sT934inJdn3Wsw1cDq1GZZkRlJmuQ5pRVX9h5bnRzwZ
B4CVs5pgWU0Mr3jUsYCU80jwdrZPnJLW0syhXIYCQL1Pvrt5eQCGsLcow8lVGO9lqfj7YUGR6OUp
w63U8nCR5AsspTOvaG3JxWoEW2MZNoLDmLH67DSBuL3yI9XAswpM08OobtZS2ciWbYCQstnrhf46
mtnrGEDA0kvnEnKVzzBI+pdfVuPRcCJcRUm2cY0aappvpchngCQtPtqRS0z47DwUwfBrILFy1S3I
RCLnF441qGfJHmcDuRR2QFFa+afUvR8usydmz4PRReDIpG0vuvUxh3AHg0sozOyjh9rpQyU1qBa1
gB01lHM6keDvEWyYVGeEFFtCI97mZmbBDe7I0pBXmojeoG9RIX94C3Yyhed27an42oSAPdyv8Xqg
InhqPmaDGXHjXrWk3paJuw+qWlFfNgIvDtneDxY49Xk6Ja51wyaD0d7XP3Gf/2Rl9aAl6DKNpBl2
HewgO01DRijx5TEgGpXQzrwvTB6sLkYZOXz0cNVrND0AqIbebwmWwZRrO/56UN4XNVrB+v9HE778
X6IJLeP/FE34EP/5aeLP/yWSUP6J/4gkdP+z6di6IntQ2Up3FWGF40/b/Zf/pOk6aYW2za/atmOC
QP2PSELCCm3d9ZVhupbhYBflt/CP/PdIQseylHJcngrD9r3/l0hC+Ga+gf8tktBWHpsi4jZlO6Qf
/s+RhBktgkZMnVlftcYzwaOQzyOtSMNUslWh2to4fKeIgNpgTRr3F4EtPFzymGFB67eNPHqDPIQl
DyPPJH+haM0buuxRFZbb3M+eJ3mEe3mYTXmskX8zb/Kk2zzxJk++bpTDeghdjMf0Liwm1FBsZHti
K34jbFD7ijcoRLDoXVeLvFgd0c6J+RDGYHLk54mxLb4qE5TWl9ey5/0M7V+dvK6mvLgheUMxsEfi
5m9o6ZnZ67Nr6LAZNvifvPyDHAOGHAgYbpQcEPDWj4ucGJwcvRwhJmcJMB3RgP5T2Ws/k1//cRX+
MlUTW8MhlMpxFDu/AC7F8UU3ORCjZMw/6InIpzjLSjnUYrYs9tkZQzIHnsnJF8gR2OlfpmUiSK2H
IzzZfkLjxYlpcHJqcoR6nKW2HKqLDnjMKZvJcdt3zYetpIRONz4HOGnSkim3C/D9clSbcmj7Pk7x
1I2YvTjQqzY/YBEEW530fanP9xA7aiWXQM9tgBTi22xLybCv+Vi7mlGy2OdyhWRymVQpdX309+wW
s2aRzw+oBY4QUR+au6Vti+uIuAs9I8LB7dtLGz5Z3FuEBN8yucgaudJCFzPjR4hRDEJQr5nhPLn/
uAcNuRDRfe7CiSty5K4sKGQ/tN58NtP5Zro8WFgh8dfIFavLZRtOkhUM0JrY5nkavQZfAVdz0ZjX
ft9yX5OFFq3lj0qA4lOfqN3sYbLJhWGUgy1Nq2ztW2zcBQ9PMUz424oXy8tBBJgUEiYGJI/DKmKG
SGSYQMsq4kVkcj5QMKFsH1NHLXRtPtVAnTiBHO2I57xy4Umhl1ZoSGYqkrbVUvY7h3kGdMNmusmr
Dq0WSPRk6htDBqCRSchgIqK8hsoFGZJyf1iYXibAd2kKYDvFcLIdiuInolsml1HLl6FLMTnAnl7c
Urv6GM1WsQxoOZOarrFS5PQZdd6rU2sfpC34q8yLUvxI48tjIPxrxOTnMwEOTIJIKdQ6WNzPUoUX
1Kz3kplRw66/jvQcaIZ5Ej3m94Trcdt5JBrF+Lqz8D7ycBGC7QPTMMUmMp6OMqiS0fgxyOiKVaHO
8qM2WUgtA7ryUCzvaqZdS8beUQbghEm4l5FYCx0Dd9G0tZmWyRtzdzXz82Js0ZgSAFdtW5prxzH8
zhE3AxeRbRDTguEW7RmNysVlMndkRG+Z1RsZ2l0Z35HbKBnncxnsgTlbDJT93Zehv/k3/mdXXkmh
o+w78VnkYbEp8NifFJsDA/Wr8qsTCtFDXSV8hLJk0Dd8S2TtwIbag6edYYr4A2oLA4EnRUh77Khn
uyheuz5CKzalr2TE3aLUvHrsOL0sOyNbj8H2I785yDr0r117INt4DJm72veIvamUBUpjkyJzoVsb
hsZyxZZly7rV6M1raOaXXBaxlo3MQRJEnrL3MNA9M8jSptjeZrgK5hp7M8pil7Ph5Wx6gG4e0d2E
QcoSGLANdmyFtayHvSyKNMhsTVkdA1kiaQ32ZKns07vDjtnIsjmzdS6yfnrsoa4spJGsprXpX1zf
3ftKs/boEYDT2GMX9tlCFttGVlx3niA5yZ0Y84dkzH9blU5iQTg+9z2ICmXk71rQPDI675DZk+DV
3ixZqBtZrenTugXKe5jZuQXCrmQJNwJEfBqZCzH7+dRYB5yXD004oOakA+TfHp88pYHCEE44Kq3A
uSz8k6z+FRiAARYQRoACLehAJzBBBF5AnMfZ80nNXoBHxh4wwbq1AjBoIA01iIMqKSkmYOArAosI
lvHSeM0/BEjoDldAi4GjzRYYIxdAg1S/BnyjEqCDVX7ngnxQGYkJR8AQpHCfAZWUicAkgwAmvUAn
kYAoIYkZlsAqsVftnRq9P7Ea17J+abInDRTGGS61gDIkjn/OoDQQj1xjUpxuC4IjUE5cBr9J93+o
BOSJQXuIBD2o3mGUBQcqwIMQeMzbZjgB/n5F/wAjkKOB/tcV8d3kQgzJzo5YzkMk1IB5H74ATw0I
lBEb3K/DbViMx1ggqg6sqhTQahL4SgPHmgTQWgTa4pgg7ASwSwf18gX+csDBqExhZStIXwEg00DK
chAzXaAzcjxeSgHT/v1ABQFq7OTDNdDUagK9UTaA87rdzV75q+U5Xzs69gFrALDDf/VB9QOJEptG
AL1IoL1Eq49Frt2yrHJXYxrjsAEGTMADLXBBH3wQ4yMlm/19DIjyEwAx8IASJzBFA2yRdI2LTv3J
MgSPU84e3RVq2ch9Qyr4emy9BM2LwqPFZA9yOYJgliCZTtS129ggPNALdVBO0M52pjx4w3pNpIbj
ayujVrdFAFJ4Oyw0BCc1Ap7+oydc8FQCYvGnGLADKr34IK4+yGsOAlv/w2Lb8G/2D5wVmNYFr+0F
uM2tN0eA3FAB6VLqsPEE5DXn+yKg7wj6W+TNrbE54/XiZIEOOwIT1+DFLbixBn7cFuO90lKoEZDl
ptyQfgmOJ5CzI+CzPHOI5MDuuBsDm/OgU3dXAOsU5NoQCNtPchrcEEAVoNvqH8wN3p1KRNMIAo4k
1EKWwLxSgo5zQlwmgcujljjnoYK9bcoFK9Jib20OjJZaVU5UfLBDg058SajzhCjfFALLVwLQByD1
QejFO1cEAALiu2g3K3REsaMBwzfluyWAP9qbM1XKw9pxa5tJ0fmDBBb6DZ6AmGpnVZd/yMPbjEIk
BEIpzEIuoFpZ2Z76xyJGQj8oeIg41F86LX3L4Sdc3ndKuEEoIS7IHoKOmO5KKA0jBlLymQOwsSma
eqYzT+KXk1DHMLbx1nSCN7k3SDSmpWq6RdaEMy271EKlhIOiIxZypUn196LMMSP6j2QsAEXCwzRC
yPQjx7gPRxMJWePA2sDwA/4JkTPB6JBYxrST3QwqptcJnE8G9zMFOK/R/UAjE/0n9JB8JMCTJwne
05kHQ084enldiLp5M+CYMrgmG84JRV0MvwUNNUQ8AJoQVQUlH5V9Lrs/RmX/wEER6yJUlmGcW6G2
UnM3CNXlCemFUhT6Cx7M6czfQ9+HSNv6S1fZ+1jROOZzgwmF5hwtIdR8agXg1zAWd8dRKDckhJsO
Dq4QMg7D6ymZhnMGSxcJXZcFpH85lA62rbl2yZmkRFN7dsUo5c/2f6MnyF/ADMniPmunSohBUyhC
X8hCSgXAAqEPWTvWphCKA8xiA8M4CdUYCdQUJ2dPSMgYNpKNZ03CMzXSjFVKCEubi8QWCtOGy1QL
KVJV8FgY+gOB4+AptHbCffZCgqZCh6bJSa+YFsIk5HlbMmfXwZ2GeM81IVNrWFWNPnboYf+LxPaY
lKdrJQSszFftNNmnRedzFZI2b3V7G+IAEvo2SdpDbvH2jTC7lVC8HQVmqwXWdyrFMFvaqP8sDkrS
zC+AUQ9af+oaPvROyGOzyL9r41TYxmFQFSGixo8L1+y0G6Sr1wUGOu0ofSjadB0zIZOEwsqBCT7T
wS36Vzf2X2soj3XrdLte6O2sYvCLUmLTGA4yocCrKX6zm+Psu3feLhcSz3wfZv1tKeh0g9yjuOyY
Ll80fjy23EkUkp3gBIhLIwhSm8qLEjI+0Ia96Rz0vMVc7NbvI0LavLuWQuJHQ/5HCa3fw++nnns3
iXvfkU6LLEhEAGxhr/KFGtQBWo4QkTa8VWm9RKgHOlQE/87gwZqvxmy89oQD2wth9H2cHx2RIDQG
Anab8N5A5AlNE9yTaLk66BaW3+WUXxau5ARNQ4a2oeX1JRWUIVRkD1lZPtcz/ngXWnzWlqMKH3u0
0BuhO3LC33z31ImQwvC4JmBtEPEXxWaM8LyEGcKLSCQYeTE/2Anv8MTx1TPhpRhEkWzQnAE8jorD
pzGPoKS/DXH1tc2p2YjgY+kahpGYu32+hhaC47p69VCIeCIVSaa/jkhHJhGRJKhJXJGVDJZxW0Ro
0hd/ujn8rn0UJLoB7IYiZUaZko+lOkwTCGxMBn+IJMpD4QcZDd1A5tVaLaB4FVKXCclLgPRFNwiW
RgpTIImhyxs5xESUAVqZsC+5A0Q/Y4uSJuc7Wy+IaxRzDZkYy0dho4LQ3FB7rJDiuJ1ocqAiBvJk
O1oTycajvaXIczQQEY+7aHrcyck2GjIfky6n9pm2+uaTaOI/NmKgFFFQgjgoFZUQ3OnIZYK5gYis
XpRE9DTeUtsYYU5w5iM26kR0JOqjSnRIoyiSEv2PhkAJIUexHkWzxEZHtyTtk6HzoiI+INSKH5Qy
L0J8791h54n+KRcl1CiaqETUUZyWe1f0UjHCKdA/KkFFS4VGD8Mt8qpRdFbVuGC1U9FuEg3WLGqs
EllWJvosWsYOaLTqk4V0KxMN1yJqLreo1p03fbJs0CaE4CukA7wzvhpkYBhwtfceYdiIQMwQpViL
ZKxGdUSTmXjlMNEnfYLzITOJkaqttY0G4NEYjmkQV+8RIdSc8NF3jWKurOz5TJ86tiAbqLwf7afe
ArCMkuFQ5hOGo7nyyVvKvv2BjiGzJXxpdtwT8c4M21afeKe5DtZJ6DsoQuKLGci36tWPjaKhDQVv
ay57axydo+6taS3NxQauzdWrSiukF/ZGn6zPEKXDydDtTZgb6SEKixN2guwaI6uUAr57mnTnZWwg
Jaam4mPxd+FACZCrjdExMnd8caj/3nWJLusblK4ElOKv0ML2w7MQP7rzRiuL/NEJpBpW7/7QoHic
HLXCYHVLlwgjvk/XT5324b7MS4KTy7+6D8OTXPFi3c1Qm7ANuhd3CJ6Ze9wUbSLFTgozy2Jep7h6
Avu9R16oHeuwoqk4ZF8mSIp+L2KKsJiuaAjclyPTDj+ZC91QFL/VjFJxQIKO1lJRQVW3bpb7bKbe
KygjRseRTF7C1kh7mXs+rsw6Rx6ciBE+z0Xzt+fCqmiHt5yGoIt6i21xQgbInoReBO+sOVCq/Nla
RFDo1avQcw0kiI9WzcvlPqNayBqxkKuopIxH3RDkMAKyjnV02rfUdiPwbYEt6s+wkqr0wHhWKXLu
RrMTCijhwzv9CbW9gt9CoB5CKxy85TpnJAoUc2dviClARoCagppfBkbKR75IqIs21sKh7rX294gl
hFSIPdMFishbDiBf0t2Dv3UdOiSpLAE/roZ+n5yen/lf+/xC9U9N9IY3nRcagVptoRpoqL9Qy3EG
S21QRX/QIEVCkVQK2XQLVVIylLfUDfU+14UUEOHi2S0tlUSy2ZqifrM+icixjyTHfHpSYcSlu/R3
tF/doSZeMNd9QsNqXSOcURipZl7plnbHy7hJpCKpl7KkNDHuy8iN39CjNEncfSPVSoqOJVV6z46U
LnHMPy9Sw0T+4aMZju80ma2rmXqyEeVPRIRGRySF8owvg0anzK9eNOgVdJTNPRuMk+OZ8WHJ3gy9
Cw8FvFEDTCMfpRLmvE7IF5MCqcbvTl1HpVRCt5RLx5QsmWaK7rHsy2JX9H1y6DU73IwZ9dwecVeA
alS/RfRezyYQTVpOBy9rC5ExSM9heXFJvpiwLFQumvfFQaISOQtHT8QhuQh+s6h7qMiBacyHKUpL
XDG43trJ+qNI3MMX5DH/6OPVjALz6A/x3ip63P/FW9bTjmBjzQHjdfU3DGLomRM2ooywOqwRpW76
rwi7oFZLquEmvvY2FSaICCA3zgne8c8wjePGkNKwwbhOdhWcItrEJqkVayygIjIBTpGj9Xs/Kp7K
0PmZPAoda6ch6jRCQaBnxxZ8DmaU5jIazHRwsU3MBIBUSuRaywPdVBspL20QMOf7SKrQbLLqecfJ
niR5eDUXmIsUzWkkHVMydkVB/O7rvbYLaFgLpGqtp3NNSfmaRQtbLXVsvRSzBTS0wV3+qaSyzQ4p
bwOJIZ+fUwoXzoerdZD07e+ROAHMXlS/jVIC1zspdy9dn6s87nidCLokvqV+lH/rGluOV1Mo59As
N2cqotayvyofK9zYXbrS+2Vay70mwXJbE+EPi0Vg1bjLBx4EmnQ2sK0j4TX8hdhVjg4ddz1dd/p8
JuCN6y+n+VNJs1eDCFNBw7r05PG2vTr05qG/Ipd1Z0qdXiooSudVYtL196WU7o3L3p2X56R1KOP7
mQaq+UYlZ5Z11aW0LyhBT0t6/BDRHMJSPVlS8OfR9JdkfbXxvV/IOdggpQwQlf5CER5iW1bA9SPR
N+4K9REmytJdNpRpdKtaugX7p1aaBgPYCVt/KIPE+EKhO8fTU5S751EqCgs+S0NKCxE8/rbonZmk
zTCpO7Jy6iM+9ztvDyR2eKJ9xli7TbsfwuaJYheOybZ865z0wW455oOBKT7iYW4zF3lvrdPMmh19
qVpMpHTRqvtbKjWM9r9CxkZ0CVQ0mj5ljS2tjeRwOruwA7CWQsdeqh17Oh5V8jA0YG1eC+a+1Pl7
T2ISPGjx5oz5PZGiyNT+o6kMp1tt+FvN32ZuqZPx2FwUlxAqpPgeBflPDmGPEa/9FU/ECVlV9hjM
4C++36BwkNpKg/5KMCc6nFo++7DGDdC16tFTUndpVuA1bv/oYfFnhXHWyOeZgRmHOguBRqaQUOgz
y0NhWH9IJiGaor9UuNHCgLLN3rOfO5P6TXYqbg14LqSK3KZWSniKPqXnceHuU011IkMyB+yn1BNV
N65vT9/HP2Vb3wYp/3TaQrJvWiIgIMHcb9dHeK6WdoeQ/X0w8lNP5lVBGWHUw+4CpdEyatE2+j3Q
O2pX45XQhitHB9KjTD1jWl8PhB6DI9nUd2rE6NQIV3u7wpY2HYyWUdyk6NT3nb8jrczSzEPAEvrr
BG4iJRmwSN4XKUvFw5ARxQzXvpSLuatK72QgmaICo3s35vpRE+FMjbT9oFfYAQqi7pURv5XMxKex
4f+o0uwUZmpFrnlJPC0LrRaiFUj6765/XoL+x+w5jsIFV0gw5feioMbWkYJYWslXkZc9AXx90HjB
oo74djuCNvZ985HULD/kqWJS6Pg9+j4fQju76LqU0uIsb2ipJZaOUpaBwSCXCtsKl8/YT9/JaIHG
S80t0XRbg8ttA9PEQGVPF9fGfrPQjmtniO7xbAr+lROcNG+7jqAcrT8SVktCvcXKIggIIM58pP4j
WXe++MpoLY7i9qy5SX2IicePFvtqtvyL4OGqGx91Wn3nqaQsN3IeS/p+E3T623Hqf00EBK7QLn8l
I4NKGgDJprxcNUrQ1ZzjzLHn6g3I9hiDFu4B5v+m3D0gzNqIIbcAWArI/U+60ThmevfbS4AcF9uL
6AkeLx1aQLbDW+BVJFbB1U94n+am0Y8wNsz2RFZ4wFCHef6uKV+O7KzYRpV7cJzSIFH7gUWaqhXO
f2D/8ndfzTd+bJz4IS0ANoZM3e8//dyutn4C2NEbyRsZYEU/Ih0YucTLkcTz3hnuOcqG/UBU7j4O
2osKD5YKFFhE+TcizIfGmgf07RqPWLXNQAl3ASG/ANc8lB63YetGFEIkjXP3RqLcOtt6z50UgzY9
U75m0HrQahdVtdyo0fJdTMHOsc10TztlviGGzj06Tk2nWC4RcGwppwjPHdJTDY96Zc3kj8FI7K0K
2T4yRiYdwjbXc9+9V1AlYl3GRXKCMSfVC2/pEVE4cGZJwEQPAbwak0xyzdHEVt2f3LFJFpvABtoS
1Ss0jh5tHdXHOzUYAemMBAa3Ns64vn5FX7ceyPHnAdhHI6Y93WLP7rr5rhpSzFxt3i8ded39fMP1
/BO3VDCR8RtaDLrwFMUqo5IGbyuBnfkQE1nGK9+QSq7byE2ZMIqZ91rzrNU86+5Grzx6ncLPuWsc
vMIubWslPqaE2qVN7QFNVpY6DkX/MrX+l9ZoCTEvMcb1leN6ybbpy0OblKdccNPSQHGShya7U5z9
VQ5ZOJU7vDcJ3G1VZxLz+5JbbC4VIGwCHPXAdGoPcg+HM6mMMxa1jmPJ5F3i5X4fnBDERm2Urv8h
9JP2A9P3tmal7zNLg0dyqYDPzHY7N8cCe8ZWm1FHlcQX2hEnWXWaF6wpgRaqHWNj6x053rN1rY2g
gY1GpUj/bOZJtkVZsC0dfCYJNgKKt6I9CT6YNpvuNTe7d5DvQzPyh+aMlj4bFkhSHGANfCQOhDe/
qg5hON9ILPmkdow+nooChJY2OHluiCs/4w1L15a4F4zE/W7I/yad6oc3ZEHSiasoz3WUM9Ztyola
dFrSL9IQEaKLuXoM7VX0XJR1z0aAKIEY/33a8DknnCkh8WUDmbeLm166kQF+Nl96gpEG86Nw1E0r
tS9T3GDMQevU4girNPTgi45lhz9h8tuvNuU1nwik5TN21i0VfgNIw3YbZc4PxX01YnGQPj1sz7XL
imOSzDRFl8Z0GL3a6Vde+IT2V+27rhU43+z5gcGbFtOm/cVzNrvde+qmCJd6z+OZrIFDK3VfVEHJ
CI+ghutzGP8u5XDzl3bckUt20tJzSW4nCXKHfqBPxpwoaRgCVpM42PeErq5Y96zaW0sPn/IYtOIp
JFakgVAKU0jE+VEzOdWq3GJK8cpd3AzPPDXnwsYFHkT8ctjC7kZEn8LP8Y0gyPOJeOnz5jo0Nqnx
Qd6tnTFFxq8VZ58EFNygZEOZA2V7S/9CulZR+1D6s7ecmtB5yAeXeWshH63mTSYXqtgsLgi3MvPm
B1rQJ2ZeS4f+pBmNuqTKebL0EQGuoVXbcEZmOI9OSSMz9Rq1EVMDic9EVWpiwcD73OPveSWgB/7b
iW5NGBWvVNOAwip+4nS4cUmN6QvLZvoyB8PnwhtLYWSaviRlUG5rqt8kqi59iZ2aHi2C68J0+HaH
srn9+4+yWn63XreQS8kvdVrbHHDioWu3YNE8Zb1ywA4ECo/po242zpMumbE9X7/C6Hao6waYwDaH
K95x75xRergxsEecSgS+a+p+LWD2pAAQrqOHwEf+4iPYXHW2Jm2Itf7QF8NDTijcQzJ3vwmp605W
gHwnga4+oMgnj8MgdZ8fhr5GIVDfwhZFh4oKAnWLbehn477x7VpyZ+tN6NtwOVEx75EtIbeAz3uM
m+DQqJb/Jb/UyX/THftYhobzQD7sf/x6VXVkTmGfXtyoPKS9Fj2ruIyezcA7LE2a//r3v5h55jXu
1hZWNel3lq2+Iaj0RzVKvjdOKEIf8qNXBP4+zMUE7IztnQPI29I4h6eR/noC4d6SeoSesP3p0uvh
JwIashtq1d8Hh/Y5nmd5yw29PqsuOg2Gm79kroJxd5YPPaxakKO8PRuLScy7FZp704tufpcGH+j4
rHXXB/HO7Ix5TUEIVDls+85d6gB+8Fc28zMlisU59mXcnLOIzSkD/oe+UtWqzb0GxU+YHc0wVns7
MD/zUIOmnr2KB5GwA92KuPzVckZmSqGSpZpd20m1hN4eyxpGdfBtg5An47+ydx5Nkhtdd/4rCq2F
VzCJBKCQtOhC+epqb2Y2iB4HJLxLuF+vB0MZcl4GJ7T/FmTQNbsKJvPmvec8BwNiPdjHWo39jkxz
kNKx+2Mu5LnrKnquNKjuqKU8DDrRSIO1vpTan5AxGubdLOtjkTr0WWrHfG0WrqedW0XoSQi3JtXb
k5/jY3Tbz11hXCAzf5uCVNzPXdDee370XOC0ntLaeUv88WU2KdbyLle72pTNtrsb2jmiZQ3BwHXe
Uts3nvNoeNAkWd1hqI6QMt0UOA9uS6xXJ1RVG5RcHgcAnO/teiyNZoO7MuCu1j0/dvZzLMPkzRDR
TDxYoOjb92R90Cnx9racYAA4TGzi2psv0u9I3nYcug8AFw+ei+250hmanAXWSETyS+hKwyOT3cl3
1YrX8g1U8BCuNnTKOet5GTisCNilzJipNevcl+VdPDHc54NhxYuB3oSpr+yDhXmCijr9xtGsRwhG
jR3XTzHLN36eYE9zGBcSM/y5MRmPkVkABsFEfjO6AFUk2GgOIpeyx8/j9QmzEIN2rm3Y1zhqg/vO
KYotgAJ0/GYc3BvEJGEoSxAiTRnZMx7orMHrhueBs+BBFOsQQu5de9hUk+qxglWoa+zeQH6PBos8
qFA6HxM69R9awdMqDewTWGyotuLkSq6ivyGjodhp30YxA7j4nCTBUTgfkLkkp7UleZCa5VW5AiVQ
FL9Mcxud0NxN96629LFoBUEmcnziJqEMj2V8i2QDx3R/nVHaPAdGajxJeUr4jnXlxR9wrsDQMOmK
69i+K6PS4sH0SRKe+2yfYaM6DT15IA7b1JDw7ghfOWFH//lOVxm56yaxR5HsH/xcqAt0/3dkC7jY
tIku2IvtnbBb9qV8FifQNjQyrebtjw8i6KwlQ1XvGZ2TCRSbF5ovMVo5GYQkIZY7najPbcfwkMgS
TBp5SvIPYRXWtdcNHZf5C3MM8mMpF9DbMIVfr0FSOuM2QMsFz4WgyFLXDylNLIXM827y/GOMPOwm
6rz2ONjEf8ZekCN152Ts4t8dSuOxFhUHY71SU7JlF22zFSDSUfadZv8TbgzjWUabwkWNIAKzpHlr
00gphi81kCwouevMLfuUpZzTs2iJzv7SPFNWT/dZl+KCXj9ib8En+Q9B8O8EwYH8J0HwXqvy+wfW
ta770H+RBa8/979lwZbzL7kKgwPh2Eh5fY8k8P+jC5b/QocbSCIwpW9Zru38v6hy+1/SNz0SzoXH
4dmT/A+7P3TBlvkv6gnhBI7lehB6/v90wYLf8RdVsCN9W6yCYIvPiCgYQfOfVcFa0ZxWZXPn9cFu
TIiNy9IVicJworK/DRPzpqBxopOvP/uzzYQqay65NkfIRglWkVio3dAY9UYzRke/G3/qLa/ZC91J
dA+ohKt6OOVaSxZYzdgUT84GiF16lswYdhqZLA2Wqt4splLY82bnLkGwtQyTeUyimGZgHByoOR+L
eWsa2ronGSBq/eHOM5zQjVDbkuYXQ9Evi+Of7uR9lc9xVf6nUhf3lSr77n/8Zxfh9a/XRVjgb12u
jmCoKf56XbIWnlPQJXedr9OdNCW7UTFhQWy7L4bl7pENNVM8UC0UTC4Y4Qylj70cSBjHwn6XVgit
C+VbOzBgxZYoGCt0TJEehT/tvHrRF8Yv32pclhfgnh/V4KJk8WxxMnzrDAIZHnA0pBclVEFnw0mO
xb6dfeZktKQAgXsgIub5kCF73LROM91H/hdQWkhecDgV3PENSTXAb4FqhQonVVgJx0TYN+5qv6vv
AthD+H6GS0sHFi5aS1My+G5MiX1C6KjA8TRvdUmB6mvwWRy+//naCvNvri0qeU+Ytit8+6dS/evH
oypj7oT1X+wGi9ogjStUm2o/to+dX1TXeDHIjTatozs5yzZpyfxRzWsHPJ6wR+fNkOazR1YG+Pbs
CZQCQ1FoWRYWyJvJdTMQ6T26XK/Ay1xYkGSt0iFZrh84qaSEuzvt2jcj1z3WmIMVswCvJaKzVD71
RFqg5nA0DtjRPQlSmRBI2N0+4P28j3qGRDMzvl50r4KX5Q+fxdfpv8XfSV38twfNXh+kP/7x8RvP
nccLKITlex6yfNszxS8PWuA584yU65oT2ew1MgoXNH+hzH6IfixDkbRkWI0wsvz5gWPNSz1GO5JS
CH2e5hAsYIZqzMaVt4NkhmVMQXVMEJmQwlzvFjv/0aTkS00+EMM0UtP2n++k9TerhxAerRhpW8IM
nF9WjwGciZXMwTUtmujO0s0OBkeIwLbeFfm0QaUDfglRsO4RomSdPIskAJzHf0RPufv6zx/m51L1
y5V0bTPgEkoWMy7rX19ZiSOrE566Yw5fAo0hTMCgaQtRP2jDgg7o6jK2tlOQV08kq990E9L1Jm8+
phQOmQzo71qBJMzO2yc0wnaD9G5l76HO65bxQVMRqs6Ql8A1rvfQkqfmOWrmd+XbihFFHYV0pw3s
StF0cnDiDsxiuqUxb50yYdYv11GQYX3pJ8z8RQ6XssFhDDkBKa0L83hjNKW/G5v5vhiJxp0tNV83
luOMB8tktpR52Bp0/uzS0E4KefjnK+ewm/z6DErkl44TCGwqPNZ/vXLZTLiMaMW1q8Z6RwrDQaTL
Krnz3YM/OluOVmCbJrHRhgaVBSFuU6bXwmibPecjdFdIh4dU3GbZqDfLDGUP8jqpPHoM6+4ieQEX
adOEKMhc9DwHGBUicDtX02HGIDm5FSgSj7ZFI8zh6EoSq56kU8G85pC4YVFtmPDwTP/zl7bYeH/9
0h7uGpJP2UrXputfv3RHp2EWlnnNp0ntrcFq6eTtU2dqw8jCNe0lqt7NktRbvCNY+U35m2XQWl+O
X55Xtl2qA+m7jmO768v1p2Wwm2yFDsS5srI0JKGkPxg7SoPQitkpHkoTAc1oG2R9mc9cuRMkBNAc
67v9z9fBWV+Lf/sY0jId4QI5M38+HH/6GGace3kwmtekK/dOz8myF98JZfQfVMrA0NDtrd012e1Y
y0ezit7peohT31FP16TsETHls++0hDBpPCIXCwxl6UfEQaRvaQf4xU2NgpEXuv6C2SPnVA4fzCzC
BZ7aJtAkVgbMjHn94o+GAC4VxeKqY/jxdJSRQPdR8ZvL7v3d97XsgP5JQH2FH+uvlz1xDE6HuXlt
1HQ/Yg68scuqfKHXW7v+fM0dzgKUGKsw2X9oTuu4GtEDbht6QXtMwafGaGjRrfHPP1fa2mTZm+Cy
ZpVPX2nOr4E9RKGZf+v6zt+bbfdglQwcp9n4mjUZDn8H6XVfxYJJ1WQTQmjvyNvCAi8g9+GkPNiJ
+GzO4jGl7ba12voe2w6E1gbrsa9FEbauS1OoGjSxKTJeQ6+mrZbBq7uPEE8fM2/i3Nyck8pSu0iP
fZgxHOH7cPS2a9qZkE3LNQhHMTPDmWQHqDSjoH1Q3gMJa+rW767ec+DfSfxUCCWDa9eLatfCk6MN
s6cbU+9yBTBFTDr73W74NxuKB6d5LX4dXj65lg5/ehiTfkxjZWDMdwihNIMIKptVfS69oTmZNqvG
skwunpf4pgU1sqmhaXmpe0IItc9wO4W6qesdcuzXVKGTjEyCW3Ja9aLty31lk0psOCzj/tBvuiC/
/c2L9HfvM4Ql11xLaosi7a+fPR19Q5R5f3XthK4/5OthMbfDQCRT5GEWMt35mVkkeTukGXZ6PIGs
REgQeZyBk5ZUzqbiwaiE/UYL44Ckq9jTPGdcHU13Rp+mVw7RFYJD64DdE3xbCUmYDcklgGGqwi71
goM95pxts64OyVdffzIZT//8Jf9mp+DQgT/N8yyTP355eQSmnTlq6ytuEbjwU3+M15nR0s0fdZM9
/vPv+rsXldMRmHHqa8vy1xL9T89CnfvR2LQrfWOqd5GhfhgBdc4//45/KxrEevrihWExYHBs/roI
F5VtjoFtX+n+M4iyaTZZipcUwMnJzgRoypxbN4CQnxMRVj0y/ozaIeuWlv7LxQD4cidmtS3I/N2K
KtkLFJhmkNSb1XbP/AKwmpOIY5WeV0+UnsEmLlEe9lo8Ga38HBkoFBj83M+phjFjNWiHYqCmP+s3
vP/kQwZ3WoF6j+aKiq7gP5i6+iXheMSkyEWeAgR9v2is2/Q7KSGd4tK68ypinh7rBMDMbTR0HCpc
8HS/uXYeN+DPOwfXzmfrxE3mCgGTf30h/nSDltqK26ZorgH5G10s4rOMkKjPVstApTP2nWcacCmM
bFM7iuxVj7q8LBf0uOXrTM/2QucNvY4DP6haYYO8o66PfmgsKhLsZlIwVuN9zdlvSScDeVq7M+Ag
771IBeHCMAull/9We2Sb2RL1oTQUwjre8tjtjXPt9Hs0BdzP3iacsKofqg5hjlVHDnVMI7FpW8nO
ygKyWZc8O3Rmyh43mNvWA/yOiAgnVnAhzC3eLiwq6GHJFOEU7Z0n2/821EmznZfmMQXzcv7n68pm
9DcXlnANJzAtn7PJr/VYRVYiIuH26tGfxvVmW4+L8m+Woj60hW/dj7IhU7Oa/tiLHbdbbqLMIhaz
Kx8G00XKznE6bNNcoR8jDAqxISF1aFxdjpPAnXDpeTU8Gs+BqKXT2xZ9VZ2M0NA6G0AXcQ83pcwb
uEa1uqYuIR9OY2+XJXvrAkE61Bhg5Vr7d0p8ThiW3JKFAZd2aS0YTEAVOk7+Ya1YpQc0J5usTYeb
yf8C55m4TaefwxHDbDaf7I4M2imwaR9IFVyaRFs7xnGM+2x5yHr53QdtRElR3MeoahKL/1ejg+U8
sElZC/6wuO/y+5yUqJJJGMOAGkoYionZ4nXm68QoQmvQyLpX4thmug3NBMdpj8Y4RJh3tV2iOZO0
+jqvRy7lQ6QceBXdSj1CwA14l8tTM1oJBW6RIC/0vuIv2WsUQijJYvNkMdiWzqkzp3faNTCYnO8i
jevQRZ5MikEetrKaTqQFK2n5l47wA0iNyXPEVSaLMok3DhOQDYvS0SnTYT84PiHHTbTsPFFMO3yR
xsaTbnAsKwzOXkGDv6h/1LYBErC0b+tCb+PYc8+kJOzhvIIgqrurHL4xR6T5vVaKMZLU35SL7q87
wPrSB4wtHRMkdOD/ukMv9SQWH9OpkaUj3BVWzQg11J74LSyObpRv3NGlNZpRv8MYNKC/uc+R2an9
gJoOB5+vw2niLa5jEqlq81qtWvZgaIIL0WbI0opVA5ATzztb2W5mmEd37BunXu80IkEzDDe6JgWs
RKsPuFAOzWiurb9mbOphOnpkUhfFMIc2LNAtgSQ9qlUi48b1QZxT7wlvj7jBFHOfGZw/FPzxYB5K
+iJpezMI9V32/W0ScM+aAqkACTa32iL0eZlTGRrGMIGs9xEee7Xa/+at/7UrwoUNhA1CgFiNIPB+
PY8o5mOu0xq3PS12REUp+P4B7rCL95Is5GxPK83ZELsw97cuxrHf/PZf+13rb3dpeKGqsEAN/np4
JnLYiQzXv53amRSa9kVaORhd/Nd2wk6vU4vcwhQqke62TiIdsB7c0s5i6ByolaPvY5hy7vRS+ehC
nZNFJvlvPuHf7DYBHU+PmR+sBGcFLPx5t/EgAygd4INKAmszOd/8DB5yUE0fY89HqQrzIcZ+1kzy
06yJBw9Ik6dAzghWZNmZGWPuYmRmEYnzsvzNTshh8d+W7MA0TeFCwLeBPdi/nqKkZ8Lb9apbrwuY
Ybo45NJleHaN4c40I0ArCCJo8cvsFCUIrxLG4gstkpvWYm9pjRaESbqwoWwSBbG4Xbr4tqx6n0jg
D2ygEFkSzHgIKMeQwU2YB/6lXsaILIcm2QAJkK+aCLN9MJLwl49CvkqgyeE09xINxSqp4zx+wspO
zJNsNbzBqnjNU15Avx2MCyRPqzadxwRtG6QUEII//1YAhEFkTRENERKJ02I/zCj8n4Malmnwgmuz
flqswT2OBj1Sf/LdTz6yPatx6i8Lg3mV43XLepXsgjW+iUxhYofyesVxGWugVQBgjG4vAw+cOQxX
DWvyTlZ/SzETna1gLvb+rMAswHfhJ4hRFzO7WLttZ4Fpo3HGU2ck5a6T8qB7qTYyuHqgt6cFp3tj
RPfdWAMhFXI86K45EJeSPiYzxi27S60T4QD1a2miw2n1nNwOUtev6MaejSG9nSjv33uX8OHZzw7o
jYtdzvRnH5cqQRIrCjgvxWPsW9+HVh4QtkOGDCBy+8t+GXPiRSCBM33uNPbCULReu8HG2O2gdM2o
3C5I2R4zP1M01ZeTlbR1ODgLsJzSGA9iwru6GNG+lKm7bZLpM3y37041MsdqIn8XR9nDLM+BiJd7
tlI8yy3cJYmUNBgBTxlmdJrQy/dotJ3JvgcduM2BeW8dgzZ1qbrHcXK33kKwSerUTyaR5Qc3tb8R
xXITQNRGBVdDGXXtOzSZYlPriBajEj+Qn7d3pHcfiP/7kbooq3qvumMtgyPQ9g+53z4GHU+XsxRv
aPReKFVtpDVITEIhvwIXIYV9/oYJ6s5Y+GEc+ChOOJzAQUVvCPQcel/zaKLPNI3hNOXD57qLPiM+
Yv0pxDZexq9ybG6QWTnwpPznrGhpzOg7w4cELiLvEuXOrrfAtsN1LhccOSOFsqUrf4OCh5wmfYyY
i8O5zG8DN31rg/QLm/pbkkpQb/CfZmMbtxIeRkQbfeoAWdCMd+P2y6S0Ap9Vx5uxhAJhCmojJMtX
WcyvigcJSheH1AAVMvpB4yT8Vh8KdBgzw0xUXH6G17t9MhK/IxUXjR3htBq7hd/fFEtABFdCqxRH
462AG7u3Df1GijfOEkHCWaZ8oqRR7sOHZGRidDGMUwPr3ZxEB6+b3Guwa7HIk5DEdUod72J6vDlp
o4kcG77hRh6uvcuVHPyjry0DwJS1CrtCJUZn52OW23k67zZli9zIWbonCEYbK3F+lIkPILAu0fNH
AFE86zQPTn/JKljaFsVnOGR3Vm2bl4lyP59iOnYEmxS1lLBTs2sDk+vcBNgUQBKGmZ8U20B75QZQ
vAg47jBEn87DQrzTFL8PBXNQTyWfmJLyajYFiLnmDHpi2XirpWUlZLjIhYg29i99BTArbfBdpiuo
MPKdGu8AmtoRnAuSmO+mW0NMyok8HieUIO30Su54fNOIBmRwtfFYQUg7JN5qvBma5JsBAyFMbH2r
U04Oo/nFyGdzH8RvfgxfJi9SG8EssZm4/boUhvcYEWXczCTV6dw9G07/4fZ6y8n73c4eC8kgSynM
64Zl7pa2ABZGpB/G/E9Y8rIbmRgWRxOqX529qKXWG6/OyYQCgnnTRymttpXW0gXzgZ7lU+zP6SFC
89hgmNvYcfU1MCKs2DXZvH0+vbHSv0V1OqJz5FECFEjIcPep9b1vKY4fLCv5BiTIdonUw9Dly4k8
+4GrjJ52TdmYQGNnb442i62HO8kaKqYK0jRAlr9La0q3OiHDCl7PoexsnyF7Z22LeLLvrDbxbsqg
26UR6gxhwCFAbD+iaZDioKYjy5fxaHTNFxpKDE5E8nVR6Oedyl1TyuNPCnjMbhb1D/hwiFKwuXZO
lIWTMXwTTgu6cyIYNrNW7EtM6IaJA1RaxqvICgyz8q4VQ3KrdAmCuwFLsWT2C1EsLho3Zzt1H7Zs
aiLO4mKfZe25Gq3iFLV5Dw9xnMZdljZPjEIRlHk2PuJiTUtQZsOOwYIcFGCUjbY94LFDMpF3RO1Y
40PQBMG6OpxJxPtEx1iQBpDiGLOrU/5//0QBXp00SLoN8Fj6YgrjEGC+F+V9zB00JDb6/sYZe0oA
NwHPkGU5duv1h7raR7748y9//u+yfnqjPblGfmfV6eefzJYUs80SL7tpTPz9qCLMHz//jViltV3+
0VYFYfdt/e7O9LlpGMcUjJMRoEhNbL6P3noyFI18Sub2Ry8fZm1dIyt7QnZg01bm9y/OdCwGntGx
qPNt0c9YgEvPRo7gvppZC6/atj9pt/c4Eq4gWyO5dCXqJmW92VNCIq8/3DgFgVfrFQ+KqTjJCcE4
IrNtU7nPU8tBlAw/MWNPtIxRbS3VGE/2+pLPiYn2m7UzXHwlPikLvWTp346U5yeSyM5UWsvjbAXL
Pp6bzaICWDAQH7fMpJhW0ukcponeWuqZ6FvHt9ymy0nQN2WBvUp0InfF6ZBrHdS03mrGrN44CHwg
49Yx5+fGI3Ip2MMHeg16rUi2XY0BPkIvFJKg+V8kp84batHy0hjeOzLifpN49aPum2Ljp9EPo4X7
wmx7uYPwA8KW6Fr6sfe1v1ibZoZ46jnuu+uZVO6m/Yr5M7lPu4snmuC2ZXI9JKoPOY2QXiucYru0
KT1eDrW3VLvVTaZltQ3whsuu+zIFNP1MYYTTaAVMfWtEg/krUWTRBXGvcSy8ZocumcqmantodTFg
iDgG2lq4V8PScHjQtTE3/yT71jyiqEke6K5F597Fb7RKfuo5xprndKE3uF8adZ/GqbjQrYSzwx5O
msXEM0tsaN70L1juir34ag35M+rCbGf04yGJvO4Yxd6bKTFXYnD2wtH55spoQZZkp4fcTYNDPzMj
qznRTAyIX4CNnXWEU1Gnl1l7HIGzE7h6mmFO/NiX41Vzzy3l69tWd/REeSZZ+cerpCZd0tYOI4RJ
cA5BrPD0nomhyM8//8rr7WIDrhJFlGaSm64ZztUSvfmlBYwmE3ixl4kext7zEHFPQ/ahMDHdSDN1
2ccT4wbB+vsiA5g/hPI4CBs2U1kB0o6XU6nI0eydAgS2rvexMz0Fc3ko5qrbVxz/8Qk720rVWNYj
53u62nUk79PEenPnNeK7M+QCCFpAW96R8yWx6BUC/kYpPL7UPkwkx1XVj74RNT6S7NQRdvgwzM2T
WZZ1aM3p8D4uitDZKT/h1kZniEX7prSc5HY0W7I4MwXJsI0QjTV26Lu5f858FjS/fxvpd+BtK24L
s5BoendN635pjQ89ZOnVTMYrfx+R7whXaDI/pVjYbovaYzBv1ydsro9jAxckpgF1FXT/oZiYIUSo
ejtWzXDULTnrNvZVpy/gWxYdrqKl93BKGidvdqdDBQpkA1jAPXot39cg6P2x99RXJqL1bkyjmHZy
TX7RxBQIGB0xXf4uyov2yl2sbqoj2zbM9Ggge0R2rzqZF7AKbHRqhHhQmVMIXeBkj6l3tQebsCAS
X0jItTeFSVntU2UzjgVGNpnmFUcXOTNdF28rlJ2bnr0MDphxJ/sJ7obLe9ZCeg4pTe7IO6m2vGjZ
sfPHLyh8zuxgPex2akWqiX5bWYuzARR0xe/v4B/R3n5ykX+n2higaNWh9JR8IbANuLekx5C52WWF
3RFynF8y00nZOtVTObb6SE7uZiAEFi8G+pC463C2Lva+FeIdhDXZOmbxuQni7uQRoWTglOniTj4m
BkQS6ZPkYkR3SngXOJrMU0cnu84NZRnLpNOQmVOyjvYu2VdBl7uHDG0GbHQsZY0++W6EkL8durD3
ArnLhwQLvU2/2NG2Bbq0bu9lv3bXmMQu0m3eC4yLU2T051IMBrJHi7XGXOM7CRvb5+VjYlXqJRvH
A17YbJM2yIhTnhusz5JC1WiyvZ60DJtApWwAWGfcfCAQnG3goSoi8z6I1QZImf9By+EmWm+Pihx9
RbhNfLH0H8moJmC26N5aK1braXjaRRADmfdH8aeEGBZD4y6O2o/FvAe4ok/DAPo11tmPLKUhEPD6
nUvgRRszab5ZfHvCOGwWbA36TgzeV9UWhABi7+2yGHqVO78M3EpeX6y7PkwgtyLJkNM+sr7Kfov7
W9G46jx4HLxqTk2ynM5UMvPOwJ1sF9ZMeivrXptQTxEugEGncsk8aL1tIksI7WZ/pfO/VxnHJmyq
7zMIvjuvgqqDlfyu8HS6Ne1yzejEWmd15mflf7Zm0V5G4sJOuTdtjSU40aU397lLUiIi1ylEYFGf
8oY26ERy1b7maMwRL6rOidns5IRXvXfLp4wj7ramTQDkKcY1bustmb7kmK29Ekiq5bnv4BG6YnyG
j5LdOBP++8Zmu1asJABIAi69Zy20HuJPvhOb56kgm9Ks3h0PiE0svWfbbkjcMzQmB5oBVxuNy6ar
jeCODvclrcsrZG/15nfg7Ry+vE3vZy/WRYFxgRJm8hRTPiQGs6ZomFpOGEl5ynsipPFl5e7T1JZn
X87DmfqY1HARpQ8EbR61qOfQ6n0mqDhnTutSVPQ5397v5V4J6x613XKpUwNjRHrnFKDXsiIRZFtC
X2hwZGRF1wIdjzIgYiNt8yIrd4EJX64KSrWlTWbz4Js82H0swwzo+xa2D6aGfjEOnrHM50zTDCkJ
g6A5nV+0qd/ikSBut86oswYju/iLj3nZH3AktzB2kIlv4A9HV01L1/NoqSbBw9gnMM7N64wa+CjG
i+XimTMqxz1PWXSLLTU4cy2hBSoapfVihmIIUOqmDc3K9Hsxpdla6ZPLiTrm2Z7Lbd92WBctWZ6d
tn33SNk9OqkxnKuGvECVPXRuTjxrPo+7tklSAHTpoZeVvssa7YeCvL9wodwLBRbTTVFGRtglHkLq
SQGtGYZxP4/TI5TRawzOYGsPPif6uS82tJEOpg/3xbKcB6HGCjaVq/YQSfbEu8tbxgmPmee9Dalz
RrpGC8zgX/XSyJEqSx6F+Ky6+TIyCN1OFBm7JXGxk9cfHBiKLZusiYOZoMXC/zLU9Cnjo67hfbXI
gTAs0LVNYvccuV8GxM/AVOxyk4h9VidU2jWumyCVn8FnKjwO6ZupW+dcVipkMU4ubvmaVnNwoUdz
jTuOwciPvG2cxMYhzpJ04xgLTHoufjaTgeIZ26DlZOeYDkQWkiwT+nseLbiQdjKbgQRbR07HUeTO
O04G+pZuh8wxGBVSrzDyCfdsgqbemWIB9RNZJ4RsW0uvuVeBXXzGQtI5fHYDa1ORVs8iS+KLANrT
B5Z3sId36vrgYiLfuLFs0dHAqUeOF9kP/OM/2hhHAjE7J9dt7f1YgToC4LLvk8hn3hmQfl5EwLhn
LG1ALHTN3FMG32JNTROzW+/zvOfkvBhAKc082tbZ+2T1epdEZXts8xhPC9NRSrrsNrPib1Y+vyJ5
BEalTR5b+1n0S37glDRxmm0Dlr4WC53nh2Q3Xc06/krsnQ7zZLWc0P+8t5A5aYux8ggSY6U42cU9
J4qDi5P/mVYUoXNudYpmjcsqj1YaZk7YL1WBOU7mbWrU8ZYmW8r+xz9XSZwjrcf031j6JQMUD7XF
AdDWAcM7FKYSO3cyWnzQA9R9kwHG0mTo05eKKAGXRHJSMkQoRiLPK8rXUzDaT1FEfP3ciUswnE12
8of0aNB12nRUcmej5E62EExCugRstGo8z2b7RO8QICic1ZuRGMqtBXMl9HDSQHvM26vS7SsWp2gX
SwPXSec+zJlSz+NcXexLjkrytmFROiw9HteuHO6NoRuPGEgU+LR+IiKYGyn1fKntqt1UzvRl4XQV
plAwbmRvbkedakyt6h6XB8EAI/YCu0ibTWSO1tk59TUTIzKi652sxket6e0ZGiUlYJJtN4tno41R
yTcFnt9herWXhNH2wC8zwcoj5rrapfMRMKE6lIHxgkAfbIlTRE/xQKBeu2R3qmF/JMqnQNWDqN/o
xSP+E0JVRnPG8AGCo8wYsrYFY4Qcile25ETBGN2T30FhM6PevFOq+ppq279Ulv3C240K5ZRh//qi
G9/fAEACCM/O4DvpvJULJ7chUsndzJ7P63POs3KASVE2dEXkjn2k3qphnrZNlACn7fBsR8H4bSkd
m8e0UleT8os4JavfFTOKvnLkEBXUhKU3bFpZ7Tnnno0W44BZE4RqHKNOx5vY6Giaq9W1HHfw5NB3
IxJW12hKCGahkgkc47uzsGbOWeIfuwZJB16InW3QEItbf9yobtmBpCp3OQfRUFRZvqXjhBjXHVMG
nQSNExV29inEH7Tr3DYptjtm1s8LaXT9lKjd1CbFht4aJZ1v7NgerI2Nt+xGdCILfX+NzraxMjAd
2BOiNjHbCtDlqfJSWgEXumhWtD6lrcDxfGcVw6OYg3dFruc1Tp7ScpJHHJJMm9eR2mK4zqko+T22
O7wlOtsNXdVg0hfnwR+aQ03IGRk3pKz02mUWQaaig/6BQOCStB/gPjdm3O+UNYFVYxg4m4tBhUPA
imbJ38gOO3NUr5GjynvJ8BqecluhpxmXB9OCA5ILqD8BMNcbPwi9bCgfCRUGgBOdO/OlG6R7RXJL
oImnSbTDO94yMvR75hRqpD2mb5WNfEHzmmx6YyXmu9RAsd082AH2dHLmX6eRia9ZoIePVWRvVeRT
+WYGMWlQ+XddEVENcZ686Np+JECGvE+/9x+dKSH6LL8fDULmHQtvb5z1JTYmu74vhvIN7RDpI6a0
H6GKYqEHN1AVnsKWl857JmxB1Ljn3itDpBuAvnBDW4bvIrB1dhjLCR0izpry9pIU6C3z7MHgRBNC
ANHTgBvcgPmyRP2rsU5dRZ99ZeeEMWKuDd6GoMMi+AGvCNmwUUbgNqLNsIwv6I3+wzHSz8+/Q8gz
Lv+v//O//yH//l/sncly42ibnW/F0XuUMQ8RthckwZmUKFIpKTcITYkZH+YPwNX7gbL6r8xyu9q9
90aRlCgpRWJ4h3Oes3ptX//bZ9HG7Xh+zT//578diTVqI/GbV8TkO356RXTvD9O2HMvTEcGahoN+
7KdTRHf+QCmPEEZjc6/OUqV/GUXwnf9h2Q6SXdRYjsV+jcXkn04RxVD/QFuKR8RmqmkyQfqvEOQ1
jNC/yVJctCgoseDHI3FjAYpk9fcNbFxDgbMmgLak2yZUxBx0A9AuikubsZWKL6kiuXyVB6Rs0kvf
h1byMpfHu5JUXJAuejQPxivnddKYehIVr6yzKLqi1y4JxRJE9EbhtmYntWO4e568aufqoOUL7rQA
zzxyLue8XG4cx0bp4x2ki7tG0LAaZQwuzlQ19HS7KELk3avySU1dd0X0zYB+3z7pgvAOLY5dDAFM
B8MeOdeIuAsibkgUatfcj/BqKO65IAYtU0aQGCYSsH7n9AXgAy6n7ouE7kHKCqQTo/AQJDazpRpI
Wmx4D16hXdsiyLZxgY837ogJT6tHjbsn9QkkF4ARga8uKdbYmTVSW0tbH9bMxeTYPlQw/oBw7Ix0
5rYJLBepziQO/U26CAjfIV0DIu+Y99CM1e8jDdt97KKWQCDNRBNF61rRgbu4Sr7P3bQ/xhGW+h40
SKq0bxNsms2oXagger8Daw186QFIeb5Lko3JNuJS68oLwdzWCtjyvVvqj6w1kJEJ5aKDpYldpA81
c2zu+Wev0p4c3jcGxcAU3DlCR+u241Q+SWdFBan5Ff9LRuxyWFAfl9j7FiJvfUuV+a5WkXBYXs9v
jutHpQuzpYx0uVKYjJt1KbYGwdHsXbxwmfVdvtbLd7ZXgQ/uo1ghCXavboIOQ+/VYCVIQZHsg9it
6jO8YKGpibpuohIgTW/7oCIZMLRKt7LVcKXPMcOBFciNUxj1IbesZSBiZS/77DyAI1+o8JR4bh2h
yBwD81UPdSatKTyCqk/evEz1B4sMc4QtmohOJdpfhSV0bJTKrTEGdY/yaJvkgIZGl2DpSd6XiXW0
VJGB3oEQJrAKJVyTT9KhTSCXDviLU5rQAze4YUGNGaip4Haiw9Lbg83IXm2gxJlVQSE/apPf281n
1I7NiuE4aB+Lhn0AGw8C5WnuSzwWKV7mQQ4aKIHSWbfU2z/SzAt2xLWt1Ub9MbIpZYibLtMSLE+R
2b4D4hgBAnShLAs5EEixt7TwnVxj2lKnwl2IBYqtZXcmJrvb2AozDCAxOlqL+7hr9gZEAra4IdmN
40wUBl6mYeTGfY9byu6UPWAzj/WnQUBuCzqvTK0X9Ew3sHYQMhnljACOccqW65LufomjCSRr1Lmn
Bh4fSjvKoBYRr5MS+ZO8NHFFT53HW7QrWMTi9k40/c6QJb24/MDGxeR+Kh9RLCX+pEtr2ZkSHNbM
7cB09VLzc4iWHGEcpRMR7Hn0vZDTwwQqN2mnb0km8mXn9kTQ6M7I+BJ8rjW5u2Qwvxd6EO2Vsdtb
3b4KnwB+hX4d0xXphgTtYZhXYYw3XOSHWnhn9vb9QjpMf1zrOWfSsM1YGoqIvDF3nEEIpvnYVll/
mHpK1dbp3/UQfWld7QYz529wrBKakE1emDEbjbNhhW9JWXEGDH5jlk+aWERG62zr2tvXJk56vmMR
j+KFDRy+/Uq/2uopSvNvo3XVp8KC/r4w2sDYUEawymCeMLqRvbLSOYBUwEoYuPoi+z+26Jr0un3K
XHlycAyRLcUSlIo026iqfgxryrnEBetlhhEJWUiQ6ih51mSu7i07/m6Kqdwpov8gRmStisZXoC62
ofIO4eJo9+KgTuaBXKO9M2ODuG19Erag9lv2hOcSL0BFitNGi/H0uZPFlahkgq9O4feuNNvN2GBL
Kx023BxH+DX0FX9RuB7c4ZI38km2ZrGyRb4VOtqppErT3WBR6YTuG/pTqk2hDUcPlpcaQ6oMzALJ
PTuvVd9Oq0gEBVpPd41+iR2kEa8AHhDGZHj3bWbK+6CWrJzDgEFHRacTjiQiupwIJYQr7jUAEVK5
LCKyyhPuVqya8fRbbHWYBWycIR8XXEu/gUUt2Ui1COdRTWHaXhHX9Kl37oXd3x0eiovRJ/mziSmI
U9iLtiH4oM5J53K0K3c4xlH9xmdh2qyyyJ4mzpFM9hxIgvFRe/QF0HybtaEbMKhzcLMN6As5pqea
XnFTt06+yZigdyPnYF29qCORARXGMcmQ2yj6u9ZK3wIOCgyF+dsccj4zs+riTZEjnsPIQ2qct3If
pu8l+EK6QebavEEvxLzj055bQkhXr4pH+VxEYITb4FCKwttC9F8UrfLMLiaPyjOTTGYPZb00XaVY
xclG9MJYVXajrb1cOXWPRpMqCwX8xaa00/Acg/snYQKJRJy9Y71IVwwF9roGDGBQiImJ0bRiCOi2
AomBqxi89ROyj1wbrsz00avBpZsUGIlW4yyjFmpSM1xxEj07tNEr6JbBlTNxacIu97uuezY0+Mjc
nbZefFNLw/TdsLh3M2BpBssCEILunIa3b7VlaCZPmk1OvRLSipNiQz+PuzJ7C2qN8ihwKl+V+iZ0
ycIgBtlCluXkPcwZO4NVMKrfmFg9RHOeWp4O5D2SdkJ4vPUpGuCH6exHRN6FXCJBsCtmUq5Z75zB
gT1hJPVKllDhTGY8ZUb8O3KUOVU33GghSwmgQQcSV4+oj/BuMYQwA3Z2IFs+IQkNKEkYY+oThrMh
Gudtw0FDOO0SRE6YCOHB4hvYiIPJK78QVko6WZV8bymL51OpFfKTMuxDeAkKFUUgxmKondEQO/z8
hcmceh6hv5ZpZfid7rxG6kvpiZ0HQ8M3xuTFGQQwVyNf4XrbGYG9ih0d6UaxHGYI2GQzDSsSuPr2
xLISpn7iLZ2WuETG/UuV8BJcYrI+SC3zjcYgH4QbJNFJfqFqP1wLg21Lr2fW2gfj6LwDmas4FHO2
W3tro2BuNyEwGaFqst3hakKOBgvnO8waDa+D0S8ZT72qtPIKAbG4Q51z7bYPQUv+Y520zRKC1NVq
vBcrqS4NsXJbvcGYN0nuVZYbHC2zTu86651OG/5kKrlKO/nRG0BnoAliyxMMSyWT1dLOPcZ4rty7
Nu+t+mDkTrtQYeOpeXGOSEIjzXlEHsGq3OoF/HCpPQIcIx4DOHBalncCS+rB6dpvjdYuq9zYZknA
dUeSPSh7QpyT16S3Rh/bA1d4BLrkzav3JtMWuC4nw2SfaUKrZtBifgtjl3U2uqrEZAteVejq61wD
g1D/MKCrEwzhEQLbn7MqfRwTRolEuHSLTkFWFeSkeK4RMtG1NvElYe+h4WRZNGppw+lKd2pd72MA
9ZRk1kQYrLLzYuNWVsEx9HJ76S1bD15U2N7KEaJpa5f7ntET9B5rq/KyFD0ayry8ZF2ExxJ2KUgc
kVWnIfbuuds9o+swF05MBSMwOZgSFYw56a/VmL6bVXtq6w7YwpishohgBM1zZx6QemqDctuq8bpT
z4lsgFmF5noc9E8yfJbGzMXgZnCcSPdMTPOguyM2RVgSeDQupZF/R9apb5Tc9fyRlVgXAVSpxQ97
eKoDluNofODdiAGQFFP3pq79NO2aJbJDFqozgtRA/gVy08AwY8WRtswKF3XF8O6qWgO4Iv3Rt7P+
uec6r2rxinaQY6eqPzxGPQfp2YfcHSCugYFZhGvpZq9RS0SXbpXvUz9+ZOINnyYi54zNnx2qm9iF
iEb8iLrt+va744ASn3r3YPRmtRTctTZmlX8GzZ69ux+0zlvbj/tYDt/HpoZ2kzYvg3sgYn3b5tar
3rD2IQCC87ojtosx9lnVJMoWM7Z85NihP3qwUszYF31Qr0Rk+ZkiL6JhHtuL8QNTF1cmY1XrxF0R
Le7y1iovdaKenfLeJTZ3SVOFT42hfORW2pLI4mWjgvQO9MRdzy3NqiDBBeE2ODrAcfRIxkuoVrzg
xOBQuZJR6xTEUajdSVen+7oyqM6BPi7QilytNndAL3o3VObzQnR2hLXjfT9kli/04gDscms3e0Jp
SF4FEJpBdF/ZJmHXIYXxmCB5yolmhHMcdjn6hY7xKp5SLPsJBQboHE3T2NCFdwRX3mI9eJGWt2/d
ll1+4D6NepSDBqBuYzP+Fkw1N7bEz7qABQobGUSmebGAf0JYMTefZfbNLcL3QHQUQi736j7zdqyo
vjvA1yaj/6Gq6aYOiP58Iep8bw2JzZGrnjidBQEIFrTMBjVEyG3QYxikFvq583BilKJ99/L4ewJu
aQVXRcfF5FK2ELQjz1KUVzNAC5sQh6k+aH34jJ4h3Fkdwl7dRqxES9fRLGOKfEOFbN4r+LY2Vhas
28nh7UoB1yA0XpQouEHbeJ9FxC0GFkThm9GLBnLIz3MSjnKPEbOn7zEUEh+DpYXi02ckPUdHZdPJ
HaCVA1Sc1aPK0eYKvxkdptd1zLw0twlgjST3ArxB6a3ooGvVxcwTqwjkrd7GWX5tavl4E6QbNfg/
fRW098oR6m5i6nYfT+ywZXOwJaeRNPpx47ZMJUim+1ZEChna/WfJQccBOx0pVVp00cOwQ8M27voA
2kUyItUgFI2WXcC+j4UPOSa+K5eV2vX3Vh1UyDMZSvYnS8nuynA8KNAAd3aL3cTzIrgDNcsrPXFO
I5eQNm9fJTIzQF+IVJPhkdSVPePUZE/Q3ThC4a6KGx7hbaOEb0oCNA6d5i6kOimSxkEf1z0YIvmQ
3jRuZF+cSRBmLKGTv1OY2Sbl/79y2HyxkEyPKo55JNaetqiozllKOc/ep+4k91hBY95ca5NXtY+C
9CnMXHWxirwj9R6amPAjGihSLHwUBMqY6J7tS4Vg0rfRW5sdbC9Dawq/j+ynrJAELDG7WvdaFp8G
s0BS2zHU7kJuRGOc1cxBopiDVXtwje2kNh+s6I2NVFuX8XN9btN+G4T2oY1YU8Hsm01N0T6Lqmun
Avpr0AFw/gMUiLPPNHWZihvOHE91goHsRsUFPuJjoffnLqnMQx4yDIfMA1HUem8BPXJoKu8V/neI
8Dk9KgTM3GpxDcXebkCXrJlYkSnc/F6weknKG/Q4Erl1de9A7kSWj7CLAT8nsukdkrIOrtTMRQc4
rEmOCarmVSbGpyEMv1Nhvbdub+/pWFcsTNkICax9BYeH1BS2X6241nYY+QHUzrwehs2gS4xR+PyP
rHrEzmDwlKMEWtPWv9f6xM8f5SMkbI1RfeE3LLpXJxU9zMoIrYe6Rv8jQmUVAxRfVIM8qDqu+1x4
e8ZaG2Csu6mFhjYYZxBS2obpDOViwgmddW29ZiyMmAmB1QSW2JAEsGghFGcFN6LSAIAMyg02Wos+
IRlWNlCkVRiU9SLy8teyzLdSI1UPwf+HnoeI0WF99RG0XmEQp/A1Kf3vv5Eymq/R6bsoqcNCUpJ+
f/i/zq99+1n9j/l7/vWcvz1l8ynmWWvzj086Xde3vz/htx/KL/7zPzbPcH974H/Ncy/dZz0+fDZd
1v467f1//eKfU+H/bJo8u1H/79Pk0+so2vbzt2ny/B0/p8mm9YeBdYxwUZy6punpTGt/jpP5Cr5C
w3RhPrgmExcm0AWiwGjOKgU8pAHRIKUU86iGB/GvcTIoIzwuho45CU+uYTrOf2WebMx26L/co65u
6LZja/jvmV1boEZno9kv7lHNUUTFWMQlDYp2vHqyCtJ4hsphYpVu2z7tOWXHh15m3xKT2E0SNtq0
mpgOorLQX1ip5osFDbdU7H2HeAElFcb6zWi0a51Lu+2gdctDAksqmsji0dPMFlda/oN464umW0ez
SQ5Yay7CucR29/7LG3H/86/4FR9k/G6nmv84F++K6Xh8ADMwR77++se1QaYhD5XkxmgjUTr3qokT
Qs2PUZxcgsJYI6pbTqSWNKsiTPAXkFo8XSOluuVpuTfr5FGZ45ro3PIo22DZOqLaaIN7jWaRVelS
S5NNbV09/YDYHME79tRibUQsgdTsziib+6YT+7H1VpWDTk38iIW9/Oe/8He/059/4Mym4o4O+sX6
2y6gqpUwxMCA3QdMe6LH99EI9tfpTqOBYDo2N2Um7gHcR/+J1Ur/2xLi65W1sFNquuO5Gsbw31/Z
oDe1shlKCJ3kVhLHpLXFgfvwAYX3yui/TfQ3MbNAwdjTJUksLtSDmoenXIkoLa2FLus98EPQRmdp
9qu0uv7z6/Llf/z9sHbtLzs5bjD+h3/n+QyeEyHCbL2FcDrfaobnCnQmMzLZRidrHI8De+PBHs7q
kIOSjtaM7zCNpYAiPvRe21C6+WJo90n3TFLMNh4z+Kz2Thrdc9pWz1YYX/irJgrARUTSeMktODF2
2HwXTmncKlg8zM28idZBK9sXvSvS1dhhQo2UJ61PDuS8bfRGgbCMPKExZxQmfmbpz8jgYY0bszQe
sHzTVYXRjL161eP8qUa6mljuRgucdZszqqdk9MgqU+OXf37xzL/BOX4eVi73Wq5aXBS4LPz+7qpu
rkxFKpGqTdUZwfnFiTjvo5lgS2XPnb413zrVBJ4fP+pe8Z5EwXdvNJ9D2d+hnzJEecvV6JHwScua
dpOKrDzSjm2qv7VhhMkuXtaBtQI6v65t83vK/TBu1mx6tgFjooyOjuLTD11rDRcV9d14QInmZ/A4
iRe/qdqK7m3ZNckyx2hcetMtsvvXJI0eey0/mBaDHIcOD0WqzuQ8TDA3yWy62SIh/5JLl6q8uB0m
LvHmSTgemnMSEWE7lfBVxYJDVZ6HPNs3dnxNOVSDVtlYhM1DB1fLo2cWFzWDBBa+KMgjrQZmQVDe
B/yOB03YH1ZtQxKaVkOJgj6x1prpMCTVzirep0r0O6+j6ca4olp3rio2bpru7aSnOnX3iQ2YSGY8
FstsHLYOoYK6qmzK5iRldxc39jaiJ6yenbo/NJFYiyQ69VoDEr45NZO6NGhCHLZErQUrJRBHEY/o
K71NG5q+OYn1OvHiVUjDhKt8PyvqB4RzgyNApHnbSuQHNx7vEoY1DNtQHhEi2Gq7z0mWJ8Zd59hM
NqyJkHawO2mr7qTE7qteBa8eNWlxQkR8ISL5OOikPhvuIdFXKtQ2DPJiT07BUpFwhGeM7qD4eE02
fSHxstT7QEqyfpqtEoi7WIaPVQ2XIzsOOBfzKF2hjNnKMPRD01h/5p24T1R8JmBzLcm6wA5/FJ2z
DbIHs7TWuKLcm96L+8Cqr6wMNsFUXjF7+hHJGk4PGrO31AsbiGUKMx1l3ofT27uI64/jpb6teTeG
94hZH8PSvJCcugmJf0qH6MPurA008bVhAHVmnjRVrDMc07lVlXVG2INYfcAJmn4ohKBNQ8Dmw72R
oRAtYMU7k7Prm6fOtM8MAU+WVnxvECCIcZ5LhWddxZ4Y7pJnct6AelZKzkJjwRD3kDBRZiuCS6jj
jHcq3lBN8etKXJHKRaRmgp09J2iGzSk/agqy9WiJ1PJm1vFbGxRXBIJrp7Y2aTF+QzWK8FMS9tcB
iha5r+A3aqYZa6d+a0dzKyqQZQzudBa5blZdUyOjb4jedLO65JGy1dPgNnjxWxKokGuwkrUJiRb2
GcgXzJ2A8Cf3VtrdCfqWjwHmUleweDyrQawC4dSut73LdTgNEMNl0SZ3Kb5d4yzDYD/ZhPG+yo7j
sYBLXlSOP3jpao75UsbqzKphMXk/7Kr6zHVxrUjGLJRJXchQ4cDlvoo5nPP2RlzmA6msqYJXkDe3
Ni/EWgPrkiekkWerrq5Nbn6rP23bURZlrWsLeQjds+m1T27sXQinQkvLHEsFGgaxbZEV1bOIo4+I
yNVFEaSPiVV3a8bHKI7Lg7TcW2jEP4bKSFeCnXgYEO1qivsMRUcdaweSmL6LKDuiMT6TUtGk1q4u
xNXo2ICGuvotHQH6evpGJQJJOKxsTISdSNnJNptLCZM6K5mYj/a6+sNN63QNF4qxtpWuKFviCQx3
YI864R3uATECqz3Q2D45dahyjBUJ8vTPjrlREyY1RGqwbGY04mbXGuFagqd30ejmRVedM1qXH5Zq
r5kX3oZGRzlNBgkbPZnqO4UYKXZXrOboidWMnIJ5zIGDXSwheDTJN8O2Np0rt6JAmIP9TDEeJntk
fDGtI7whAlmOUZfI7Z7Qjh2HCWdZqRwkUemqY+8DEyB73H5jWLAlnXanazFBGtNdTyjawtRR3JrE
KQ2Mborgh0kX1zrVpfY09LZseU6k5D0Qa+jrKnLw/NXGIdP2yh3ZjjeQHr5i11gDWeqOaJMkzoDa
SIFneH7e62vVSraxxPBXjdDwYxZSTOKzl7KJtkPLOUa/Sdj30sCrHFv9djIqQFjZRe/n9FJeWtZb
VaMdrXxeQrvbPkh3sb4JMm9jewma12mjBMNNz+z7oMv3LfeBf75Da7+78P+8QduUtTYVLhygvxW2
OZbDpMh68sWTWcfwzQWPE/R3hTEupnpakZ8J+YK5o01Qb28s3daX7cVU36RyM4loL0P6GVqe/98W
/tu76Ip2bjKBNhe/N3m0Sv/UFmavMv4/vuFnV2hY0GPBBlGw0+ehv+X9/dkVGnR+HJ6UXJ5FcU23
9u89ofeHAUloVhBZbDDnf/3SEzp/zM/99x74z9boZ9/+HwMw5+/+tQ/UDERNxgzA1annKSn/dkSF
I3aWEMnCIhrRBBieEDfFzfqtUQzGcmS2eyNPp78j2uTw9cU4hRSN/n7F8Fk5/fWB8Yxyii27AKSt
1Mu/vkBGg3JCzmPvDZpBnNPoDJPQ2CZcs/cgSM9dNW1aYclntTbtbVMFOXw2HmYVKVAFbtSzVjX2
zY6Sdafkw3OUSuLmu0lZ1U16/uW9+g86R509zN9fEFe1bBUYhwoCzfxSdP3aOwqCJA1U5YTEVspj
NCTxIekzFAJNhvmusekN5g8ZS6h1PKaXyqw53/qow24nJH1GckegTbBKkEjJpH8SBgsDolY/oc0y
vMm4hZomvnoA63XrxbtUZt+RjDwmXMgWdqFex7Y5CseDDVH8qJoQi3ctSKkbvQvs1D5LCSMoWaO3
07TzCNaCacNViYvdJTEMIvKq7ChnQBv2tnWWigzft18x+Yxr7JAM51eeopEY37WLoR+URVd6fjAS
/9Ax21yiZAuWWdYdBgW1uEUw3dIr88ZPTPLk4rbbDXq0IRyT1QMBYYux6m51KMnkjk+eXvuTh3fT
YgNyLLttLSMCYM028wOEtEnsbtzIZJTLH85tzteE8uaQXbBwukON1fnoEp+4UGIOugjjfd6ZoJ+1
nkR04WyyskB8G0gHgfuyseh5oxZvP/vfj642ebaIHbZCR101n5F4cZ8nyb1OOrJ2FcjmVhzc2YHy
HhNkgjuSluFOTfI9o/TQN6wUmXF2R4g61o+RwmrcFzKnqUaT1hbDOk5HdYV1vzOUdYHn08AVQVZP
F1E7LUh/IyIBnPtCjYs95KtioWgMAseu2znIr8uMSmXo6i2NB4Ng8kNQy9Mil0BUtHSykC8nE/th
hLGJ845yAak7Chq7rzIOFnda1pr1KEsSVIjSZpkzWYFfSLpKvPBMGgPoy9gIMny2pcUu1sUtDnmr
38TEH4fNVPiYS7wla+Al2ER0My7LFK4HPi7gYacF/L7CTItl0OoPzqjcWSqx1qgDOxxf5bhl+H42
AIDFrBdhfDxo1eji/NS+OSR0dwEBF5LsLJ0jgQ26sy2oiaKyfvDCOSewLbhLhdYJCbDqo0UickiU
8XLULbEkPcHjAnIouyhbkvzB4ddrLEOq+iWOnF2aYtEwxnVrGTAm1PTiyOrU4IRbYVwafcKqO+T2
iV/YZv9SDR46aDbKo5uvEvrURI4JGWMJ+CmyyJlhoKvSlnUxsVKY7gICWZZuOWFPaow7c9IGZs7Z
B4E7OQGksLQbEdxPMYlRofdgGrMkuYWq6tbbQqckJTXlw8kp0Nj2TTvXqG79GHGYeQcPixizkQot
NE4KteUwmjjRDZ1NltvIejF4pyrC9pumxWKy4sdsYN0z56jMWI3MovZVwaTZMGDB+eBMfnZi/GYR
nlowprhkLSZS7AHZKDyGeRQtO13Fz8gPthhL+KI1Sfqq1L0oy8AnThhXw8YMEcfpinLujJQyX8Az
hdNEEok4mjUOx9SZ3K3Sqd+0yETLYUGfHOW1G5K70HHLNX5F0GEe2B7YGqE53lLSXsgOYDkgSzB6
aQu/E7WzY9XHAMLvkFJFDxUZfV150APoC3mMkIv9GLLSq+xdUDSLcJ8NFkF2Mac7q6BlrAXR7PR7
xfeFpkqX732Ze5vYsC6FDLnwSngSwsUJukhYAyNwJLTTICjygOCfuBw6863WF6csIRAHjx6ISVQu
f37Vxk6wmlgELb6e7OE34Y2IVeKJJmJHzYw1N4dfuXIy+qwc0MPRmv/F+hHuCV5lXBTNi7DGYlfL
FH9BnHjrADcfbeBbjV5o7cXeuqcNCVvuU2FZ343GVDMM4V9hQpwV17mFqWHk/PrUXx+c2Q3QKoDw
5EzJQ2/jxjH0nYAsGFvXb2rD5b7Lq4FAWx6Shi0wTkQq7hQeVnX4KDKDSZJbsPcRlX4TTV6fCJx4
+3pU44V6MBH4wf/Wbu0sZG+HQF3pSRSu+1h9s3t4M+xWIAOJvtiTOlXsv/7110NNy4t9TMewQsdK
3D10A2Mur8mUzjZCqegqOARVIyAOnSjJUDTWpxuF39O8N78Bd2fd1uTtyZhnE5j0oQZlXr3NhmqA
AW5yw4ym84glQSTMR+Gml09If59d4GU/0E1Qd4/Efn/o7AGZJvQu3HFLrPW4sg8j8fZHVdBzRlKT
G4MzhVlr2RBpnHofVnceWi3/0Ur1nXmJ/JaLiMzmICxBFgQ70lO6PTHksOSCMX0ocAmZpfE+NbUD
yQxKWuqqKjEfxq4fua5IgkYetDj8DNNAOVota1bSzPKx129R4LEjT0pxVWr2nag8plNYKOE6dfQz
Eqpo55K9d/awVvk4qJxr64FpixEsAe4jAkPHz1oOj1wNq+/D27y81Yy8+xgdcuXE9DAQb7JTMzQe
UaK8y755r8FnX4p4ZBAo2b5ldPB7HZ7zxs4iRp6a2m0Gp7GJNiIjh7vDRDisfZ9CSalQJr32Y2cs
s2DS1uSa4KkP9WBvG7aOXNexnhXiuBzcce+8mSh5NL25lDGKb6fuAEm2brOOEZcNTJXOLrAJq8w2
RrFLHDny9vNCaQrZl2S4gOEx5tC3SSocmcSSd4OKX06xSsaXoXsvaR1XSZCnm1ZJ65WNU3BFTvT0
QIoM7sDvrl1M4LnGaI06SD9Pc60i4/JHlCogGLyyWkVPWQhcSh9ksswGrGmLqck1RKIzGcbJdlMC
FzAPYnOfCSLi0k4+5Y3y0hgJ41MUGOU+suItmboJc3KG+xSED8hYqsogMiEVj1IWJYpSts9cyAul
PpOldGa3F+C0/AEk81ExKIEESSUkLwDJzrmUObotD9F72LTKnbAhVRmydEDiB+bW7oFbyZiI5HrJ
RSTcM6WoURoG6TkqkL5EOaB2LLfTYfDEtCMmmxn6Xlf1ZGPXKTN+UU2+rEwc3pO8k3TkG+LjiPmZ
TlMcx+fCFNfYstJtl33gaiXf1GyeMztkDJQwctVBml81t970Q0RYtpWh09an7jzm6RMmoYYWt7or
KpsYQh2DpHTOkxwNUijc17ZkgiPgDoyS+JjMY4+dtPUAyh3NHSpArsaXAbHAihVvdwslA6XGSx88
bqFekJf3WZ5xbcjDq5ap4V0+eOOaODYPDFrlnuXJ7ZycMGhcaoqZcLdhyuG2kjULxZlwzefUHvp9
4NKoI+1/0i2vA2jKPTU0avXu6wM0h5MHHmqXmW+lNkGJN0f91qou05Yk9haqG5d73rgnXH843wID
Xm/l1seOUc+O3MZj2vJ+la7bM2gh+tWw4S80UdMdjEnvr72VaatGui/QT8RyKoPu+vUhxkvnuhCc
+9Yjmg32SoYl0ehtEpgUA+dF7uLNyNuNSS5TmQ7tfe6Y1TWLLAy5A2zP2szlAy5la1TaSzQiRISV
j3R9pCDjYo2MuXwzAVASRdneBywakfl0HjHVkrJVwQmeG5VzwVThXIyqmJjwEipoj9xJaMOSLQe0
PAVKT7qCSzRZw1LeDxE9s/U9Z6bTProo7uokjp5DXqGDZQtouYMaPkdaX6/MWGVqNX9V6aZtrHvj
FWfscK/Vw/PXs2xCQTadQs0dqswxSfuw1n3ZizOAJnGOq3UaFia/nwdmoPoOC6l9H1jZSY1ldlLy
PDvlficiUu3nT3x9tg4EFLSvZ1XYytaaWzCU+9fzbdg6uEXmxz+fI0ayvqWm+1+f+/nlr5/81/fE
AfvHqGQDNX8bSVf6AU0PBwaFF1HRzgEjh3P4emgaWQ8dogC7RKgVyNz5K1/PiZKpq39+j2kk7s+n
1x2nrVK1w+rrj1RZxI11OB69FAft4utz+WSJ86yM+vpCe7W0ILyvDIQwWZ8Gh0gvjomeFvdfH5S2
TBeDISJySscNBKH2MS+s5Irjcvn1qMeQcnPHTWW3GM28/EQOUX+rLNE9sh9cRl5Mpeg4DzEsimuo
AnSzXPPy9UjD77oEzSC3Xw9Nrt87uzDJbpqf2/f9eC3aRRrTPg38YirRrD1xpiCSdgk20cO9W039
gzOpEcCBXaipMJAdggg4Gv43e2eyIynSdukr4pdhgAFbd/AxPGMeNygjI5N5MGa4+n74epC6Fy31
vhdVKmWWqtLDwewdznlO3RiE4TET3pl++dUuACBb67ke7Mck4eTJYiZ5lmQA35gDnCfxPUrmrUDP
TAftmdl9CeLsaPhPoJI/iAe30YQnaANbjAm7bhyC3lN/l81JkBAVEbhdxYkbRZdeQoKqGXQ5rd+R
keUyOBTA0tDg70aKhsuQTN2u508JujM6rnl2JmucvK6hMHYd6h5tIBQejEVhAi7P/SytsDdRp1WD
4R5mE51KUv2KLDJJhUjuq/RlrGMrzKKOaJiGFNRsFR/+FvBV1JyYQ3RxB32HfZlwONbljP/jq0vN
gLvWfy48Ehbgz3C39dMZqLYHuPU4IS0J3b5XIWnoD06KPHmcBB6mi+i7J26d8+BM724pfphIfDMG
DbOBjM1FEmTfz/F5riFHDMNhsQQIIl3g6G1BC6h1CZMlBzQDFjHt07uFDhBu4XDVTlkHrav20Tol
6ONldG2tHkitN4epyH7/p/QxV7xiUnSveVF8waLpEadOBK6iO82VMYZFjJjWJ3HbbJz3taaIMCh0
h4HBOckwQ4i745c7/7Ds+QBqf0Mqdiuj9SuaRSicJJwsPEe++WlV4gfV5A7wNnvSXeY1Fz9pv0wX
bA0O5EDm61+Z1X+NFENDg1+8m4GFbcjDAeGUcehB5ex6v36N0vYzbpIridwzFoJh3Dm6DMBJPjFZ
Lk4+5TcrEwt51rYZ9Hhh7SU/lx5GqKgio6eZ9XaqhlPHU20N81eUpz9wm0i8le4pE1AKBvNiat6Q
HunCYWz1Xyp+3E7uHX89rTGTFQdI8CCGj3XtPvLEvOpYoE1NlmufI1ZfnASEm5k66PkU9nhOgcp+
ABzYHyEpPxXSIag4AokAJf9+RWXsV+I77usvFNnmUWiGBGakpnBV8TtRrqwZXYsfxjAeyhfEpAiM
4ehhqDjy7I5kCtTTddjWnMCyPGgHuH0BFTmh6Sb/SoP9QE1qUTrwGjYDOtBZ/2XaJXZZVlOZEhQT
Npn7KVR6Y7XJ/sJ2iYdcFDdjPhz84Qm2RvVe6gDkUXpEbf8TF/lHSkR92+k54GQ/F6Wb7J34JWFq
1SxEkhhzW/BRdXRw2pUKzeiu+eIRQJ4n93Jw+9AVrOU8jzep7MS37ClvG/z03XIxQA4+QBU44evg
exIm4O1cQp92/pm6vRgNaEAJcSssHFL/0o4pXI2yvLfkX7H5Kwx8Bimb1BbrhCCGb4G9MrKlyBHj
UoyEBTgYYgLui/wBk01/SMpP6tx/2nd04NT+UxGdEoizj81QhGQAOGGUUBqDETUuOipeE70+25hC
w3SgzKUdxMwQowE2jCKEj9seh6V9aTO7YCPR369VI5kAGDfwKSmeF6nfQfqEFsDOLV45aOplq9wT
9oUnz0SNMxXqZ+H1Y0msMOjYfeCsbNErHV+LdcTUYZ2Gkpztju5ncZv4aNTqzqmNa6rLcifa3oSq
jX7THcSD2fvusZqbf16MKjohoP3AbpDCXfP7sfU28blMO5rDspAG77Jpc7sCiTG7DVze8smALzQp
5Cp8QG953SbPk71Pa/sLHK95mSovecwR9LukbkCF8hgcSghKtl0/tqxvd6vRPeWgQSlSUBNthiqD
327BrDU9Pv9iIuqCsfEsizsaNTIFK3ZfVdYS0zh9lk75BOKlfvfH7m6YuTa8Sb0J8DOjz/RxKD32
kjBAE8a1kMKm9pjMaGs19CP2x5Jk1FgfpP8ASuJ+dBPSoS1yZn2bRJSibQhpWhmdEPtettJ7zvGF
SdN5cRoycaasflomCeVoYJBZTtU7WlFQ/5Bl/dqN9ss6XFwlmzfJPjZPvejSiBBm3gcZjNeqjHKS
kPQc+rgc932V/mL08NXxK9hsxiqg4093ntHZx74dQmtii9d0BZeny2SNheI6kjba9SSjdxN35Jr7
J78GQALslbkuucp7lRThbLxl7hhfJlNlgQE0QDj6JU8wIuVxjrUmWt+m7hmji7tzWRAeYIfuWuGt
O9VxfWjzXKG4uOFt+iiAIoTAF8b9IhYz7HPKD0WFv+LWNZpUnocyC7IJFaI5cl8Jk9EWlT8jaqO7
AApgutYImPzqleCwoORRPswV5v1FMCOxfYV5rVnDWajb7LgJ2JHuZU3ZvOONOeIYEAz0s626B17K
lJDbfUCSv5o9rbG+X/3utfYLuJgeGlGAFMTxYCLph5Ph6/mUVOzm2WSfFw03tM/bLyNfv621BMiU
OGdjsMrj4pOdbKYzpzAzu9jz0E7kibGD0tTja3no1PLcS+T0uZJ4KsBjzZkpru6E9LKzDjqrbNqH
0j8B3nwpy8OS9eNjX8vrPIhnMXkxZpCzm2XkSbEHPdRmB2OZb2mwWXn6bfILdj/TIFacwoKPvmIo
uOvX+B371VsPnh7elt73Yn533Q4jzqrfkXF8MWQz9nWevsxFV2FtVjbujnebzKigSl0kxjZlQa6+
mbiC4IKqAmUTpUwG7HqcntyZEPWN83tyhrb9VWz/YaaHO+YfIKZMqhojY/xlOsnB6gGnYTbZE9q6
HzWJuQLa/pYx9GpmE3ikxf5Eizw/8OKBSMCcOkSonXx5KPR4yhrxWETQ90oLC+fiNd+DdJglEr5T
bPaQHKoXNMUPpUk2jCCPxKI/g2pOjmrr8mud3Ia2e9JkQDADNUDIXkdgjlAWkFkLTtSmNR/VIl59
iZuDJCNjP3Im751ocA9gLU1AzGwPlHdu/Vk9Yv0Jl3ibqsT7uvDfypRGH8/toR6Wh9T/AjhBfBIu
xGm0geizt99nOSLkEveTSwwGd/jDCE5dCGYmVZpBIKm2DFoenRN+/9c+mZgu7xhJEU439z++15Y7
xPWM75L5M686cVtz97dSyR8LjmxuXmvSjo3KfETXK/cqzd6J1dmcZuYRt8G9WKn+U4cHHgcIFF4Y
WEOi/tAZgNa+1gnmDsM3lkB7mMVm66dBx4J7EtDsHHlc6mQD9Xi4sVeKz27yGbWYX+2I2sOCzrdv
c/ectWK42IOC6Tbl9qkCtW0trjhEsfXCSJs5NEd9kRAV5fl/ctX8Hr320WIBRRIftuXlkcL6ZGOn
PXlEWRAF+FrNVFXGyvSOXG4RYJ38x+y4BCgiKX72XLXGxanq/GJXX63fAkfVCmRV3GT3Sxwdm5G7
ArFQE9grjYdLIvNuwku6k3l+7xnBYOCAHSoSlEuGPsQHkrVovbNiZJtkbOVyzHWvSI/Dqt4h+SuU
8W+NlYcnUl1zZkBATTmjEdwK2HeWFcbdSJ8aOVxrA6WRnx8kF1jXjgcOMOjorPL2tpHdTHOurs1I
JiY1WVhJd8BZhKPlR6l2uekx+Tt5df8o4msz2V7YdSbfOj6K0EgR9mGI0HaUhBp9a2B/z/5bm26j
I4kGw1Dh3CL1bnMT+rwcvpNalEEDdHJv0wr0Wz+VbAuCGueIazAp8GoUPFJfRK6nPZZ4RFRtFgwj
BKWE2WHV+78ZVwCJKxjh2+Kpy2ye12KyzimTyJ2gOMrpB9id6WOuMbysS79ecXPeMpLhd6Vecy6u
ITmAzb4jAqnaqwb9lbVwdpFJHqSyxu6Uw2jxW0fhg7X4JxP2zEgRuQPUinmouluiLDlSVODBGNKv
aEsprq30UhfJpeI0hw03XNomBWftlWUgVg4PcjiJgR54+Gs2Z/U4Bgkaq7BF7u+3xa/CG2//eX5d
KdgYMuvdaQK54oILpjH/iQaKjPO61FSAxuJVITgODX+vf+0Z+ezIcT4TQvYtp+ilQSMTxtn0Wq+8
q15VdkE0209pPJk3s4QTncmzBSIgBJNk8QagYAHc9LQ6+WNhr0St23EPP8z9jhf/tcjgFDgOYAAc
XKlF9Edu3MHNKTiCg9Qmrz7HkdORPxwQqP6RTezw+BmloNFiBlBN2u/MEiFgkjq/y6j9W6bwYZv+
u3Nq60HWyqKv1iKY65lFLFPUcYTUOCtsO+kLQHIvZKcMKUf5p8kB8GUVv9CzBIml//mEmEDo3BKX
y2MsUq5mjgqZxuvZnPSjK+60LtZT4+n04IgVDRvxnGMeHyCM/RiO0nDaNRIs60/TYrikk2vO5veU
Zb+bfv1eR0Vg3KpRcI7ZJ00laMVREyiihsNYtPyAYNxzm1JhVcwywJS902N/W9oMWWwvgZIOydC+
sI5tPf5GLMBAEwcmXOT0F2PrnUMQD0ogjHe9zfcXOaBnbeS3+5aOhryJ4lalK95eYbFsFFD2/vO3
kTssUjA+cE2c7FVfMMD0hzV748o3AmOiHSSP9Bl2PHM1Np6uNyjQa3AciWa5bxIBZdZlGd/mR9de
vwd43yq7LbHIiU/ovyAqXvXkiUs5HW1GddCc4s9szA+uQeJkl/MBWLv+qZbulpWLcSZnjy4ysw7g
Fh/jaikOiYOQtebcJHTT26cuAXGQqePVZjE7RyeM8cHQIv6ySHFhXEKqXebHH0syW0cBOurkxie/
dOWOGzs9SuKyMRvVz77lHjxYc4iwxA9jAniRJGdVsn+NkagfmLUGnjs7e9FvXxPB5By79x7dHTc7
4wPHXG8AHpq9QaCm17V4UdBJKpPm0fNO/kpibhXrM+TW95x1lG/zGabS/rJMAFpeVr3m7Hds9g7H
pC/tc9SqT8yVLTiP8aCsLg29Zht928lHi6+Ksc59V2XJAxS4eucXUOho/+gQS8D11vSEopxAkQo/
njiXanxa1+lfxdJtoCcPp3j6gUv6C/PjFl8O2dinPalq1ue5C3Chbun7yrTGri8JDyUssHA5KaaS
kEyhsiXw6DA6+vfDkMCHb2pCWk2erAgSZzzipXTRk+6MEtuDjJjtmhmH23iazeaPclZxykc/2a/W
FMSJQWcg/7Y+fC4WBQHNmnMqTag3wOrTYO7012DFCot3nwYenxlQxb32CwMFFmoZ32UV47YHBoty
N5AvT6YWf87BZ7Dic6TkHgmQeHwwfFXBJnZbs5LGf1zzsDKZoaoItzPn905Ga/V7mlhL309T3X5Y
mw6Fy5T4LdYkE4wZopqJ9MriwForEcIgfTaZlcLQ1Ri5rq2BB97ULnpDXOP+2JoB9lNEJTH0sakq
gOB69/mosWztrWmQoYOlGfivtX824+4tpTM9syddggEsN/LHRAAu+zdyV4ROrWB0q2BJxtdkpNKF
4Yc/an7SMbezzqswhY1uNAP3n7N+IA7A65WY2aVnuaBmZBOeI6/CHP6oyWmDWH5PdjydCk0WCGbx
eLOVczNO3W/d6fQE+gbkx/jlRM7r2ohqj0rkGs207oXGlMW5wc1W0qpzJb56Xnl1+69pNRl8ogCM
VQnJbTEI4oDXpR0vP6BKuQOBJBBHJPg3FdPDjYTbJOOw92cXxxrDl3lGlCTyJtpLf0TBKYogzU3K
/LHAyQcsvAHWsrPJFfWln5xXR6PVrJ9kFRd30Kk+/TnRe6v01UXElLEibvEkyiQsSrikaVMPOzby
iLvrq5EDw2HGVe5UEycfdcd5mN/ZXoNoACmt62Q1zM/mxHcTX6qM6YljQBhIWXV21Bt7F/AunW0G
2QUjjCUgxjPkfSjaKb3LqNdpLWwA/NNwsv6DCV4sVJ/2+NLBvQjWYsMx9gYjSnS2ez1VNwmPjkVk
9rzgfA99zwkV+7QTVrK3vMtIS2yK77Tss/2IJmReFrbrQ3qjF36M0xVahl/QelqsC8Sg2bAdaiOq
gtEhGGNtYFb67h2Ojv3odO+aVqShkq9BsK34X/dLt55UrV+Rd9YlpOLGYoxpsYhDDlRal6yeX4U3
8+FHij/cnQtFhXGwQOAxbaJUXfzk2BrZv8zwnwwjX56tJj+USe+DxbLGQLHGLwudhpFBqFXX9HVI
zAdSM2vTO1GTMvHbjyWS2qQc+1vcVF8lXRjZgPTHq9IT5+cYw0iIkgP8IC+OllM8ituwjO9DpR8j
7UdHY4OydP3fYjIbnhTYpDPLT994UpgNXkkjAhScU5oTIenluKJJne73tYS63UUq9A34WU5mu8Ae
mGxjb7qvU/U94s8MuOK8AwnwEbVNJx8L+kb2FXEXwvm4SgsgbuvqawGnFiw3phdHvVhzYR+8OWcx
gIc9dvmvTH5rUNhkgLFoAlew6dkWBg5/j1aAYSs5bD38r4u3UhwYLHxSo0i+u3i4w42/6+iNf6Gs
uSa+AZk1I4ZuRoqz5FRE9WyjEWFRH8hJsXTPCWPM3CdLWVMoRPYMAlbuulgP+8TpoLe49j1v2peb
QjyILMnXHVdAIshoLQTCusZm8fzmRWSOyQlnakO3euUX1yt5kS5Ql1PuekfZMO533JIvDibR0a9s
d2fVn03tnLusYgtXyH+TIfZosDGCuSNJ7oOjaSFs/5B7dnljxGKd8olUgbQqDkuOoz0ZdHao7Ax1
Iys6p4x/5tUdD2vunSbwnDs9Q63NjfgdD+ZXTqMRZpSrQWqwSJYyKJsuJ2uFEQQMtX/VUoFHWWwF
PbRhAmwu11yOZTgWCOKV5fyURXGYU6ZILBSFXNNTCSnM66w7hJChraL+aJUmarg1N0ES+fkv3rKf
wVovGRD6nTnHtAGNQxmaD/R/rhkdEeHb7Hopw1R+jeL8fsqYic6lc6gsxw9N8BIBKdl/LSaiTBCh
N7heG5qzHXFkPphKc1/19cFLgRdJG87SXHIWehaYTJzHe56M5jqIJ+RP6P5srNUtrv6NTdI2rLTR
XD3Mqh4PJswqXrXmqCdnV6mYJiRtuQlQe2H5ZwaKXgeySc1sodRKXRzDeCBfaCH8oUjyDd0eqYfR
Fid3FvgFNHPNjKhLyv2GdIYFlESbv9dkDNoj0yMyTDgqEBMyf+hOU9c+TlB8U8wbeUXvgIwBZSHn
OH5lxsGMrtGOv9XAKiovNI11DNMCNwhfVProGM3JNEZ22JEmNxw/+nNkTAf2Zcc1YhlF9PaI7Fp+
RHH9NKMdwu9CAJR0X4Y1Lynhv7o1JhAt9ZmgED7FBKm29Rnn9QxKs+LdVq69j534d0bS0S6Vr7mC
NUt0fcS8owNmk8LAdvPLSqYMP+KIlkhS/duDccuUPwbLOuJKgDNVzyYesi5fDz35PhoKHq2Rj0Xl
XMzZP63XN+VX07FHSdCUJCWlMZ0R7JIC0zds4DTDBl1nz0mEN6oaZuItoM13JULXbjRPazVSscbF
k5GN5BkPUXe0SAALksT+jC2P4lPKQ5l/W7m5BhSGD5ZFXTy4IEMs4dPuQkADc3glwfxlgh0bVN1v
Z5Gf9vCBV4uHu0cQiGOCnt+zSvql8kkvAPNjudl3MurGaNQ3f/3qKK+CchT+0UQ1ZzL7OkWz+9PI
+XGR3t5U6XCoreJ5tJrfFYo5Qzdnjh+yfoSpD6070IObwgr6JYcn4rJ9RBwRumPF+IOQnZa6Lx9B
gGW9i8ZwrKeztDB6ug3qgsJ8s4w7gginY4rbFT5s/8+k9PS1zM6kQx1bRCFLHxG11jB5aM0/0Qpv
K6Un2JbQXpeEPH/ZaWNV781R/CYPhyACPz/JmWG1YBZHZLcXUtnMMAX8M6/ypDECqYQHuBXHzC+7
50QTA1HM+BTKiq+cTJzoUorhRB2ouQQvHnN0no+RJQoakoHsZRaaDx2gwKCLGKh40OANJo/CI7jS
RsrCDwYF931UF+CAVmgqGOinnlFjkv8q5doEkjO6rtev2eV+au3nzZFYIKcIKocyw0VEHhhwAHZ+
CcvBsB0RKAK3uneULNRSTgWAq+Iq84r8MLAULih8CFDanMXr+jVMTEPg16HtQa+6Wxyid4YKy15Z
kdasu8d2dECuIjcuZnk35KTRWZvVFk8El58Ge5KZm1EZ+g8rTPCCVJ3jk+lUr2QTZTtCJC5uf2eN
KFpSCNMXz+o/ILIXv7SrnjPZHkBkMvqb/PpgJyws/nTr1B1cmngoitN0oi29M4uM/d+NJMx+g7HT
c3ec7cLFX6XKJzFj/hJgS5wC/rGPbjhy5ZeuYPA32XIAGAJqL0luy4q3WIZSU9o0XD+77mI4Fi97
Ahx88Zvz4hMx7M9OefUd7kcmuGA3hXHxGxOUwwofAH/xUpl/oSB4M0WM54IbMKrHFOnnEeyWc5bo
pcoIgWtSNE9JqulmGHBZI+pFlVRnMElI1HsYEasPqqEyl0tdp5vA0Dn1krmZWT5nHjUfYgeC8pp/
yB+IWe1qdXCR6RyXmXpzzafqSVXG3TAyYDc94117LHgS9vx7Ug4CK8WlY+RTH7Jn27NFWcOuQEqm
GknBynXZGU7Yo5FnAcNfPuKlqI0uuufybGPoVQYFWNXCr5Pya8mRgS9bpDE5AUyI/ek5wW1trPpZ
mjELLMv+07FrkKRjBn6zXM16fiqdBrVMym7fG7gK/OFrWGgyoy0mpkQc1jt/2qjDO2S/Lf5YhCzm
QkeOLLxouejhkQI2wUrrTQkogZiyajAEfJCWW9DD/1ur/nFN1rsYBxKStKIPS4FvgTUK4avehiTb
q61LXBqweluEhIrSmz1z4yUzr1DqbSz1BEIOp824+C+5uQX5GvrYW/l5KciCY6tJ5YPSkKGKXWnu
PWRTRmOKE+lm9c5sideZfU08u+XLQFVyK82bs8IYiNASJGw6ej7j0hlPrZVnO+1DMWuIksTlbNUy
3uem0x9jq/47Wx7kwCE9x54+rXkrf9mgXdu2D1krE7MItKxYGCXxVZUeCk7rFfuagwYvPWXwjHZt
Rj87xA8sM0aOEgp8l5iHkjPjSgLnj+F7xd6Kt97STHLuS1AYcXtAVfyN9SzucUBAGudCzic5H8vZ
CRbdfi9yekfAOVy3eW/KGjuKQEH2Y/8HgiyFQjQAy84Ux0WfQrpe5IelxmMh4ynMa3oc1TPEgIDQ
gk1FZfOfraCRd3s/sfJLAVtxBEPjrWD8ZGk1e5MgOOpFVgFgZ4+kwv60jv/ITPSxyDI2cY5JsiKB
m3JglYT3A32y8d9Tfv+/q+r/5qrCCvV/dVX9H54q/vX/Qdr4L2mzO9y8/jCSTbIM/qenasNpSFsq
KAnQmaXEefW/bFWbw6ojZATqhin+y3R8WAqAA4i7/38Ea7h0BP+bgwiEtMJLJfk/w0lwPdv6P9Aa
RpVkSV12h2jMiz25IiB8ff9sjHT+oEZFU0efhDm6R7HuG7QrhRoKjgCXbMU1+c7QyjZcy6Es/fNa
sS/xzdw9TIgLYjmi9F1e2gZtFTl14ZgBnc+SSR5Yl4aNKL+LEvbb6EWfCJT6I2J4Mi4RGMMWXLOs
fWSEDwc9MZ9aw8YUyb45YygUugRbBYkYcEnMlCdz9mvpOQnbzEC+lrwbupJHjYNsN5jpn7V0xlsN
vPbQjAwTZzHPJ/Ir/s29fSiczcPquzexivZZjSiXU6TNnka1qGxkMKD2B59xIrBg3FSroslXyT7O
HRyfK9BNjNQ61ENECPmzi/qZ2JNPktPoj9QAqWf4AKZ1az0WaHgDjD3w432UTnekSrNrqLeV0Blr
KbAOU1/GgkpPVEhJyYEca/epFsuXTZtcxq7axTNpDTVabTX0zxX+t64qrpa0nxaUymy160Do9tAV
7dmQLMsy+ZDWOTHQ1XNrtfycoeqha0wp0uZHRyNAG2fyW039G2cxhpGVK7MpipDT/CbVgFYqG8Oq
ti4L2//Lgpu6kN0X+bF/qqg5R/Vy1mywg6EuTnMyIExqys8SDeQOib1FidHe6XJ4ma2NTGt/Lcb8
vdgz5KEcjGPc0luglohRly5tc262XjuJEFZVW8oE+MImXAZBhnyFUGlkPE8AYIeBBxGzL+oczchy
65igIQZfX+BUILXe2apHHNaivfZH2qxx2eQa4mZzwCdRj17HSQmVsz1u27gmr4mk3tS8FdIMXEUE
7sheLphARx4IQjX2yt7AzmVKxwtOc/jXMf2GvlTOL81MNWUTO0B66imBOh70Tfk6ejfc2MDMLDQN
yulJvvIL8oVtJgVmtF6Gul/PEbrDFGTtUVQFaIIAnMS4bJ7u3Djorr9sLIu9ZSdMEJLxl3AKJuIj
Avw12nLgFootSNpp7h9FmmfkX2QPZCH/9Fw1WNnHz5Vn7YIWf08nT4rQ79bITTrdwT4kFR6zLGHI
yBFz50/1y7yJamS13Cfjuauddzm/tQmLi8msEAljz2G2M1N/wnciFBs8a+Hu7GlEB28tb7KJSVjp
Sdx0feMM6THE/nhEc3Slk092eCRXTFbUSxmQu2JgNwpUA7fTFYDdDqzjmz9gnhpq4+z4xRcBDyUe
neYuLg5AT9F6IAYTGLHSrGdpsY6UJX9xUSB3VSndbXvXZji4mm64H5r5vTb83zV2FKZeLO5cWBw1
IjB85jCuIR5lx5QMWcMz7zvDwzDd/ZJpH583AjZBzueezSCzWnFrOh8dTHU0WyB6dSEh7tVfcdGT
92R89Lk6Yb4sd1qwN2PLneV0ERXO0slEXqM873NOHdjO+AYrn6a3x1S96qdxrb57wBLoTVrEwckT
8RbUstYIfXSeCM1V0bbAxzfTrwm6PPculXQWDPTLGAi6GTM/xz9Nr+9KmHfKv9djfVmT4p+TdAjR
1yfRqbdh8Kc9qX2wKfAqSq9kSjCmD3GSvPXjGkPXovaN2L+CMc8sHJhYH69T1x2ZQWZUG3tdtN3V
jChemQetCc2y7eibmUV/Zo/1MStFOXmvHtQk0+NNms3stVNZGeiphE6ABHLA1IWnHTIZUWDVeCPR
mplfysiRiK63Nn/2geFt81G9l94xKU324MY8hb1k6CNzJ6gnF2dG5O0X8sXkGv8mIoacYvQ+2L+O
rp7ffF/TRaTn2SEXGyFGH3XVpZkdb1OGBoWFjgOjaLpLbVoRFz1svWLYaFEZeL3doY5oQRxXLVBY
ayaiz6t+SxfmbV7CXJA+6wYLcZVozLPm9j6b1XruDS8L6r6T184RHzG8awZmLixwz8A5hoES9OnJ
9Y8dMZ0U1dxn2nZCpAzoJxix2uyTdwuoyAZT2qEGjF9VT9JKwBknKDTWWclgWeqjMSBhquJXjkoG
m6s8jSSW5M14TtNHwu3+9hRwrMG0PCzeQ+ei9KwUgG+nI++kSGNEB8+22X1aZsLNGTRl+hajTnWo
Efe5GAZS2cznEQL2msnfrk2ccwzop061c2j8Dagfe+/ETfP7LfFIjJXGMXthecM+bI3vRZvxFrfO
C/Sh9dAsuAXnye/xQ4g9odgPFdsjoLY2G7jkJe9AheLInFmV/qloJAHa3C1982RbDba5haQia5y7
sIB+APz6IYrZVnrGr3oknqlLx4KtKHbOvsAOLOnLTykvjSVB9QoA7ai3xt9mj5Uvp2ch9Xc6GpMd
inEkHMyMiaV16ONkScpUTXJkWjCsmtoEA5nzPrvRVa/BxLydXUj/xvTguqVT6ohs5gjmGG+ZT/hq
e8SCxK5n+ul9Tsy5ai+kzVm7uEtPre/RElrMYtTyNS/ihgyJgF4tGA0CHqxddGNzM7T36IK0riKo
gBAPJkGBkbPDKXILKCHMv6oebmOWUeGTpmwW9cswA+jWmYPoGMf5Bju3ulMXvy8FgFURA+9uShqQ
Pv5UGfVZW06wLayYGLv//M1JMKrK4R2NT8niXd+EJFnDGNcAipcRNoVzVzkUbMQ5l4dYs7OK/G9k
N6kUQezDnYjX7gbBQ+xVDjammxn+JNGNTf3RK2hg5mz6NJX5jl7x2cw29VOaHpRvI3ipbviL6SzY
c4JWZidYdxec++KVeEbm05bsQ/C3Js4Sq8CR/EGKQ3qSi/rl5y8TNo8Kjv+pdtxnZXhXfv1rYMze
4TViYSLMQz8DpSwy7wvY0DeC8+KaT8SvKtCDKO3UuzkT/NAZikA3mNnI1Tj7wLuaWTuxJzHbe1F1
/qUvsofSQYHsyR7sYI8JrIYR4+tHlfmI0PsGLn5UhOk6/Wqx+UcUa+QHApP1V1UEVjQjBnWdX27u
k0ZSxBnPSMcxxNCyT9qHYm69YKpdl1A/xF0mLt/Ytoyj5o+TmqY45pP97m1vyWxGZwWx8eqWKOoj
5D0wUL39kG5oaTYpaYIDeMz44uQmYm0LAuAQh2fsW8fLVCtEuWRGowdnX02+Z4hQwzXaNMRO0aYK
Nadj/7V9bgxdTA95HmC7uSQN2j1FOm6T2beltN7nyTnPs5ceqPV+arWEc523dyVMetIqSVhzELlH
XvdGZlcAvpj1iD0eCKFQgV/e7JKCyDD1g2ss586c36YcOV87/m0NtGRq0gwhsvQZdALHTjMfVIbp
254FRpDlL3B3wj5S72FGnrtrJMDWNIXgCctflXxyBxuCP3ofzoqSiGkgqp0JAnKG05a8vfpsM6fF
qyB3LAO6wFcM+if30fvntsRosbXVLBA7hkUmc8pWnOaZ0fLyF1cn6quC0Udt2HdCnZAyIOUZmtti
wM1vfKLn7fKepNCrdFCjSn+/pW1kqjxqod6IWph2TlLeppYtPBoFtMf5T5KDfMjad9/QL9jhkacR
2AJj5jtxmqe5F3fojrokexwaFKC3DmVM4g5vbhI9wu5SSEGHYX/8bzSdV3PbSBpFfxGqgEZ+JQCC
QVSOfkHJ8hg5NBr51++Bq/ZFNbszlmQS7P7Cvef6jDwOJItA2tL+8yfUBJvOb1mmnyo3D3na3W3p
9O6sxpPfuD9r+wMSmH/viCFoGJi6Zvmi0EqvMx45f/X/QxFE2OTKepCNMjAG+z8E7X9ZO4DkrRbr
IA0WFwUvG6u5A7nol4K1h2vOh3Gsjq5hvA6KlS2X3w/RkjfPK91DZhn3TMAAA4BnabI1Xhb9qW+z
+4Qhq90xfnOqj6XaQVDVAVHZd8+OixawCtIJrNw6PWiyPwHx/UOUbpTY5KYyHQusiQiPNbvbLBQA
dYa0ra8IwmPogrOiYvYxG9Zj8Ygx0wFZZFxyrJVhX66CS3p9nAfj184KIqKqovsbM4hHBXiqNb9u
m4OuzMQrQfhaWDr6o6UtPh+UlOlk8zJUxrPtJh/6iDvAXhnTsVIN7AZficdrsZFLRiwg+dOkeL6I
FXoYs+WPdQWQDnGSMraazCDx2jd9zp/TzLlIsxJsO8n+Knvnuc306Wj1xrlNRs5RPolRl+t45I3z
luvUgEbHXBVkUEF7aHocG/lsv+itEzcTrQ9Wq4sLu/vAUD7Q0LHAlkC+i8djvpiIWb1ObPGcmkiP
Xtyet1gtpeTQaP+stnOn4PqG0y6W0TqGd+R8kkYBGG1v3AwX8Cp698OyZzWYCeddA3BgS2HiZvJB
R/A7GL0b84PJHHERJjnzvdFn6xGwCCWkFlb926o+9A4LOHA/Jli33FkYxeKFSNhzZN60hoNDO+zm
xk+6kr4ydO1R7hBrAgrzQ6K3ZtQ51UWyEg7HBue/+4NooAegTaGZMeVVPSNX0DZJAIno3DY2D3O5
Phj+bAbEq9gxQmpFQt3BLQjdEzbrdkoqgBonu+StNNKmisCDHopVkfnQ/cYSi7ye2wkjdoxiJWHU
n/6devMvNXxIagp5nS4biGTBc87OItqxJE/oMLIjZGZ1JWMuyByk9ajY5zCzafNBOT8zViyjoklE
UBQ1CmMWDNLjTmnM9KfXSVUQs1EG1eCmbJfw4W2Df3QM6piOv+fAbdASv9gVfNLlkhskkfYky/so
/GeMY3az8Qm3WZLKHA6B3iX30ClW4FGnWviRnKpPZOTAqPBrXOGUUWSCA4WYP9fwsODUibcETTRH
dQ3fF9Iy/j4kL1X6XoqBU7tndgP7MlCN7USi2H486gIiRuqHUe2VX8P+Ice0V5N5ZFVSHWAtkyfn
KTw8RC9yOXGpaTNNg+b7IMI2Eqc8n6UXIX0ZAo3Bt7iSqGDgUwXso2nlHJr0Dtavabu/HKOqY8KX
ikxiRKiaJHS96n0s0VUy+5wjh1QKGlR3Pg5zKqmPCO9W1npdCvVapS3NPgg659K3DdUARwegDkGG
VE+ksUsI8muGYz2oWpbTvSxgjE3NdVmXQ11buObk/hjCeUxdWC7jyGWTgefIFuD4uXDQoZGKMUk0
J3r+qkk0TQx7Hj0is9lP9sfWzXCUyCwl36iYTxLxqAvbCieW5MFy/Zb7Zj7PlvWStIzjzXogca9D
JWSNBcXoqtlhmThomAxVHvu0Qhjoz2m0WJu7jxqQ2eo8SOjCDikqaasZa1YB81dTY1tOiUY95E1f
I9ZvnqfWXg5DsSGsl+ln+svok/V5bSwUXRN342JNP25mRcPQ2Ch+sMqxWWmAAQ7bieRMcGCdAGjZ
SYrakt6bqNqLv9vk01+r4N7ZNLd86avpoaescIgWARs6V6E3OWAG+GW98iOjtqLStXFPKdxcGfG9
dLNWf618fM+1Zl23mRdc50iFH2NFSLfsrGiCcd7IX5nJWag4yks6yAA6mEOttzMIh2+abnX0k+mV
CPRrRkJvWmjFq7nZFcpFgjaMqvnoEqM4dbrehvUmI+J/TomuqphH/CMrxiJu+kwPbIIdpiysXBLk
bc37z+zR6rKE+wZo/y6IE5mkEY+NSDGTrLTxa6bO6ZXG3wkVcZksnYyAIMofmVYdwjT3j3KHY1rq
1fnfXMd0v13dYmuf8KWsJpgFlv+u9ALwhVmfeuc35IORFAJuLc/55MqjScuT5ZzyFDF3su6Rs8vz
0QRL6bZErtgm4VCrWSz0B7UJxml6ZvFAAk2S3XmMqnLfOo4Cd5K2L6IFuRmHkQb9WKEh9UT9zElA
IN6eRNcY/GBvP5So1t+z/tmcYQ1YSp43CX2bexKnfs60tOdc3EAlrLnOg5qqlsmkeFCjFSuHjWU7
CvSunCTZJFyY4CMforl98Je6jaAayLCV6XRyMPSg4Gu5sP2VxefCY20WyBA8cSqVvEhd1c+L752n
psqPLFXosMBQHHnMZTRoMv1qBeAXluG6MeB5Un5gZ+AsUkDyeA+rsycJ69v65poX4mTkLSQdEDX0
0Xw71qPzY5VuA0D+d8OWyWtRl0cCKaJNN94H2GWBCxgoaGlEl3S62RwFD2oz35grf4+9FCet4VKe
tGI7lf6q8Egkv0uMi1hxbORx4mdw5O9MUBttxQcFqoq67FE14xxNtnyac+QPYBNUkGo0fjCd14DY
Tyaf48skmuQGcf6s13x+cM73p95EEJmhQgHBfujW+p2P8v1Qrdl12qNaQaHqk33su4ysTtLcnB5k
TAIFabellBFGkkOBH+XaN3YaziWaR0vLtGtax1mWJTElyGdpTQLU7PCo+FAdYQfhwgDhaFWuceTz
DHkHe2PjCcafVBPcpvDk+QSiZSpDyxOKidh/C/octvEc5wXkgIMouL+R7oGR2gyMYYQWRw1hiB08
49tESZiNDZOViWmOlRUPyUgcvamfPYv0YkepMxEUbdh1FLs97jumI1ncGWvQsXM/FGNXHC3VsSbd
WrxQy1GDmxXapeaeBwtPAtSpsFCKJjGXXyho/qYSpnWF2+cwK1LFGOgHqdHyJrgpcz13fp9X+3ex
uwOd0XzxKxVtZo+7ihycYJpOMAuMo9S4QV3kXyMrUaRN+ZsymeRAVK3YZYAaKeo57NfiAzEoMcRU
taWo5nvy0VG+NeZv14cizqCNWJTCALGarURkweeyZuOT9esOKkpknExdd8h2xtGszXe5yUOiJ0jb
JdILX8e2UREubPnYKRad+sMh7iGdhxveUVYwMDTDtOEYABbSB9Sg6YaqEFoPQ71FYjwcJyOQjnhv
OSoZYFhQjDlOR8KmboO8bAUOOgrpLbTgWlhF2u69JUgOYWsnipt489o0MsoqJ85oJ2A6Ji9R7oS0
nCbyZvPLMdh5IIC9TMbjoBs9jg0lX7YV+5eJ5LPnvjko8hzCbBTHIfXiYrQzcKJP2C5AlqLR2FBU
1ww5o6nn+bCU0YFos0kiAPkBq4bHS7lExqz2FEoeDjBqzkPmro/2VpwAzZP8o+XbszXAThaqRvyL
yLr2XLY1GVbrZpPXohXyYWit52TxrRt6W/0Ok8nvpEO5okwKb906Jv1kHOmYzcBi0nIWJOEyug2U
mZfxrE07MbTWn/VcnxgIUGQO+g6+1bx4miSzAUN5mOnmn5YB/cGBuveIflsE+yr3qGa+tV1NS2B4
qfOodHRjRZP+2Za6OI3qTnSbTnleF3FBkE+QGXn2xIB7vq/QPLUEPpxVTxyXPsn5ZG/LywSegbRM
3Y4bX1CHFVKAAmblY3DyOu3WxPmm7k2NgXuZzRfIDASmerZ3bdfhqxM4fjR3fFsNYb7oVLM0tHd9
Pfn3M8ctS3vfOQHjet+oeeZKYK7fxLNY6R/ZZxNj4pD0Y6Xb68Qk5SlNDdgLa/dM9iGJnf/IalqH
b2JhiruZoEeqeb5UtR47cjXiptXgX5NAAfZneVzbHDfQQBhPrVPKqLmTXFw67kLJwZb3/GW0NolK
041cR+rXAQzBQkpVOtRP/75w2OAnXHPtuPyg1cMr7RYVBkkN6Zc+ZIEFGbvq9fKWK0LKUmMiRVxU
TwQKJdwvlU60ym6e9tR1dGcqeubils575dr8Ybtq27gkO2mT4z1BjiVProh9Te+DMU1dSg9veOJn
M3MQqjnPXfvHUYxdibO4lr6w7sCY3A3zQgNjeo9ohljMeHPx8u/LAAHI0DNEwjmK8dFfjiRe/Sq7
/NRyykV+tcKkyascGJ5rB6rCorR6Lx2qtpMrDBmRb7nXBsK9NAjsKsu+OLcMhtZdQUlqLZWzu/lS
fA6Oy9SY5roaKdB8MYKoHTxBnzFoPCrexwyehjzX3rvrwxVn+w0x789a+m3cyOWIf1tQ4gsZjtwS
qs5PS+lv8ZK99eW0xQMOk2AQ4xL2OjALO2mYcmWgsvLcmh7mdKUFJiU2m7HOaATp+ZQoqEx8jJ1W
q06DbX+RgXPUMCB9NOaYI7RwsWbhc0dhlkP2cfzqI9notZt5OKQ+lAANuD3Sfsa6fW/CU6w6Xh6a
g1ifw7FLhhOgZvTpdi0OdtN86Hk6PUGICDfR/B1VVj3ksCHxFeLsBQIkQ9PCHTkqH55f3YcSvqCe
m9W5M7PjMDaIUkfsfcl/xc7E3KmaaNCW7opivYttXHQnyvtjUVvNxc30g5bOyyWrqp8e5V6UD/ep
ichpqXEZKF2AJWjrD7/DT5vkhn6WCY4AbTNfUEOiU978e95xtnGpICOSWXHrTX5EsARgeq/6NFNa
/LRa7dvQLeuJmRkKKy8JrJRlUjnXt1Ym9l1lM0pnJ4qLrWeUDaFD7IoYMcM7IEflIG32GlO9rM/K
TVGvQ4+a1RQKt1v45lyfojR1zHHjX3fD+bvCsVTla6ooFVQdm06yBmTW2mZ+TJrpI9fNBt3j6nFz
6FATmokCVPchvUwmAiKipJSHURO1K7d66FmOCPB9seJttL8KCHEwldtnbjv/tdOgwnJdzhtBk5ds
dX6XftPS+YzoEl2MtROAJGb7bIRLz35a57UPpJmMiKC0DrVj+tsXGYayxjsZKcPJeiJRSJYkeW1g
QpqU38Ddkvbil96DXVbeESsFqisXpez+azCp7wEoF20eQcpfg3FlppwQ5Rjj+MSfWEaLQYbO6tTq
Tu9Ae1RmjonhL12WBE8AorgpCnIE7VdU5gw1JVXPpLn2ieYOdlcGMY5Nt2cs8iFx+ukweSAzgH1D
m55AdloDPlxiLsl32htFScuuaX9ob/qTOWlfum48jmU6M/rFvmO4Pauk8s9a2RpU5uuQTzWhRQ0Y
hVSwPNiH695UkgBMyML65Qwa0EGn/66BRNxpOo45dgQRmYx/3FR7UvjUwxV+lu4OtIhJ80PviesN
ZM04pwwFTDvEAsaAkSX5VWrJr0Tb3N1dMvNyGKdWYe/V9DsliCMjTZulSQG0E1s5yZ5QBemhezI8
bWz8UCjzd1MifZ1c0/hsErq/MWbOpB48J913FPggl+INmGH1upqQOW0zC0fFIHsYhHdHZPCKbowx
tkgU3RFWFvbePXbecl7u1PYAuCE912XlH4nTJhJpXNlfZoLszqx74nguolWa8jwVjv4wd0Qi1SIL
ssafr7g3P7CF4fP3ShjuJjfW4EAunJJQS0qS8bhjCHbjjup0xCj/auscZuZJOeMZO+O7rS5Llj4u
+BXCnv0/B2VpoCBJJ5IMEmbqbechhtSluFYFTtHEkqeKre9VMpKFWDieG6IW0cphj9XaLMrIlrrq
ZQWQvb7ai+5f6sJcroDAVqytFM0udFhrWZvYMpY3LsivVCvNo7KnX8nEiGeB652rlBVxj2zbc9fr
vy8NWZEIlevuQ2yMTSrzp2RLeymyN1GAlSyntdg/Ca9p6SbHjDEJfTVfQKC8lQhuGO1stPKr/moh
/YlbPf8z03xHuYFtmxfranbS6VkEtt0+W8yDEkE2yzrnNNkbyWuIQZGTbN8+pdOxdzgSlpJUjUZN
bwgfNBwX3lPab1MsWz09Lj5Cjo7lzZ3ENoQVz38t25lSEZkcOIPeuiY+Q09Ipxc0mundqCdGbG7y
Cc8MWe/u8pWxu8USZ/z4g/UG4IuPVeH+cRruBtxCflCz8MP0wXdqRQbef27ZBzMwvxJA2yI+8lG4
zhUAgRXhOKU8DitH9EExsVGz7bW7LqhKR3e6TgVWHTgneqRSVurzynTKnMTPki3pUescN14GQvEm
Rt82K2ZKluzh3/erRugtYKjOLcVsDAnw5hbdhDUFcBGVt3fwHKD8bv+ABkbSDXnnWpnapd2/qB1e
CRfxtFe+FxZZ485nBngJuYtRMBeuw1iZ1G7WIZm8WDsWkKZwDTnZXaQZB1sjdsCd1/0pNYjxmcvQ
5i9+KVi/EFfQIsjEZgpeJ6WNT4fxW/AJ6WW20K0TpGg2Twi8x9hMqoaxs+aGyGcb/vT/vxCtTEg9
65F43L7M3e04dRxe2+gjspBY45vBduNkSH7qoY/5D8LBfjO3cYwRWFWVm995aPCzNEFXuzHx1pJv
coK/nLIjjsBm1GppeXb2O8bw4GDvRc/tnwospkNOR7Hy+jEbAcvLo5uFEz7wi1PtSgIUZrpI5H/A
VCJ3Sf8Y0nNPKlcmdF1GBsYyP3vZjvjHa1g4KDCFYzCZ40c4ifNW1/5wMqZr/++50fwFH4btH0aU
2xfDJolVYANIoOnDfEE271tMv/DrP7sWzlVMtjGUhJqEg2lpXnn71yuCPRL5ZtM+cLSRJ1qdFEwP
PGXdHlytbhZcbb0dLouWJDyFqMyk1dY3JKomc7Siv9QVv2dTM5jz5a0zrfRBGXW0mIl7LRMSFBry
fttGG06WhSOP/e/E2jEDndwhjAfRkgU1FrsodXOIrpN7G7KSKwDtqkbTjoqqtTHWnYzSfNjgFyFF
nV4cqb1qu3aP5OI9KYjsZOrGlbqKlUjnPy6cK+iRc37zXD53RkX2SmGtEU+WfvPn8trMontKHLwr
k6/Ya+UAwVdvbe9oDp8bWCU0WQS+C4thiYB0GGw6jFurHmjlU5NdgTPEbOPfi6FYEbbMb+YQeYko
mSPOZGgIWCvMWllWF3gIioV5cEHb4+M4w6d3NO3lszaEvJT58DaoOWf1Xz2xceXqrI2z2/lkhRP7
2mV2aHYs63rMzyv/98HMqUa7loFItyVxreEuBZskSUfCjQhlEKtDzhNjgRk+SInAgt/aliTPZyNv
I2zR/0p3QCu+Tknca3Qa//7clgyXf/8E1tqIBVJ7Wcj1UnlUPyNr/6LynrceUxubOwKmCBTRoHal
ucY8jIVzpCH1txlhyo32Vu8yl0Cbkbmw5y349zzrVLk+SY9JRSYzk9fTsO9D7NLOX+3VZT+xKovM
p+zdfeAxSU62S6B1qeEpYqZI/4hL3LAMFsW7oWRkYuZqxWV+9jf0h1AMvy1qqIPHspRilVvTKpwj
4eKPw5QkeCw8MPJbc8lS462W3E3jvC/m2XqsGUb43l3XS6Jho++N7LfZD5w/frWFQ05hZyEyv9hj
MQZp1TS7xtkLOp89yrpBdBcgSiInEL1ZI/lCmZQVDv6lf0d6d5k974kUKGRbmiMv/97fBPF/nW5H
Oyv9AJg3GrD931myqPigo2P9BwT+90+b3fMRQlZDEjGD1hqO84DjgAg1VGJMn+RgPPgDZ16z8YY4
NCRhx6ODH7eTZ6odMkUtRrM9ZmothUjcifw90/mwTjnfzdLFyQRrdpmJL8GegZmmOS4W+ocqVX/W
1edbqknDFpMyiKMCyNGBgo8e+aTqfxzbfcsawnQGXAocDQtNl5tlJ6X1rNDr14q8l6NmthsMAfWh
aZS2FRLXyzL1bgnCpQc7CLKTDW15byMZPg7a00j3fP73Po3klV+68WSj8o2qrf5T1aQ2AtfPwuGx
79z67PBi2Fa+oGEZ91ozewLb3uvRwEYpLUumly2fDbMAgNJpSHZA7rPa006trGXEKASFQYub3qpJ
TOpc+51WkP+1f4G4AaGAkSb4CC6if28/lQnQAAU1xyxHQnHwz82Zzihq/yv9+0JAdHOxOhjzNe8K
c8vhkqpi/9NDzAqQX37kJkz1ygD47oUmnmnGJ6KDOWIK1ivIMXWGHRd9ojBGRkqs2R4lvN3PPMXn
NXtbSZ2/Map0Q3/ZDGpKbbovusGLDWs8l8CXjMbTbkuxoSUdqJxyf5T31LQrx4XaILIw7+nWDlwR
9oa0vC21blwscFOddNt7zrgj9CGodtpQMyYqfsM1iW3w0vdMEJrYRaB0KBLJpIdYsGrf5u/KaPg2
mroZTvVLdbY86Vvq34yqcGJbW/80DBqu89zh881RDq02nN8VpIBZ5EifkcFseolHlFHOfVag3a79
+t5zU/ZnuN1CtmvVld+PdPstxdlhPVua69+hDQjMBldVJxgo1AXuQ6xY7XHbk6kXw14PkDDIi8Ko
UflaScA59V6SY/Ry++p5G9bTxmwh39mEz8ibqnBMMaLZHqbNHpGC5q1A001G7GmER95jl49aT7YY
T+e5fikrYDTanU8+4cEuDVZPAEeYhMKAyctoWKG7FL1aw1mgJhmA3bvTuJwse/ndsseXxP4edYXd
nb8WHv4onzz5qNndH+w9XjIh1q2N6wI26yxxGd98Rzzwn/zkWnLRk/Y4ACWpCQiuHh0mZil1I9OD
A+TKaDefu2n6ktm7Sm8jiMHobexd3WEkmD3oDUhmrv9cWtyzulNflDCKGLFpvMi0P8iC1APHIwTI
rUE9fRK9jP7YAE5TdFYdtp6DgEl7NKmWQ97PLPST4teodWw1+IEsV4WM1PSbq5BHV1NdaDC5YnNI
cBPf/y7t+phYcxx+ep4EveU+2Nk3gAhuLYRboS/QhRveW0ZAS4CSgVF0LYJhrP8r9f64TMu3bLyv
IRe/haafGwdboCppU5McGGGBYNfi9XT27MjGrg8ly+rDtI+ShXNfrJ3Ag4bD5IzGp2GJQXL6isfG
gmt6wO52lDQjXKXGnzJFobCJP1ybm+qCvEcvmSuBjGoroh6F/6Z1V1PhvJeGrh2nwmYumJGGbf3X
Ooy7mpl91OgN3wiEsGBjkAN3kLOJKD7TKswK410Cl+YIs4qgaVmwu1TKqOzA7hvZNjA+EkzyjVeD
XBBNq4l5tN9sEzMcfrvURQGXSP0JNvp5h5gQ08ws0TOLwDX7nzrRLvWGlNJbQtEsmLJWqCELnq+j
R69JWfc86XepfnEs8/fg6h9eLb/TkVR6hKydYcWOq94T4Jg0/IA+TOc/J6ERK2bkDgqaSDvKSGc4
sPXDTXd8LL0LKnUNNUanS3ymP+z06kih6woGgsQ8qudYaNOj49sAipr8xcfxeUhWTz8DkXvNBcQ6
jWs8RipdR27N56UlH/3gAqejL1R38567tKK8yFzssaxqohIjatYE3VAS/6FbYd9Z+TFf5EtaEo6p
yQjwGFY1E626rXAdzblbxsvcHGVevs729iT4VAZuC2GUhTH+cnBcd5uXvRpuQgIVuZ7MNfD4DUP6
dyxtEXXL81ryR/CG+0G//m4bkwHx+MW2PyNVhYPT2D/q1TvL2wtSxTJEQfI30/LITfDFMvBUznYW
Ai5b2evs7RNEpugaXFZLB5asaKD6JjINmFJ9DUnG1VwFvbm8WaCvj73FvWCB0L0YyjgyCDGCbIZf
7aslxBQDdEjPiWl255a1hBWb1RbndvtXtyD1eDOZcbVhBuTp5JGzLUiDGMIi0GCY646ftmCkPvok
2PflAMtfX79RowqOEdh12ueSWoHlWXcVV0DX2Z9DYg8HSgmC/Th8JGcUGkwQs/wN5OxHSWUj9K59
FDCmxsqeAo0dw3Nh4KsvatDl+wM+2X1/S5by5HjjVQ5uNGFnOWyCL01ugDOesQeXppJBvnQF1j24
WoWxsZlrlrOoCRTdaJPCvtpF5c6wMBjBsLdatMZpSQuSG7W85qK/Vz0ClMaWEZ9hF2uf/EA40J7b
4rrZ9mMFeQpFEm8//K3aWf4Q1fCtyV3x7MgfK3GOLD44cVJxnWWljt0CX9yFaqGbdy4V4tGCxhAp
0hVQ+10opNjJJKjva+BgWfeIUeJGkwF6an+jpxr2KuOonoVk4I+DdoSBEm95+oB6cA05iOxKy46+
sTNNK/G5FipSdN5AlK3au7UFO6ABo4E+WZE/s9Su1/e+WBiHZo8JqnmCP+iPOEL6GfK0nfJq6bOL
ui42Fvc0E8WNW9H+XjfnYvXjCUpSYtdv87RAR2DKc7xfPCbwDBr6wLV4mCChFiLfA3iA4xLg0VBF
JN61/DWpAa1U112MmrGNXu+hnWK8IcCa4lJkv1tGDkcjHsA7hTpCkABaWCgdfL29/ym15VrKtDum
Swmg035gkBWWvKiByR45AkfYAWOFiN4k1ZeTeCia7Hw78h7CdYSVXU1rzxJhe5uq2b8aCL3CrSWC
tEyeReGBFs8T1O5rTIp4e54Tt7mbPLvleqvCngSlO9MqzZCwQ8abJVclaGuGQkzgMYviTlJOrwW9
lmRhaaxEyaNyQ+Z+qjQDgKHDvKHR9Z6Kllh3D68zUpbU4WVZLNy7ThdkjH3ISMGr45hsXApMGVvX
1y98ztCfXWbD+OpnNw2yzHkaNRPowNrxO5RIqKqm/ILpwDeaInuptqhckaM7HUKCOXNIIWRKPvve
FM4DbT3pVtgf/DZErnhVO3CFhw8VndbEW8b4Et037nCwCACXUItB8MJYiYIHNGpQGU8NbyFdjDxX
g5pOYhLfGa8rQnxER8j+jiPa9NNs/NGn2Tqlu2+tA8XCX5Nzwi3+apm87zKQCo1BVE7WrBwv+UUf
lzHaUKQdUrl7qBmsEhc13rQFtTlbJUb0zGAPC0PGB9uD+dUQcXWcMY/eyxUAD7OCiSirHzxgoNNK
GWe+ZzJH9gn/aFoGMYNxog8LJ6jM12Ry7lQ3u7Ai6msJgmFJjBBAAnq66rHufP+WlNc546XCd1AH
9mgTglxPNzT8p6K1d+sAeC/07U28WLJlTa1vL06qXVdcQV+GMVfxUgs+/6j6ronpUN2n236a5C9Q
s+37dWd0o5jLvqZWzXgE7OpSzRz2Ww3sYLoaxcYrPQH80BvyT7IN84Zrtf6nyVIYhdZMkaRr1rEr
zISINTtaq3n99H0TkCkWJd/DMkQw7ReSvp9qWx3A1drwOIL4YUj/1Dfd8rV4Yg591G4XXNITcuyN
RXvx49O4fbEIqs7SL8G0UWV6VeZdbf7WlGBOx0JlaR7wt8zXclO/ETU+kwFgfi5r/bwt/ITUHGY6
P34Ea/4Q4EiDJHFuYokQ4ba2PJE9i8uDYJJ8S2tCRfSUE6KQBAU08+J+5rjGMqf+6veXgiZSJAgD
N89ovoi0qXTjP3RO5kMGwcyFO8X7/z1187Ug+iqmtU3jZsmoMzXs3cgAw3nMh9ek68+FqGNk0BTV
FfKPtBg+3MpuT36mgUfcf56/EeUp1sW6zsaShJvhsAdDYPfvb2c1uQ1abdGBXrbrw+wwE2u2EMjK
2ZXKuPXst27//gkREJEoOdsEYJLKU6iGMlBoo/acIwT/JRJAY9UsL401VqeSCyJKkaIfXAtXRrbO
Jww35bdi6QRWFy0QWGRweBpDv7q3mB5rf9plzoOFQM79sZo4f+/snuch7agOWyJZAdfERsYna+On
bFOHDdJBooQ1A2vPCMgpgetpdryd41bhoib0zluSIw416oVJf/WBeCVo9WEuV98STXiY5CDBdD31
I7UQoNbNlYrZ+OsF+s9S/+lkYlxzsOTY5rAQMicOsvZUFrAyNM91Iq+k7Cyt8S8SrelsamyhfIxY
Uak4rNu2B+FaPFBFpweNTJU77oCTP6sXY8vvZVbkUWHgsxGDRm5oI9Y44XhdUu1HzLwOHjz6G/J+
GHltK254VVjdVfN0Gf13jW+gkQdOuqcAejfe5yR7I8yY1qtr/+qbpX3ohuLKbXA0itfBGWFn+gpO
l0ACZ9XyuE0kG7KrQu8+Z929ttw5CNKtoutfFg/pl1XcN7CrIsYT8tHchcgjlazS+SkiJwxN6Wt+
SWqPep9kuV+MGBmmwYHyZWtdvVmZ11XBMfRFdzMkkWVidcqndHReG6F5F/rEv6gIAC5jTQ76bPCO
Lix8ZMQ8XGSD2czs3MTRrniV74o1v591fIhwOXPckzgfXKVv+PcnCm9R9SdWZjTyqv6bVO03gDIg
Exp8Y7nyKu7K7yDfyGZMy56Yrn1BilvlpgxdPbdO9wn8AeQha64r0WAnDMRIZP1mjYz9xdnJpy+j
YbyXeuP/QhO9ALjumluJrOzRd5/omint+9n5yhT8B3voTBpr8w1+S6g7KD2hjvHeLzudxzYixGH9
rxQBFkajhhrSzKD5bKQYlPny4BAqzm3rir64Yzw1cXNghNsq0NJd+mw0Z28GjFTMbHGtHk44g8RT
hblin8Q2Xio+NLNgRz0nbTRT/H5oAmmQ6QLcGu03Q6UoKfdCv8vaqPJG65YlVYl80r7w/EFeEG+w
XBhjL3ysTZPhCgvohQJGT52wWz0sBeQiMbDcW3yXUkfrfufKuJDJbsVLo2MJJDE8Nyccyvnvf0dt
afDHK2PbB5dEWjjdPUyE9SxyymB7Hu6ToSSs3QJzgJcL4rEy0qjh/fEHnd61Y2xgDTKGZpCeS6SG
6P7YTw+k7MQ1+/A9WSsJdJMOZ7To971Uf7EycDBSvTkVIxqqIyCCHg1FsT8DvHf7+EP7q7WQ2Iho
/x9f57XcuJJl0S9CBLx5pTcg5V29IKRSCd4lkEACXz8LvB1TEx3d88IQKUqiSACZ55y917amOqMr
lGNu1SlYEMay8EJhQjusv2l2xApRocqpXSSjBknPa2EGb66t3pxC7jVXvrK7IVdy7k9THz/arvpK
bBKdXZZXJdiu9yplm1pCC6nZd5LYZ6+zyXt0TD50pksAK1AL1BAaD4giU0agQhyTPkflbkLalc6T
ifVTQcE8CL08R9D/2dAzHCLK5kMLmgdDsWkal/c4KILs2lZd/5jl7UsS8aHbGtdiM018uM7NpnSi
55Qsoq2+2Pmwn2Gn6O8sgyGRjbqVYfhRGLgp20W/4Edffs6IuiC78QM+6El0uvUc1IF/HgY2dbIF
Hrks2EpD6tUK+z0OqHBGW4e7MYwspV09cA4RIeUX5BJqCwun1UsinQLb2pZtLw55SjDY6EHndWfj
NSG+Y5o4DXQ10pMWJKk1xoKRW3dOhEy451LG5Z8mY2E8ZelcP9LH+T0AnzuwJHWrdrDajwCPCi2R
ZpMZLAlp1sHgcEoyOMaayibCOUhwYcwiMQ4tGXGksYdzxig9nb67gg9p0nBBp5CX56h50AT7BiaS
X57/nBD7+jYPzlMbwwPzyvIa12m87/BbfqCPBkqAy6ofsDgOlf0MAcRe3545cTHSh20kaUjcNlao
EWjFNRpcUqwK72J8dQZZv6L03GVq/hCCN7eGz4Va49NeVsIBFg9+7I7zmz4BR/ApQmzLAMJaW57l
H+yBfG8u3RoiEgBGuv4+mRWV55Tr23phrkVFZLyrf5Z5IZ7KxLapybgUZgSuNJyCCbaSDzvt7lEL
VU/5UKlL785Ed7cDLyjmciSZkxEolaMQlNHd7fmpASdIm2r3IDrvUk31kx4P5HE6Hlv8UguVczHI
HP3Q8cCQEcCWxbc1E3wqenMXJTxWMjmOtAJQ9T7G8fxU2ar+0HMuiyTPcHCYWv1R8WnyqaFBRc20
g+DLgqikefRmYnfQnSIrH1jW9bK/S63kW5euuk8zt3lgjXqXzRSRPDtp28nwEH7ksfbexPZuopu7
zttI7M3JviupxtAoNXJn14NNg1lX77mccKMKjx7WDPmcU1276DGt22D6BYciojIETBexLbX4zz7K
SqdfNXgvNoqekLi3Zq0XSfqRi/ozDoiArJQf0s+TT0Yi729n1KAbDLYUWZ1JXxfvufbzz8Nxo+9t
m95qI7H85eyw+yhP9pYIPsjAc2nZB911pC1FnlDkfrh2kq+NuegveTdEj0ab3qOjyHIBHb2iyp1s
OVG78/o4faCsdyp5K6DlMMV2PkbVfYNI7tmf6g9pbMyMojP5IDRUyXSxA9Qk77XeMuPSErRGGP+e
0mx+aiL9WoNUmupH4remQ1Ow2e0s+dQzbN5zuIyEMsw7UdEDqcY5JpOXzT9CquC9f8sbV7zEQ7vn
DUc44SZoR5qMCJdpZBFO/Xg1o2q9DvMjWuv4YUyYZ7bxnF3NQv8Y4pqJg2AAk1lMAYM2oeKQXJux
eg8CfTBtqdeWuB+fKTi+oIFPOENyNrmTi0TaZ/DgMCW53YwdI6v/9Njtu3+/cXve38f+3v2vj92+
kfzvH7rd/U+P/f1V//Wv3X7s/3/ef/rN//Wx26/6+9f+/vr//7G/r+D2E7cn/9tjOIVoHfaKgFRo
s4Q4lxOX5Uw7uQYNDS2FeinmKtnMcTWG9JrIni7w8ut9MIRFY8eYSJYvoTEtX87jGGKewmqTlAe1
/Mj/ec7/+fL2rbjBvOlFRJnefq4xvICL9l4x0D7rFpbjqdRR5UnIeShLUE2ayYs0TBowS/eDEdyC
GIwxTQ9TFd4ew1Rfhbe7/kyGXw9vg3AERLqzHk+hL6ns1ahHW1qiKlRu81ONyDEsq4t2sL9+k+1N
iq8P8XFqvPpMb3kFjIfWfmz+SUcBuDWa6cwYtFYTrRgBkNjXiSxAI6+xlLlz2KDNdwaPE1Q7Dh5I
NsKZeecmh2Uze+8GF/6bbdE/EdllnnLzIIP0kaSZZq0m6LuyTT4j64tAMAzUM7xH00nI1JjPPWCD
TWfAKYs6d6ukEngyJKLsemt3yD+q5Y/zebl4hRZhAUUXOxEX/lSwwaRYbFBSdsSkweGNQCgOGus6
M0F9SyX94aT0fKwAH5XTYYsEHWK1Wi9X63qsZhjMk73kcp+NRqltEUUvhwZy3TYC2EMPqd2Pc3+B
sG5CCE2/O+IPIrr4ZftbKuwP9JPsU9tD8Z+dGCJNdiEkZ0QxHi16UkoKT5aHPtPfuRzqod/q2PIT
jX3fTFDRQG2Rdu0mFw0b7ugkrYZE8dj/Rnq1zWwVHFhGQ8+WzsZjTpFTIEJMXVqR8wF+6aNsLLQ3
vI06n5ErsW4ynaTBPsBQBO63IfFuxA+iOeu0d+/htZ3RpIltlfcZgjp0hUMTI/uhg6cYfTNJBdEz
aO1TDbVoHQV0aJ3UvbADHFCtevthxLige8k+0UlHKWLveS58ygsLbRDDUjq7FIJLDwKFTyt+cBlf
yRqND4lrHQxdPQIyAdMgkVAlRXJVnuGsWj/9VbQTmbFI1De3o7bvexWmOooheKbIhIE17JxKfnJw
Ic12+SGDAb/eE+4g0gyikU9hVtXu0ZmhY8e5IsCnRNYZZcLaRd0CHOIVXkx27VQ7vMEOdP211RmC
IJNuZyLqOIphAy4Yu62DTdj20oRmpROHqTFsLWbPG59mG5UCfkKe/UT3BLUNkx6+qcgpkPl+zuLP
INJAcIykLudeEdBQ0H8pcjR0o/NO6XIG+wxK10260Fh8Y2Vn1VkPSPXOSvrMccIJe/v/E2FTbNzu
F/2i6R1p6EFo6eA5b/34F+Yz3nPb67bCJAYAmsSTJkkAsb0/bYuUXMdO3yl/XEOI4Yyb+SipJpyN
aum59S0WbhZV+zQJkBBDcMgb4xu3oLsZzCQ9ckAcu4aeT0StLCw6c5bda9tZqjtVB8fIhQ1ddAgD
g0LvuPRVfUgps7c4M1wGPRs3sa1QENG6Bc+qaKjqHQO05U1H7hzy0qxdnVQ/vjv2IdaRduVAFNiN
tFKQUhEXZc+vcQ1XWuj12dErNAo55HjKhw0IxJ4TTTRcJZfpnfdGu++pxnxOa5HPQ1vm+Nagbwx7
0JmwLuFrM2NCVlmm6P3YOfQBJyROIB1EilMIHd4vxLX1wda1kG6I2XSCtXrRSyoA7EnkbvAGnOlt
bm2/lCjjMhVapTtCesg2QxM8jWC4V9HM4MUl4PB2ib9d9ieDIBUo2jkVlAC3I8GVnQ0uODGFzCaL
TQfdfJ6Ftpve1zasXCSsLRtZjgULoWPsaxYy5/YEaxMhhoDpEmlxHmZl9Ng3TMDZMxIx10xnA0Da
gT7X+1i0pJQOjIisL2fKkBU49BJGHR1dkTNLT+zsdZow16VLKILLiT37k1zTM9hWUGpWGBMMvO39
29QQCpSBgbfUIir6hUgZpIHgKgui5a0pAdHT38qPtuzPt2XxdpNX1qJmiv5ZND13HkAHsDT+fcbt
K6+ZftdG+mnXnMkm08cwmjDiah6IoNvdnoI7vH1V+GMQ1qpx96jCXwK7L5k12xFQbPNujJwPvR3V
wVEH0ysrailooGPNW0c8FBEPAq8eJ7vzounTlxjBVk2e9jtJ/G2Z2XdRmz/FGnggkk6gJHKlbAOd
Yyh9QgcW8EK4mmXMJFKbhViP/YNTcDgLx37wVfI6dwmTIivoQrncTDpGck1Hiar4RTlmiL52wbnq
I/tU/blK2myNw3He2uboolirnmNLe/PK/puO1EtjjFvmwvEpgFh+9vP1LIefZYi1d6L6zXdQwgE4
3s3j9FUuFBAhLHfbQq5t8WuiqmFzkdOynSpFY4KsqVVq3TuZB4jdNE/msuA09kBpmsGnqFMBKZxe
o4FOmxCDVRT36Vb65SqA855gfEdOjlG3o8W2G9Cx52n1zIwaQ7vWQEbvoybsawX8Keo2ulm44bTc
lEgyV4NTZtvZJN1G+WW8A9s8VgbBdV6nUeJZhHTTaiV4zVgbRjyErYRi5xL/RtQiw8y+zUPXm/Ow
1Jrs6BbWqVX9ZYBDx/iJHKyI+V/ITh5JSEqAiqUuUyX+tIt79PZb5EhPpAmeb3dsxGDrgR3VgWnp
NetYfjwRwCsInpocqIO7AOEZ5DZZ0oXpZIlwccmHg3Ksk+NCc1neZ3PKJtr6Op4qKKhegX0NojQQ
hbw5tnRP5yRutqWhQfb7PWMfPw+B3oQCSQtzK2OjpTSumuW8Gg372egglNhBeiZFIrApGqaSIZtA
JxZmy5+GEYzlazSfW/KaptqJUfaww9Dn5dPPiCEGPTSvgkk9ZnNsb02rhq3Hi18auH2dhrc7txvZ
5f2GKEUsodjgDqVIHwai22mZBd46I8/+n6vzwDSk1UHRmR5pfxyOCVd2TO8HXuWw6pb3FfvYcrWK
yZPk074tXtOolSGJNVVo516Hzq3AVCQaInZmc48Gsj3GXnQAAg1f1A3mDY0oQN5TcmozS4b1cmNW
7Rm7t35omS/hjRIsQGxesM98C7EuSsR39L+QfUywyILM/kxkQDAzyFk2pARD0eWm2l9I/U/DzMIb
1CgV1BwcFZr8UCnYMAZSBEbyapPPY36SSZiPE1O5ieqNAg2/Kwo02/mVAJV2NP2Pa9p7dAjUsw5X
P7bOQNv1NOyG/mIq9imQXTbNAmEqSshXKPVkjkshru9sFxp7kvbfCdsRC2As4sCYOI2lXAimGJdh
ActEj8rH0lQ0zBz+kWypKlt938zaa8kfDP/eBLAcQpO9J+FI0aOVAglnR4FFOgJVb/eyhrFbuEci
sXHTN5cm1U5TLukU4/HFRABwJtNeOqWxaYvak+oce1vO46MoU/RwjR8mvX1PpOCvUSO+s+3IqZDZ
CbEskzv3rsQIfWBl1kO5bKqG8jVDorouIJxQNLDg347u1PPZpmCMPiCoDQHQMIkvvhsdTzGED9+J
bIZ99qczOsXejOELBbI7Bum8iVHWrhE6sCF3oiNzCgOkYfB9+6WAZpvw9tVtZf/72O2uaVJK5J77
z3PVco7dnvH3B/7t55vl8Kx3ZgKgPjCK92p0632b1NNO01Pjva30NwvO6IM/FO3D3Livt4ft3tZ3
jQ0a4nZ38osH3Ig1Aqu8uS/7/Pv2MF57wBzs5fbgO8TBD3j3+mUCGrvdeEXXjlHYwpDolNZ4vX3j
73d7/6zizr7cngrjgpqHTZ5zSIzk199nuR0BhI3tXdOpNq8T3s91rwka8MtdQ/XYr3x32FRZZFzb
UlRXAw78cgf8iHm9fXW70bBQZagmIWBPIKfRKNGjQRtcWVdTTv+6kQzOD26Cxgab5yyG/np7wu2G
zox17YBJbtoMjEjVY81JbB/KweC5VzwOL8If3rOYUJjgc8AAdkrzCrwymjMnN18CHQeILuxL6VDt
4CB9/VvD35oP6PnY0vYgNl1Kt1Xbo3SuUgwaKehDs/e6MyZ9ZrQlgLp++fWYb8RJGuhi//nKkggh
ZxJFb3/cYx4E/WdXFY8kAcDOFk2w8TtdnW43I4sYKfVAM4M2CE6LEoE6Wd/3WJqYibO7mhGfxVUa
IqIEMWclRAVUt9vcRF/bJ157IoVsmwP0O4jl3u0hv2LcJVFqa73rkCf2y1r8EKY3NCfYYRSygXgI
RvOFDXSYGAhwy7bEibZ8dbsRVpef1Ajycz42kpZw1QiSWRcRql9CtUfEYxBcKlk+YlN5J2BMM4Dc
4XXonD9UjQkG4+qPMihaiace2J/a8pTTBt+mpvl+e4j2lI+DnA+nREWxL4Ddn5QsvQ3wIbgry12P
fTVC2BLkDy6eJUqR5lOkUv0Q92rvTD02W4TBnWzEJqG/h9gOiELLXoNFBaxU4i4JccsPcXHAb88H
IQjgsfLB2fzXJs7cuu8lE/OtWnTcpmzJs70dI3HtXBxNMEUCt7LNSOXlk9A5QgBsp2Qmuex+bS+h
Phimgr+7OPCsqmpOqU9ynWmpbVm1TNWX9+Ofd8B9aXrAp7E1FzuGXy9DA+XoduNpkdpD+MHhiP+s
zBCK4qt8uX0AtxuiXftdXuqvkZMcHTjAyJAF9W3ScuAdutm5uKrIDkha85q78qFgE4hI1HqL1fAK
CrXb3d5NNvz16fZmQ/MkcqcufOTSRrQlkhFwvfUe+ZhAVY4lhEPYsfZ1F3Fplzj6l8bg385YK4sW
DIjxFrnBT1HTVbQDNNkCCMWJcLONsujOqDj6NvLy+fanmUDbx1zb//M6lsafLopuXhvBIA8lMqx/
65V1PQ1tuueAo4w6OevfvanmRUwvwUg41s7VtHCuyYjI4HeWtnHMF28O21HgWkn6xiS+Pt0e6pev
QAU3mvVsFdhQotz5gJiCdjDPqmQ3c1W4XQsk7hb8d8s/GmSAPxjgWEdOWaAaerwOoI1S2TEYSX1I
k2Pc2OtIGdV1wld/tYwe5/RceltTpEjvWgdKPLIzmhPK0r57i/57aqFcdTIT6X/WHCyIyT/Unnh8
+tATbvye6f1LlATeJ2b8P/lA3FcwsxHHyMnKYU4gumY4gVlPDaWhCZrUdK1qsnAwe6aBH+ptZl5z
xQZ/WkoKzqtt4AEtM6LsXzdDP30VTMIhJUFBHTsfnNgUQx/QnM94ip59B8ZINKnknOi85XYRfYz0
L8iZ6iO6eh9dIN0jesZ9kkXpoaliuGNDP1Licnk9xexkVl1EJcBYGO00oS2p/KFxwkgmWhoVz7hv
Xc7vGVDHBNiZeSTxa1COcgZNbKwPhom7n570Zy0xAXvTYptX4D1mKJpR2WMBqQkW5NoraFPh1CpS
uY/HcjxOkbhv+Ah2EsfM2tMB7QTxjGR7Dk5mbgLHI4oncAJCYmi6r2syJNZp3oP9gHbH/vIkgFoc
qfz52WXBWHy6UcMviYpL1hXG3kYYexWev3EdzbwmuSevXDN2o22A/hwkMDjEEU8NSD46Go2/gk9h
MX2YsX2iIPd/CpK+7aH83cUDlJ7Moh5tWL7KIeW1A9pGuprTAiRvI7N+lQMCTba0ZKqZIIuHk6UN
qDSib5uR+BZJkIuxpCOVvPP3aDGTk8rfxxI9JnFucPl6xba/az5jXy25gA+9DhmIzdMbGkK1nwjs
21UqUFxzL+CsM6bH8k73v7BoWQSprkptwbzQOduk0MwJ49O3El/fBgQ/FKecDMP0F/UMQm6LsBHO
Flxu4PGaDjJKQgpCb4v3wViGI3NtYDskdcHF1FLMzBqkF42spbux48xSRnMnHH1PXXenkU2B4GNp
jigOzyn5GW1SDob2F8A8rojMO8c52dl6T/DC2MShv3CXXIzGppccK3s+ETMVIAvKSLMqyWlNiVnN
0uxM15FraSIfcV2SIukDUK9wE9vSOuFvmnYFWLVSo2CznekOeDNxGqMVNp1C1lQGr54wxrMWuMdC
dtBHBpgfbYCs3HXsbDtiaWkULsDWs54RBr3T0n7IW9fYx95MTpwFyy+2HUiJNNZbn1SVqOGk0IAw
kjBL2mJG+Ilmv7IEIDYvaKDOGgSQkh0FDQI2D/LeMksyY5BUR0YZnJuhOg0BE+Ix98+iS54k3VXq
ZiR+ca6d85zLA+XHdBk8CTmG1GzgjhktMTARO5kGh84UD32PHk3rMeuMxjFBxwBblwg6sRC4ikke
9CA5MxnqTnkOm0mzr4UOurhD9PFZx8GnZdnVfUPqZJ91yKdKeQ46i4QToqAuHvKJjYEcFS+lR5o4
9gq/7f8I+DCryot8KHAo7weixXdGl/4aZumh/3WqMM+T5tA3dEBVTKtHL3/mvPFoYJo0q5eXkYZj
lPwmRhKihYEoHHYCcLsmfiEwIkTUaAIwidGD1DmRQtYQMckHYctp3lC3EhONG6dfLdSjPaDycj1G
bQOkNzJWBskruDOYMOYoV/gndgYFKv9xSwqPfy0ZU5LVU/mnacA/W3oFIlLwxkQ6k25WhdSaycGp
jV+TwSUSTm+80Tv9pesG4+CXOZUkgZgM9MFOdlvHZ3GvBraZle9T9NU0b2DbuGWq45KomrU/OAer
cx9HOX45uQuN0gTUVtLZmJrsEA/wsXPUbOhkq25fVNdW2uMqyN3oktz1vO1upT14AJ45aZEKIfCg
FaOKXcfIYxhppA1yx7eJWgUSWhmzjn/P7/ZZlpA0hJnNH7/8GhQF84VgsQWfWnqsqx73BOrcHF8h
abtl1F7IjDZBtchi6wfjWwnt3YDTg1rIgERrEqzeuuMdsSbijlUqt+yAEQSvrqvyam0xStjlCneH
n2ofju5Oh8mYf/gscO8J7PoGw+wVv5ML3sIDb1HjbRORGbtRipNXin3A/OxI449RvSHhwEj8zmmw
sGzGg2bQQzNwL+1zMpJcvNfItoHRJuqEZApVgDczgIJd1rB58jRrWOXjktLk5KR/K++hSJvHyfVf
0XAL0poXeHvN2CuDcI1MfM4ITWvRTWNTfMWAcOmzpfK/H1uKKJq/r0FcfSLByTfaQsKkNR7gIF/m
11+uWChfNIpRvf2y+ybZabiLeW+h944W70uftlAM22APZLy9lHp5GHRrV0kHoR6xnhheFoyUpV+s
IXnW9DvhYn61ctjPUwx0YEbvzZUNgB91BZ8gcQzo6cHX9l0DgRnFLDjpJXISCdB9BO43H4PqOpTj
jna84ko/62tpvsaYUVi95XeC3pp2hmIWji+wnX+nIxhXb+5ftNlNrvbYXihL37WI8ZFrWbhpDfMM
FArxWgyFN9D6O0z+mL7pSgMKZSNXEv07JvG0tjX5oveQdyPgKIVmf9PFuh8DE/lIBSFBNuuosOW5
Arn/1qPJi4vgQoTk+DYa7nPfviUo0tYDvl+savXHgNaJMXZxiE2oepGN9Bh1JlmlPeJqBjBYKiv3
0qgx2/mVOBqWdaEbQiaXj/J2qrWLSapUXbrf+uxiMgLthzJlOMhhuGvRfozdz2z2xtbo890EYqJb
BCajouRoXC0ESvYbYWR1VKk8Abd8td32zavVXXucRue5jH1OiyK1Mbqb6KVK7Dyp/ON6cXmKff+H
Vmgsu3eWcCRAHvrwMtEoMo2HcczuPQ7qVa/LzwyQ4qrJho108zvKAA/NV49GVm/bHSjPu1bokJLh
bSDs1hhWoctvBhN/mXYhcf5k0xO1rU6tbKGKLWbk3E3uy9a6jwrEa1hdJOQGjO/GOef9T/Uk3+Km
ekIQhxtj4HC0nozWMC6e8KFHeul06GNmoA3IZ0lYz2Dr5drE1DZQ7ADGHPZR496lY/OJke854gik
HaNOKtN+2uC8dOrOKrf20FW3Q/7qTdS3mDND2zupKji06keM+Z1FibvyevXVafXeRZ8wEUcrexvc
0YRjumkghfUlaW0M1AJ4g8iMQWfL6k9acoYSEo1s4otWkyzkfc541h7770B49Yb2bLZq0A/2QQsR
3Bm2btd0D7cbvb9vbSPbZqQoJ2ZmH0RFCntCF2rC63xQfRI8urr1iIa+44MhqnugOKQXfEUv74TI
k/cEF2Q4v/TzHIk5FH3+J+tnRFJMPDoSioGi1DBB3exrqljVdMsRZ7eiysGES/BG7QA98pmwiZb+
qjnKrYUND04h/bK6feWAy14t/N+pD1A6oxc2I1xeKyfCcgpkLmH+sFIeyjfX1t4rtIfQcfQMVSTL
izAdEzS53mwJq6f1HembfgzU1uuLN6aO49b1krcEYN5gf7hWSiZq6hl3ltc7wBMJvhxE1+z59GgM
uPA3Ea6ikbUAJIqN5w0H5vPRi7C9rXRh8pFW/831rN6aBvgTqGtIzACQ7VQ2QUsghjeN1ZNImJDW
vR1tBmXl920X+0cPv7M+kpmBXfsQB0EG/4dcY7sC3WM1dPd65pobx8A5UiTIJHrHDJn1grta9jvQ
sfRtAiyAKIFYZPvGjbN12RNlmc8bA7gUbRZyTPKe/3+RSPqaTM6u+SIDxzgFsWUBOxMXO8G5MA7p
sIX+HMpxug8iXM1sNf21DnmkYuy9G2agCzP2w9YlrlVJWrh5lj9B2MpE8BiZx6mz4MREOAi7wHM2
bYsynWn44KLAZKuw6WNOKYCPmlEctXhZ8QyY84SY7Nsy/lPqalr7RMJB8UaSaVhcxroFV1klX5qN
t9zr6N+m7EghGuZEKW8JkLibyScZe52NS5t9E4ibn3y3+SQrDoeC4BDyQkagzBpl/dtrTTzxXgcg
2g5KFJ4eEjEQx/2Ircw3/jgWYxZDErPR0BBY5U3gHUn/oUwph/tWfooOIqDvs5EGTgn/7F06xrz9
55wEhYxwI+CYPsV1def2iCjKEgfcx2A7R8K/yRdmNVkxanko7fwEIeIN9bnNdJB9ihht/l9wkrHW
LuG6ANEK+s7EsRmLYZafBjlPPHJEdSW8ChwJSEcEZ1CMoawdMMhstSXWsmVAbIpQRV1+N1D72025
8YnZXTdsDtzM5lqlc+JURRcCz2r46OWPBTYJRvBHlkSUMwRAdi75i5qK0SQKUgEHPXv1AU5u4+JB
Fu43Ybc5HyL1V8uEuqFPBMUDk+g8mEcB2lsSdYDSL4124B7/tHbwJOU87qKIVPPFqQjuwUBwsEHN
EvYV2LM+c9c9spad16HZFT3dgtSFW63EsRzksFbMuoAw8g/P8Rtd/8XvHn9gK8gYe3Uvk67C0on5
ZBqJpbRo2ThNJ5oXj0kFoyydva0tGd7nw2+7TZ8NQ71ZcUe0QrIe7fEnsyptG73qFEsS53Yl8f34
NkzwdNoZxRdMtFNEd3c7s02D4IFWO51AYxTot1l69C8sc7+6tDl43RcVkXOJ8GRnU/5nNlhUmzFB
CK6fVD0y7WC7RXbKLjFwz3jI2B0fETmGkl0ZVT/xmMJlT12xjiYu8nROmMK0/H0MTCo3QSGPNHzi
6zZFzuNlxsmI2YZVDKXgvfzBLXiN4+JqVUmIL0pD9W6BktXeQEnjDphjkngZcrmOw7oo38oc+ECL
iA67lL+DrfdUllLbANChC1PQt67oLBvpqTEEU+WR0e8ikq4IjQ1sH8lAjovXMUWwrkG1sWxURypr
S8vfKHAgYRVkOJv8uql5GxOTCrBgodLjhdswvLQCQUKWfBUjLxEH33PPlXrMvFc1Iq3Wc/D7LkJQ
Uor2k0jEFbtVuYYoTdBuYpXY69QiHYRQRYPaoMAkGmkxz7a1f/CLS6vaFyeBAFEaal+Kbs8F/34y
a4LvIjdkW+6tlBOwE2I26I3OrwBe9YgDCUlPENJG+XLc1t3Oqjsc0r66iwSGVccMrlkBKrNJkw/S
3fe6M/zBnfXTpOlH2gjCFZW2Gor7gXreIvxz4zQViCE7+qyDZCKBDBVBnrItz+izcbrOxi8yan6m
aepYHWEYDZMNMc/cNaT6Qcb9trRxCQcF0c5I6uQ7PzaNhpWjs89fjgGbBVdf2HFT0G/RxP92hxru
4GS9FyNO7GFGXlYUwzlNmnZjspm3q+TAgBn/aEQavVaWW2lnzEzBa3Yel1rpIlaBabtKeRea2d44
MzKESY8vqmm/RysFGwIppSjMPXqxbW73T4XbTBsqndgnzrGZ5CfL0ovTo9wd2ZzhrdCWYBFyeFG7
WN9ofV6SMtoRccVP2z4bC+omQtBr8Mm8s7rmXJNt6+Ke8XFKrT2vf9HL8hslF1ViX75OeB/MrktW
hNw8d4Eu2D7UaK0z1nVVEVFnyezPQpcKZrXEj8smtKJmNdGHEXoL6UswO0zgDsQB+BY/41CDRPTF
mryb4r47To7Z7/Sm2VcpOhUbN30sDYBuNY4DEAMo6HOBeL1HbO7n5J/6BlY0glF5QQs+d+gEFLCz
JW0MJOhnV4OhkhPRyAoVguDSNYz7WCRHV2Y0FvGqPNjuSbO0+XeUqXfNyX8lfacdXXfsXqEpL/lM
QbchcJL9DkgZve+XI9Rf557WHawx6SgtpL5rzQi8lW7FO6dpyct7r70mJNbjhIIaaYHlU+koDVFN
dBnpgW/R4B2nYaJeCfy3rEW4XONE7awemZb5kzjpy+zaFyQ+DKFB4blmSvAH1bZMppdJyO85K18q
dhHLtfarcThgrKE9a7Nx9UiXAk22812SRwfgjH7dQlW2vGuRzejgXEEN5Jkb37MY7A/Nl0ElWS+U
0li9Gcxbd2yMfI5w0Dq4gpwW8UIcoD4K5M7saS5H83xyKHKA4zvsxYyP1CxBpBKt2TcXq820nTG2
O1nSymb9XJFUv4ScL8Z3SUvNRCEkzc0IcmbjGsmD7eEpUYp13xyOI8MfugQBTnm35hzUngzrT5l3
+Vo2QMoSFuc6p1xgIJ4gBNJ/I+15VDZcfH3CSAn1wvWLz6AQ4lzD0eHTyr/lmCjUkNmLmur8YAfO
A3Qhf9u4FvEM0sBRA+672s11WxChAah9RApHD0I/DF5rbRNkdYQ+I5mP9nMZh21BdFBNvMiop1eQ
chxEPhRELsugnyVHmdMuQqnqQwmXIBwCxGo/xXNQe+kGMpu1hncSbWIrvc6jQVeAdMbJ1L/9wOKf
qP3XtgWEQaVPGHWh/SYeC/qVxicixvY3geb82whVB6346Bood1n8mwEa14SMYJhI4DwCMwKq62co
6atV0ysY2Y1ZUHlnFXnJKIRejKWXYixkT8D2h8tc129EweNWSD/awQMjkGlb2jIn3VXoYQz/V1lw
ZqNNu9eF92wyiXWcb6gp/HE0a1CU7rvSl0BFuBr49X526ZOzniG1NytajyAOYxLcd54nDr0N2jeH
rMg4tct6XDXldE6b7jgkJjR6j623xv5jFZXJs6UghhKs9kirkBYUe5tMeQ7xCsJbtSXJqzQ1tYx+
5WQvW5RkZbauvmpEA5YlikKnwHBEgAXru03fNglQiIzsnGdXWyMeO7dNcVXYSK8u7hm4TE/mGP8S
TF12YxuA7q/ujISpNowg1LkuJ0g+fOWMq9dAjUwyMO51/BNaBKodvtj/UHYey5GjWZZ+lbJcD6qh
RVtnLVwLOrXewBgkA1prPP18F5nTUZUz3dazCDe6CKcTDvzi3nO+Q2HlpmjQUww+LFrPheQBJaoJ
e28/dRV0TBVwI7ETrdMJ0oYoh6K4tBFFnrrfaxm+/jlF86aTphWwXaBIfV9P1V7xGHSK/NVXzeAU
o+KKJBeBOtctwt4f1jlTdYI3o/EHaKxvamPeZP/AolVvSbmj6NwrhAbEzj1yq9OAfHRVl8UTFQIA
EM6lYyKsYA7s8d3QcFOmK6/vd76hqVv7yQvaF7QLz40CQ9VgYVCQqUQwnfrDAvx+bdTJIcOfXvpk
xrPcRuW/62vEFA6OdStWn9tdq/ndeuhQSTSgD2TeXTVt+OSQbRCqanQKWWEn6qZuOZCDfoNkKSKD
PD7r154KUK1ScHLm2XXUI1dmr4vmqJrPaHS2ATX+fRyiCqWfjnv7NlPiZj/0+rtKJnMb1KTWldA8
1cj+zC2f9rT3pZYotxyrgK9b2A8QBX0aQ4e0Lx6byH4vYjdiCYUrNczYAKAl/JE5F4owFzAP0UeJ
6K834g08EZSp/bRzFEYllwqHkEu7Ok+gPw7TkQCXB8qQlDTM5NuhE0IRQDG2ZvgWzOQXdZHOJi7y
r6hyTNQzE//iI7trnfZMy1d8xw4M17Z4NgoKuXnM4nd0WI8YbJLNcP4aqFxmBLgYbrAzDSy2VAVP
4FAsUJSAHmy3MInr6VHgNibrhRyYTcMuY+V1RgZFnjqdjumLs5dxPQhNcjI3xuB+J/i2LLW/D8qp
oNCn/Rxi5Vr3cGSXBWmnxbdeOYA7LeWq9cQbCO5csWKYH2P4EFistQZvfumJjanN/BHsQLPx/To7
l5oFP9cAr9ORrH10sHG76UsSdPejkoPyzr172q43NnKONcyDeAto47toKATPY85S1CV0Z3IkCSjd
ejaEeIz86uR328GhBuCoWDjjCttPNFCTf4GZ8tz0QG/wFl8zyfb49Ik96nptW9TTYShheJUEah6C
yrvtNOsdU0t0yfzm0xnnn43vPpjOeOOiTqzn51hve5ZY/V0UcWGgbDk1EfX8qtHPmnIaS+sKFN8P
s2GFb3EZdd5rR7WJVRT7XqEl95226vla6CceJzrtLKFZCEYt66tsyxV3cK32o2QDyoXA5iZ04SzP
oPMsr9y6bXvTEMzUO48BiZfrlpg/s6QQkyNc2gx2+53WccKE09zXo3tbB4TMtWULP9vcQ7ZBHqjl
D1nhHACn65qBN4i5Uq8CahLAAn0bQJtWYAgkSAkDGLH1VBHGxHwnPHSdB06Op9Vg2tfzuynpg02j
3pNzUc/OC5GwP+akv2U+vwR4fLfk1ECs6/tj0pUX8EfOk0/krUaN39OnayDVL6kSW7tqQK0FZfBK
t85m+92NM7MrqN9UoK2mKo4+Ig0bzdh7nQ6Wzage+7j4AA6OnaEvL5Xjs2LQ1l2rlxy4O6B8NC79
mxFq68qs5r3SgPqBUDsjPwFFkiBAYM/6bKj1nYV+oCKFqxwZ4TEABuuecRxqc78x0LQSSEH1QavM
m3giIJIeS7NTNfiiZZoMKGjLveurCmAt71LmBLSooCainHyQkcCGkqZ1G7UvVW/vXHLyqA0TUqJQ
NMnbfhN7OJt99edQVDHuS1pF+vRQ+P1b3CXmlZnSqU/pkhsKhzFl4PVr1HW2AxtJR+4KWdxj0I3W
rWOwZLA4k5Wh/OmEGtVjc6MQH7nNrMTZtPUmRQqFtEn7UZcKK7uyXBvkKCs6yrVGPVtDkK3oUblG
+UITuF+Z5sBk1bQ3fkOG4ZC9a0ZyqNzqvgTY7XicWl1qAZ8GValhZUdaxAVuwbZTHM5jbTj5M2lP
7p2jWyXUmmGmIPvBWkTZZyyXLJeIi8Di8unC8TzYzSOtLLwTs0Gb2LLv3Ua7xGgc2NUr8zbwjLd8
G0Irhcivr4gf3ntwa2An2KSIttop6SFoO/0TxLJ4X1DAW3kM7q79aE7g//tbL+kYD7MEBSy5kQPK
gam9BUShrVDI+NReoX1TRt2ZFHAovJak0CreEesnE1MAfzAImkPsG3C0CHCCEKUxzCTkWikkGdLD
9c59rd4iPeeEGht95weZNcHrJLEpnvSWnk6EqktubI3Ih8Bppp06pS560hz2l8+lCWXLdTdIYTug
hQEw+QRxACVqhe9g2DAr7QJWymurzmlcNYTttXwNSjNtUys5s86h62LkAV1xnd6Ui0F9jIzqtq38
nwQlehs2YtV6As+ISjrE5nCPX0vIYR6xNBEyWdf75Bv5qtqmOtD8DsBO0NT1muY0mdW4Qq8D8y5j
h0NSJK4fypJgnIczpqJ0S0vFQi5JJrXebyKfFWtfon7tmgfLoKiozEDXw+SWWCsMIT2iwsqPSCaj
PZ2a1bnPocaGbvPNdwBLMMYr0lktlhLG/c5pv0Bj7JTMuO1zVpM0EZ3roe3Pug1ONegzIr+yt2Fm
A0oqmEIcZwd4xqRwZYXRp5IP+TrAXgzX4X7qxlfd1YkeIefZR5qCE2brNqULp/6BQ3dnNsgZMS/x
8jp5M6ZePQdKdPD0B6QOw6r1x2tabNOq37VmAJnGAMVtsGZUK2p4bTxADi7vWYRUq3a2bwv2Ba1J
sjAGrZ3qRwDSKwB07MssVqjdiaup3rczlyup5F71TKfcOxDiSzlmV8/NrQ1LTs/mg2f1ZI8hvlr5
trjfppyGHbnIWW5efOrNujYZN1aq38CvWkfMj5sK1jOiowJiNkCvon8D08zBZVuf99ke1NRPVBeP
SUI33nVh8bmTBiWPoFb237gKioBydoMF07CNHRM5wea6saG0Z+DadD7omNfgIhCMEcIJFAxghoWu
RE0CwPn+a1OSK5DF9Y9iyr9JwyjXhN89WJPa403GMDc3nbfX2+KxUHHwla4ljRHarTG525o3navA
rzZqR1BKAtXICvsHYkQzhg529aVfJLvY8m5sYj5DxdnWGl2gLqqf9Dr8tNxg3Kg9Icl5DltosF5n
vXYhrkH0CLXX3DTvslmJIVAZhyTxrpQYI8eodjEFymJvNaW5d5rK33Ap9uFz1KCyI/Hhp8moMpbZ
a5/6REZSCcxvrfAyN+mLFyJfI7uOyRfFQNl/44z9VMJyF0HsKYmojBv1XUP1tUbrRxSeVT7GIQHM
o8/+ZUlJo9egKfSyEw3kC9NSSTOvYh6hiZYxn4MCc/yfw8DWfAjZf3eYjSJ/+sHKgyKmw5BQuCna
spQTuqUdx3FvjkkMi9+mchL3YOBHesherRe36tYrCUwLhuI1sJIP8VdsDBikLRyFtcMOesu85Wwp
rbJViceUTfBMaxgelONnO32geqfZ7H7BQj76BZU4oObHxBnUtdYdnfAz5rSBAlFtMDB0uNWJh+QK
RFMUVCja8QW3pf9ukCmHTGDrYFW6Gd8GAqemorb2LqMT4osERpLvoZ0lJ40oKOc6y+/QhUABduM3
HboMKqCGmMqIxE3Ltk9J1vlXtsFQMVCYLu2GABZ92oHfvQeNY5YgpBvUdZvI+XQc1VurKHeVUS+O
DpI3mLd1srcZrOt4eKgINa0b7UZJJxov7l2MbGcbWgpZjSrePddKvmQ8xXDvkLRCwzvznBs9QVg0
lEdDLRtmdJb7uIRS9iNQOiMCKQiCYbNN44vfTBC0Nnj7kgjUdeCCm3JsaEU93jazvGRkwPJ9vUCZ
K9Dc1yp6uGBc4ZsythUVq31XVZ+a6l1ICKFc5HG9Fr7xNLXhEfqKRTZIe9803R0RzEGCRyl3dG+P
wPCdfu4GBW90tFTYUgS8t1Y/3JYZ+xGH3jAdDYIf8gqHhjL/1Eqq5Cp7/a2OQzeb2vVgc0XGcX9X
GyTztVq08dlyb1xl2loOS7PQKQ+DMr6b6P+gfnHq8/3WRmTvQgRPvsOaOit74+SAT2HSg4TVsnTa
A/QFSURTjF0ikbluMJ+bFJ5e6A8eZzzKibIGXtqne29SS/qF9LdGMgnXA/tuhClVyVa12pFiEx2y
0jFxkTFrF2ag02yqt6ZPEcA0SnPnGUaGti2+7ugorlRPRbrQjPp10alnYOY3PmzAqCZGqgKATFkw
4KcezNgckvU09wx2PbuqJqhfO5MgG5LQ4XQ28Y0ThwdN8lhy7wPQcn2VBMA6E4ugtqBLL6F3jGs6
qPDf03M9e49aiwprYkOTJOnP3vIp1upIV8z+SQm6S5k62qb2w58oY5NVjFQgbm4i0rLm0svXnPvW
yu0RSwDgh5PoE549BgcMX8o2b8fXqtJ/eprNENvm63ACeVyFb1SLbYKWSIQ331lQUSUiurJGbpSO
1Tlvu4MytcdaB4ZWKw9x1fobu06uU6LFEDFtyVPfY1SlPKd/DH7wCP/5JXCCVz/3v3PzQ0WVmijD
d2SgZpqCi2pZGBbK8JyBPEp17boIoks/+DQREfymHVI2LbLM66r0bigaoZwhEqLN02kbJy6FBVvB
quHTeJhHnaUe7pEuK6wV/PdewttZKnR1+GIIB2yqHhCgvmBrdDgj2s9koDs1uJDUsqh7JJAN+7ky
vdEMeSp9Y74ipOBT3fcmh7BiGXStTuGrWsZf/LVI2+dA3bU+p25N7vTO1K0vneuDLiNH0gGZmWUE
qKhT6+IfK16ymdZ1110lrTtcLzdaYH2jkxx2ulKVbKjzQ244u5STEYF15J8V5F4NMKQ1ZSNrnXkg
YW+1Kgbtm6jRlmQXClvAhdeGUsP8Ald9SVLEYMBYH3Qy1Bvt1p2SEwOg6JrmY11ySWYVOEdVOY5V
puyySv2KQvujUvTu2uzKTaLYT72Gt9024d7EDmk9xZ2LCOCsa8prbaMk7QY129kG1i8iZX7QwE62
kcdWbPLepqzkVCEyNDSidj3OwxveGaBwifmz1goQgmZKBYGP1I/sW9MsgeCvFteekz9ZSK9PVn+s
YNFcjAYZrqJUvFi9N6jPbWCKgOrFqbseHeMrUSai6KIA3FNL67DygXLqJSCi3/72b//4j3/7HP89
+C5uixS/UN784z+4/1mURJ0FFNv/9e4/rj/69rta/s9/vuYvL9l/F9cf2Xfz377o8rB7/OsL5IP8
55vyi//8YJuP9uNf7nAZRu10133X0/13Qxlr+QD8CfLK/+mTf/te3uVxKr9//+0TeUgr74a5MP/t
z6eOX7//xhS8HKM/DpG8/59Pyl/4+2+Xj67+bj/y6Pv//l/fH037+2+K+XdXxxqpqh7FVk11TN5w
+F6e0py/q7Ztaa7jGpbN2Gn/9re8qNvw99905++0HjCeqqqK0gAE/W9/o9MnT2nm39kc05k3bZeu
nDz1f/7+f/kKf32lf6OUfFtEedv8/pv8+vKPb1r+PssxNM+2ibpRHc/xaMSoPP/5cR/lAa/W/ldg
ohZ0QvW1rUdjXSSpxdxk4hXLyL1xwus26fqbvNLMlan49UeoBV9BrNFGVfF2wGqNUSIrln+deaHH
lSw57FCCceA+6D3qCqt0rsPZTrjwfAVdMetNsz4Wg/ocEWlwcj2H8bnzzzDC5wv8Q+xIll6equ5E
OLD2BhV72riDbzLpei5Mc5IgqOd/2B7VON+6Yf2NT3Qgj/efvsU/j9K/HBVDd/96XGxT1TQNibZn
0xiQL+Cfj0uBqmlysvDazsvbUXe+dGPaJeiEj2RwPRGIA8SXhQD9BsIfDTvB2o/gzXL7m84gyGWM
edjX9LMl8ri5TY1NwawXlM0lxil7nbv9k115NstV7RMS9jEp3fHUkqPluMMXdmwgTPFLhYRn7dZg
yUFa71Qrh6juN3e2r5i3YcYhYE0frkcG0oudI3ivCtwFdhmSi62pCARjiwaQg6S6HlHG5dS92IXf
zHDukJDAIUNVqIm8cA7JIXFsc5cp+aG13eoy008J4zk9w0hjFszYe8XahBOTteBuLrv3znBeHJE1
FmP0wx8QOro+6iq6W/kQJZuwTz4wSzyPIo70YSYJnSAoL5PdPqeDZm4J8iIZBF2lg75SFaElGd7R
yhm/ZhSYGUpMffbuejdHv2PWUOA6qfTH5Zqn06MdajufZitCoPGkofEk757FLKpPXeSfgU6DuDWG
gybSUEcqBPowXFvk5Kyg3I9H2KXomZoTOiWSMNniI10Kqb+4QbfWRYI6oHKA0sHCeOr1n2SZ0Omc
QqrcLoxRJG27puO4lK6f7ZPJ89YJoXR1V6MhT0VehsjdFEGsjjJWL/yLW85IAlSiGLDXHjq9uczM
5dTgkQ6VOpIo02clEkOFm1xv66rsEYth/pHE8JTm6BR4CHULkewW6iSVNOvQseIVUW9N0TxD5WuI
3JerIVwrJqZYToL7BtVtcOOKQLjsaF6O47XuYJt3KzSJ5OJQLRBhMdbpTh1ZUqgelbdoxqfu3quu
fbBTiOWVTUrJKEJlr9+TJZ3t5pHeT2vipcacM5nJzoqMYaWOBeTQ3NCYZfUnnSXJJlJZCHqW8d6R
CXTAC3hVsj0T+XQ3Eh2AsZL2hjW4pyxgUixM/9rtgxoFurPOUGLHKLIzkWarItLuRa7di3B7Fgm3
KWLuVGTdtgi8dZF6WyL6Thf5twjBNZGE6yIOL1k2RCIXRwa2AgCc0VZESt6jKffQlhvJdSFS80lE
5x3qc01k6A169FiE6Si48qtOxOoqqvVO5OuBCNkzkbRXIm53ULl7InfXRPjOILW3RQofiCjeFXm8
EiGUb1DMFyjndZHQ52jpaxHVJyKv90RoHyfXToXwfkaBP4gUPxNRfog6P6g05dih11dFuN+g4K9F
yY+iXxdpP730dN+I3L8TIVwgFoBYzAA06M6t2ANaMQr0hXLf4xzoxEJQ4CXwxFRgde2jLjYDv7sN
xHbAHpASMZ09QywJcF1QYVfOM/uG04AJfpdELhmsfqswFijU+hHzKIZLGhmF/4LyEyd1SJQkXogC
T0TjAnrTamYWs9vC1yWnLKIdyq8nrYdwTYZG99iP/nBO8VtUYrzokVOyaAKfPSXzjZ4FTyQx3vhg
WHY4YE6NGDgkcm7K6Ly0yXBfZaoBCJcIN7TXapviHPCymppR423AeJwy8fJT529U1sWtOwVX9CVQ
uxD0l4UjCpCGniZeE9JjNhbeE2SiwYoauaQyGuRN2XQF1P2EX2VsbOPYIN+p0Z+XBsCHibyJ1AEi
QVlC29JuodOGAyYTK0yBJ8bDG6OJSSYQu0wUaiJHfSf4IdqrOGqoPbuboNS2lUnl1A6w3aRiwGG4
ZP/HWrn+JIb3pnKmGB32pY5CBvnBBd7equM+qNwXPD+E2eLzUZxxHyv1BytAbeOJFagXU9CQvJaE
tZ/mVGXbgm8oEgNRQJ9o2/pf8PTbtYHHaBCzEXxHCM4VTrV3EnXhl4gtaRSDUipWpRnPkifmpVps
TAZ+JtJGbib8TTAv1V0ulifwT2KAKsQKNYgpqhJ7VC9GKXrsWAaxTllioqpwUxliq4rEYOXitPIb
i5EP/1VezeS2ldOaoKD62M0YtPTxBlE7O1HgDOty7AiTUuNiO7q1cu6QGLF2P1mTPrFxxfwFBBFk
jxjCRpxhChuKIy3HvRqX42HUB8JARQ7jJ+w+WbuPW7dEW2mCqBlyazoUWvlhmQDYi1F1CBZSEXch
NCwc7GpiXKOGuI/FymbN+eNcPQ5O5a1cZ/ipzxTsY2Q+1JcZSMUVSp3sNIs7TrNG3HLsZAjFrYp9
Uxn20YjeJy4JFBes7k0teIesEJ4JQQ7PlAORCI7+o443j8UOIU5Zqp/wgAz7TCx8A14+XZx9y43v
YPTDwrSdxfoHmXnesi1iWy7GQKBVRExvp0a9JtAVSwYOwkKshATXFKiTdGp1JtkrTa8nZ70uvzOj
dj96FijQLsPXUDAZCiWp3hp+AqU7pLVFpLOYGRuxNQ74G0MxOrIXoVltXQhaXWVNQK5txXGdGFyu
9QKPeFEl4B4VTyEd3UzI/cGEoYu1sqfE2onZ0hXbJVdLfmoXLyZ1NSxS+DMbFsbsCR08m7rqvNVE
B60L/JypTD6E6TTi8TTkJ0zyL9hl3O3yUDEG+jGqz4TxdkzzWCFwjnqLh7QRO+n8laoc8jF2p23d
IsWO5DcuN6jtilNF1V8Vg+q8eFWXJ0Z5wo0OnRhalzsqHtfUDL4HMb06uF8rscEaYohNxBrLqADz
YTBeSnHN4kHFxiVvsvxEZfY1F5etaexn685z7QSuqLhwseOG2HJDXHPb1KloyyTtiEQBC28kN398
EPH2Fs74nLvWSyKu30Yd7tCpIa+LCBA71LN16Q5D0hcSN1Og/8I93EExpfH/PIqvmJwLDrjcDFn3
lIr72FKZ3U04Z7Y4k5kDICnLDRqfp4Ad7M7TtflY5c+5eJyXG9+bEIhKvzwUA7Q4oZdU0mqxRxvi
lI5x0a0ipCSlmKjx1omQMpNHQKuJ1Roh/WU5KNriwx7Ekp2KORtL0euvr+bXEVwe08XgTT0B89vi
+kYMJ0c3WPzgg1jDiWeGSL34xQN8nGIgryKbjCnCQgJY0p6YzJfD2YrxXBcLur240ZejrYtFHScs
TqLFPy0G9sYozlObsOBY/voowf6XgoSdxO+9PKSJB9zDFx+KQb5O3W+yIZ6x68w7elzOyRU7fS7G
emfx2C/fAEGm86YQCz5ygaPHqWRgzQ/Eqb/cpGLcX37S8fKzSXzyvPpOF5O/JnZ/vcf4HxjvvoAA
MgOJqgMboBFSQCU3JPJk9ERY3Sz3kOSdsoUvUCy3cNX5dNC3kWyufM4+LiPQBI5ACljfXZVF5p9q
U/NWXLPKGrb0eFpu/BrQARc487l1p+4VqAkpgj18tAA8ik1WTniRcO6eOoEoLD+N8iycPX2T+RN2
0TFpz+TtvMUta78pHrqTnVmY5UgYINABTMMyGizf+B8XDuMCYRW+ZLpfSpkyNJIwnQ7YXMWXs/zy
/LMvUOgr5fSqD9OTqaTI8Kw429duKZmyATINJmdqv65xPQUwv1e5YdHRp5EXDrSC/DlEa8OTyw0d
WePa0fx9pSFXQPi+z9scNE6JvkvAF8tNEs5//lRGCPxwiC8PwxcaNqMx1RsmMjzEyoj7JCjossld
j4BkWKvJyRRmRygcjzRN3hW1sw5zYbOHWp7wYt28WOnVr1ctL9XIMbmOQ5ynumirfz1LQAKNK4GE
NIILUQQcEmjwR3KUealARUj4KO5BM9wtD1eCHqEPqv7xKkzKz54ASkxBldQwS5ZXIW5H7CFAk0LQ
JgaMkxLtNMCTGsXkFWLw8soRnMqvu8tj8Hb+fJYV05chSJXlFctrl1f8+g+/HlMhtOCz13YOzBZf
4C2hYFxYE9ISao8Gi6CDLagXG+aLJ/AXBUyDwGCQ5H+B8z9Cg7qKocXECzdm+UXMVzgrBSuTCGBm
yJ77FqtPWoOeyRX8Pkbi3vgshFPB06CeHgVXE2XBB5FftxV6kCsCw7eZPt1PgrhRBHbTQr0poN8Y
gsHR2aXOAsapIOTEUY3gBVajAjrHEogOEZTaShWwjimInUJYOwLd8QW/A+03/acbTJDPNIKIbYTb
UwrAJ4fko0H0gR7fIJMH8gP8Ct4P4SsBWx4gQAh1I5hAlq2Ue3qsNz2qipZ9yi7LbsnlZRcBT8gQ
sFDbQxiCNESu662+sIcqwRA58IjY5H23WbbL4BR1AiwqEYkIwMjtzX7bgyYUtBGrlg06JVxJI+uU
SQBIraCQfJhIw8y+P4SSFJhjjc5/pQs+SROQUgRRyYeslApiKRfYUpaBXTKwZtTjFwUHKqgCZiKd
b1sKqsmA2YTAoLuq5YZDH56QFW8bQTw5AnsKoT6Vgn+KXUBQDEmPo6ChEGuA6pDTcx4AR8XCPwyU
ZhMKVKpidclOAdBUI8ipEvZUBIOKWK/XTKBUreCpGjhVTghOEMHzirWOsyb7gLC6OroLHfBWs4Cu
+MDtphAc1nJTChALZNdyxzBIQhBkFnSFe0MgWq7gtDQBa1WC2JoFtlVD3RoGHe4/DoVEgFyNoLlm
gXT5guvKnDWfMjrrzBwjPK9KwF4xwOd14embZoF+yTWmCghMzT5zuGCqAMJqSGGqIMM02GGuQMTI
T6KUAlfMEMAYnXgKRTDHBoGPRfKrYwGSVfLnuBI2JbAy1m+3/ag8yD9CrMCZwTUbBHBmCerMEY5a
D/2spxS+3KnluM4Q0szxMgkwLRN0moI2C3SHNLhQZ69rCGsOpLVckGuOwNdswbDFAmT7411gtOkC
a3ME2ybZHcQ5ICdx+MpHgbsp3vsksDdVsG+DAOByQcHNAoXT5EYV7YQA4ywZlRKByKWCk0vhyg3w
5Sgr1UQmgZyLBD6HjYKQCuLiDaRWrgDqMkh1VgDIXNB1JVqmSmB2hmDtglzXT+g811VE1Ahl0lkQ
eK7A8FhLUnSRKE4k7I0A8wgYLFbqMP1whaXXQRCzoesFNPj2Krw9T5iz4PdoJgSnSoh8kPnchdAX
vXoQ+yxB98UC8SsE50eIweNsUHzpEGwhyElppvELXCiAMzTAXrCAo9zQpwUMqkfPiW3dQbdk9IAm
GJtgBVEt3BsCGjQEOdjAHoRNpB6IPmCND5BNNhQKnEI9sG9Y72y1LPxqBGQYKPMP/1lHF9tDOfQE
dzgK+JDuJsYkBTOVPR60Cjhi0blvim/cNCbYRN8UFwskxVKQigS/eFfspTyAXwAXl58CFwijIjjG
5a4liMaAJFYXZqMm/ONfN6qgHV2BPC6PzbJSFgDkr1dQ3jhDE02OlQAjg8h9MQUhyWqANLd3cwQt
acRERIjNI4M6mRVID1gkYTqq/W1fEUtqCKQyhlY5L9hK3JyZgCxHIa+QAE8FagJz6Rg/MsFejvAv
WziYugAxdciYswYisyvBBSVQMxXBZ5YC0vQMNMAtbM1QIJsmR64X7CbgmmpdCorTgslJ6m9MLxRM
ZyjATh1yZy8Iz3yheQY2YE/ElgaORw6ENkOExgeHlYa3HsV8HffKgw0j1BRYaEz7+8pyAYgmkEQB
VJ5rQYsGjEmDwEYNwY4yLFgqYHrBkY5wSZsIQGnd0Jjq9Z5eF6aQZOGY+oI01QRuqps4u/jHOwE+
bQSBit8rPRhQUXH3xQJJXWb2zAWcmvFxdEGpIl3o0L0U51Awq0A8nh24qyMYlpMtKFYJkkcBCp61
hNOKuBdhRgO61RiAuJqCc81MwK6NIF6X0dkR7KsJ/zWDA5sJENZPQcNmAolVbCb8iZFdhR9rCki2
EaSsKnDZ2HJAXwXHQbCzxDDbmxQSbQaRVtM9EsJVk2UrsFqEiljoBGDbC8o2FahtK3hbPttVLcBb
A/JtwHSuQcJtBInbU4vdVoLJ9YL31qZcPs7gW3xsvhlEXYxcAIYXyi420BEAJDfAcjF0CY7Xgsub
YcCsBNTrTSB7l8lLYy13mlSswHB9UwH88sEYtgT6S5jWRw4FGLt3tB4EDKzL95F36UMm0GBP8MGm
gIRjiMKZoIUtgQzrFrjhwAQ83IhAEy7MCJHYxK6E9AVI8Sy4YkPAxUQqRBdFYMaKYI0pMsGCEdSx
LdDjAvpxKxjkRoDImiyqdBjJnS0tV8Em2/CTaSsr2EuyahNT1UNeCmZ5+ftHQS+XgFlXNTTmSTSi
kfCZO9YppQOymdyBe3ZuAKOYfhpruC6T7mdogHlWBfhcufN01QsEukcAu8oC5zESQLQGKZqEUTLf
OmdvBnZPpJN9UQQrXQpgeoA0PQpyGplNuG2hUHM+ADakpklLDES1L7BqF2o1u5PbBEcICneA1h6b
jVQQ163ArtkmZShn/BcXzzQzobExveQ+EkS2L7Bst30sQzA5JY79ebKuEsFqBynVK9P/QiUBmATy
dgqBu4lAcUfpHNJS/+oE0u0JrptsZ8iIsfoaOnhHmjq5Czs8g75gvmt436mAv6ljrANSougpAwUP
M3wrTI2W/a5zZVAt0RkZSEIwq73CqUHJWh+2xwzWuC7Q8crvz0AB0e0KkHxn0uRnfSSg8kHxwEga
CBswBdRe8uYI1HwQvLmBlHlDyQcTLujzmFLahkYdmv3K3oQOEkcfUrouyPSipahgCUY9dcvtOA43
iAhrdMT2thXkekkvdWO7Z0Ng7LYcxrrEZaUYP3p47Z4hXT9BuPew3FWBumsxePdWQO+cXZ855Hfo
89a2ggU/CBR+CHGfQYmvKM1wZc9XOvz4me9ohidPlYTTc2HMj5iWY8HOh/DnBzoMwNFQhpeg6ZFt
EudESWcTzPOnaQCwL5BR7yaY9stZOwnm3hPgPelY01W7UPA7NAOegPFDWW8uGYKdEPOXu46g9EvW
M6vlsV5A+zHE/UgBvV+yotrNguPXFjC/IPpTWI+C7F+GeBqnQFEQi7JAlmFf5sQ/1v//9OPy1Egy
QKISEbD8vxyLcrf6Y26UqaLzpH/iScQABHxYKfJujQQQBDFRBA6Q+7MfcxlITEG8JBbU7ejtfYkx
+FWO+VXL+stjv/bqy0t+PfuXAs5/+brliV/b/l9v8JfHfr398s7L6/7/H/uf/rZfb//rt/2/Hvvv
P8HyP/7LAzFKGEem5zN9unpPWwh6FkPdVqnV505CPHKJ80gyeppJjCNIIW5dyJTwqqjoaPrbOJBH
SMpQPPVfVmkA7LWmi0Lp8cEsklulDOe3ILP1bUuN5dDOuv+UY5cp541SlCOpgEFPgb/OdmFlqWdX
550M378kRp/fD01CkErJMtUhFCbWbOfNTkePOFbNOMcWbTbqiMcQCyt9EqSt4Txh6SCrZeuUs7ab
yBUK5T9RJVtHRp2/xIWWnzpdMTejxLUoqvscqxUongm7pqEiq1sez6YBM56TEDiAl97zMrYcdeWc
WHGtTFQVb0HUoClXG/bcyj0i55dBcet7D/MTpQbnOTFL5rm6x/Dt2+6rrYDFteA6Xrlqoj37iLBV
ZP9p0lSvnSEpdwtEByeRrrTKq4KbllDV7FnXx4bZXgHTLo8T+0xyfaTFVy2RgM8u9WwCpZRXd+gZ
i21CCSKuqBX5NdObUrhPY5zk916VDteDuChQtNX3UxXcz7EXbicHWR8uxmbtKon35vagO2xHfxkj
GGToEaOtQphi5VnmI1OxJycHUjk1ZWWupfc5SmX5y36FRS53ZyXZ1sl0N83uDZhKdU+s0bG14um6
mZwHqxu3wEUnJpCIpbyR4H7QU7g5GrK9nuhoHEDRJuwG5Smxm/vAqqP7rpjqW71yPxPD0l+nuFG2
deb6e9AL1KyH6kTPzHgYWt++RrNQEYSNZ7XFKQbS7btrOWClbYanyJvyg1rX8Q5uKQ08+mwZgVdK
js8jbM/4m8iAyOj9xkpkM/n10VsOKZq6nYp0V3du6VkdHEuPXtFAMknldFBYYqCGjN5H12E51sfZ
q2GmH6Fjl7c1CUAPrmcdq47kHTvBA12iDwAJQrc3cgbr4KOrP5Z+6rIzLCl24FCPI3Z3Rk4ebh4Z
RI5PCDQk0IsUa33thNlwLhC5vzjO3XKsdVqhx3Ru1I0Tt+5rLxGd2Nem655A44eev2qyEoIRW8Kk
R9Vm7UOpf1sRg4Q3m8x1Pz25hPWhlacrPBJ3dT31Q3qUmQlDiv1Ng3xPIKx6GkrFec3Q2Qzmq9LG
1kk1KcMtj05u5GAO7gPE6wjyVXU2nmPvzUI39qqFWUPeC9l8y93ZbtINbp5xb0T1wXWo5rlkXpVV
7T66gMluLKIDUJDw+IDTeccJQ6ycQjSt33Ftjln/Y6yK6LYOPfSSdXBgYR2/znmmH8eWDrjoJo7Y
oIaNlZM0aVO72gY4cFEt5PZLFeEFSdXiyUiBJmmx/UWcTf/CjqrLBhKeipIeG+W1F1UgEXFSaFfL
3WR4nNSmf9ZJaiaQgZ6pFzCVspwi4sJp/jd7Z7YcN5Jt2S9CGRyj45UxzySDg6QXmESlMM+TA19/
F6C8qUx1dZX1e7/AgIggIxgE4O7n7L22c65Jrd47NY51Lu/4nRiPlrm0lRyazuwJdjXvQLVQ5g6h
wIBgR+9t/4fluuphTKL47EGfvWmx+WN5s7JERh7Nzf1m4qYATNF6pwbB3bm3ZrWmst6T+A1sTPPW
qiE7RbE6dDaTz1jnwm1CArRy+lXbIS5pAOWKfHenNs+wBs33oPgqUa7XUZ+9yEilt9qSP3BuC2IL
I3snbKSjy2ERkl89WubXSNBE9exKfydZhdKJwhoxtME59yvz5hb6h8xq+Y6SZtrpLrF2gIB3ACDd
94CA6ocoH4KLwx37nbA1O/Oz96lI/YsjcYWHYcCqKiHjFWIPku+EVK3lC4gNpJiolPNrXess+PvD
WCj6XK6lkaLZTXCIuNJ8oe0rr2B5N5rNsR7ieDtVxlsRKvNouhSVtKwwj30I1UrD4rIuLZL6EFR4
kO1LhTYBU6vuzgTXKfeSBzXrE9qk8Ml9zXEoMJEmztqlBvZzf3l+ef2y9+8Ox/m3/fYSsP78il8/
8uvnllf/7eks4JtzRL7zq7khDs3uuOy1VOS4lbHp/9rzwyzUV8uDQTVgNLYS4H6F3j9q858BuzE/
BsQZJ+An1MXrae0ueNqFTPuLUbs85gEjWRUGgxFhhMWxpp5zRF3h4ouClbXQmjHeM9BTTNibOvmy
OmhVqDB8wGVD8efPvQguaG1CfYnmJ5059n2hRbuKhXxBODFx9h3RHl5qrXHWomWYD1N6lMdwTg77
dYgJJjsOj07p9FtDuk8lcnhCLxUt4A4HnwwzF0NDOB5lEKUMSiznnWCCPVNUPKa8bufhCUfrmD20
QVNu4vk9rKlm5GmCb8s7/nrbX4fLx2M1DtvFPyyfv7ZKPpfbVinUcnbrCvgES5yM7OSwQi5L9+vX
Znms6eHKtJN6RKmDozTODrKX1sFuFLTo5YMMhoQL20X7X39wNxLEV0SzU35uqs0bdw6BwJ7QrcKg
npB0zx1Or8cEWWNaWajGzsyAXvbSuU+oUw7i5k8tfVwaYX14iXoPSciscVg2Y+bQWYyRLLHM1au1
FQVyZVQksKtBYonAvGDuuyZeeZnKjqNtZ8dl79dGi/zsyNj7BgLY3SxnGnDe7OgGzPAwU5fgO1jt
P5AkicG45krtm2huP7Np/9orPFc7gDXzGTmwkM5vFnadJBmvC7mRtZO/Xn61s1ybv96lE7Q4zSD5
upzEyyafyHl9+HUsceOXUDQP5XwmL+e0Z+vGQ1H2mF/dDhfMclJrg//hT/1jaWcdncORhic1/z83
WlgUhzqLWZzNbcESSLs9+e3PPVez6BI64bkIXf0g7dQ3LRrYDsvLSPvuOH2ub2izIg3IKyUQ7LdG
fGgo89Kebn/+Hskc8efe8hh1fxSAy4O/vUbOb62gy5MqFWEzNNP+uGzGrvtzbzmUzSz3xpRM+Z8G
uWhoChcGUPSfe8tjGMV2OgAY6SaN2Py8zYA7PnjxDzNNK7q2mesc6To7iEfmWIfG2E8AfWq1tbKC
gptutMcyjfbTLOryHVgl3Vi/5xFkSNuLyiPzDm87etnj6Kjp/GtTzU5TXYOnC1dEnDJ4kAevKTbC
ToKTMozgZE7NUyECC6VgQzeBeBEINZpY49kycAoum5KgUEjWWfFJDYXc5lB3Tw0imdPkKPfn3nKI
sk3fyPnTmUVN3UWLT2J+RZS67imYN8ve8qQZwS2SurFrdNwuglAYKmXiQeuDTRbMpdWnwvxDQMPb
5ZNuPjGnfoza4PvQDrjwdDtdD14MBZSu6XrKQpAVRUssdqT7e2hpdOEwhiMq80Y+ynfVm+JMZ0Ue
or6zdxiutUcAPpIrZWU1zGFVCYnDApyfa8G3QOjOehjr4cRSrH6abIPyvhhoSiJ/xZaGCrfoo+Qy
VAACzMyCJTWenKGq93jcM5yjqr5bYHxyXQD3F2mPRM0gUoBS1C2yAPEELvyp5XDZjHZ3ndqERDSk
3aDA4nrv531/Wzai0KYrElJU1Ayhk8VYg8mb7EnQDSF1z5UejrhVPYOKBLMbsFfCrdZeV7x2Yzjs
pZ/fTEr6e4fc5gq71YgxalTlJiSh7qyV/7uprCwl6K75QIRNAXV+XPdj9E/ADX69lHIMSchBliCl
qhryVam4LntNE3Q7bE7vSyAMoZp3JMnDzmaJh+hwDhmycvdkKuYxbk3deJwSSHFC0HOtdQeyTtup
lZVXmLDHJjv/fBAHlH3C2GL8FYxGzXe2oNv4PvFOa3MqSlTRUczcGwhBcvC8aCXq5rOXonijznI0
5qKK2xjyZIEAAGVFHbTDiaJPIYyvHs0UdcAo7bnMfC0FiC1EeK6LJjxHrfjetERdoBreL7FQvU6x
LhTwOB2BuAnL3hdSaT/bdWcSxz5v0ogmB90OFNsAJ6JMwzg+4nBeIhTnUfeMH+dJMTXXZcqImXjq
56bLt7Zw46PTUVsDdYJlbh5e+kluKYLC3zBmB2TXaUdhDQa0Q0kyRNz93OgtSaWrdCahSuUGKC3b
z+jo+H4poB/pHjNPm/dkYZz13iJGb1aYWLWF1JeqFKY0br2a/r/5EMvhshlwlaxyE3TdMtnQqubv
047lMIYxtvES++NncMUy5fi569Z5vZuSBAUJY7fXWf60WoZ1OrGoicJHMH1/DuJBwnC+jN/L3rIJ
LQMERj3tGYlRsOKp+Fzb3GLBM78sv8aapzhKtI9uZ6ttmHQRqc3zL8rwHz1YXCkUa4HMsy5knrCM
6v1Ur0Q/ZQcTie2agiZyiXJ2WSqbVnSK5lXg8lqhsaS9nYC2ErU6Zo7IMuxgXyC0tyRANn+MXqSO
8fzcspe3A+0bXIbIoBlQsXNx1Sy7DQ6IvV1b68lUeAaW4bsYBEBYbx56iSmQgQ8bd54yLgO5N88g
l73lsSHv9qjFhl1qxRCelvnlMm+kOfMlTLsJqS9SOARnLIh8uwsQzMUKCk+qg6aOSY1FQMBAvMwr
DUT+q7YLKXxM2PRx0DrIpubNMn6AsFAbu52+Gqrm65o3Yv5GlifhnCcA54tZapGqXWKGhyUfpZ/1
PZCPkP8ssx5mMM4hIql6nvQsYH1wWH/uLY8thwLjf6mVw97wnbDe5337DGmo3eZ1S7CuRdwwzXZ2
TVdUDz1EK9ocyN7DeQScH09NhvJlb3msyqD6ucyfOVV5Ytk0c7RLteS7zI9pvqRAPaLfqlq6fBtg
ei2SPvxjQpu2eVDdfpuYY/0ykig5p8J4zj2d4MguLB9FqV9HuilUAbAEF6zugiDur85kfho8JU5G
D6psQM3TaPK5o+m+sroGD7mheczwc8hEvoElMdXGlxJChG+a/mdhUDSOufMMtMoOjVS0yoJW0pQK
08uyEV5GFGdFaJXM1SYKwPmWZU3hjyVHOIvmslljuOzpHm8nXDgLk2is61Ch3ZINOhCcMzGNh2E/
mdYn1zW5ZoGP7WWVhReU1e+j56b7ppuKc6z7lKkr812i1ugmD8zScPbjqtgOSS2PCcLSB9MiPAGj
/kC/fNxriLaZx8I4CaD9PsiaqbMUA8Hn0Y/cGfZ9RPUZPXX4aMToeVGueMeEwfJhIIpEl9qnjMX7
XsZVthNkVhL50ka3fmiT58JKXgFKVJ8RhBmbPh1hAfk+yIlEVmvkqJLos+TPjWFmX4BTbQLabg8w
RylC6tO5F934lDDKNAir3zu/4waW09bycuOlzuz6Uz1TIwvHq1cKmNNKbzTKl93gj7tIDf1dNd7X
MYy783IEXtjftRm9NhkEZHZP7iejAaaUCtc6mlXqflpxMg5PMH2cta4V5H9E3PpKoe+N4VE2LvLg
dHxPA197y8tO0VX3SZibDzEjEMzsuc+caPFLnJE6Zg7amwXywdO0mlaJZewqo813UTeqp9ajEdS3
JUARNyCvNAbSaUl5yXIhnpJQ+6aF9pdAzwAWVlgH48TtX207zDZMfNxL2jkEr+nPTDfL209rV6bT
qC+cUl34PU8TniOWcoA2+8kjQhdGBsIjsY9TPz6lY5ac4YBc2zB6Tue5dpIi+PYsXW0VCNubS7g3
E41o/BLrBv31cXpLElpY9qCqt9QjfywUZGGNfvUWYDUmWrF7UTI6gFjuLnk5BUR1cq8qtNZ4FFZk
PBrAUs/jqF8K7aUWFhVrMj/BJigiTZIEZ0hpk4OSvjAkErSDFovZ0eyltaj8lU5unCqILHN0QbdN
OudBOflbpcZ0O0G/e+OzwvQUj+Mg8f7W2mXZ+BOi3FjRN/NBp42ZkdwG25uYI0uIUWmHO0OmaM+5
Cz/3QfiMCps8YgU0Bc+NdbUcUAcUj7Co9+MauaT6FOQu/c0ya9d+2XusWfr6iWYiiyDjEtFby5r+
Oekn/prJLq64aYaDSi0BzSM0uz1+PfciWdJcxpciLV4CpyZ4vhLJVskmO+G0z+iOokjPymJbiDj9
5hlHSO/ZB0twZNaZnl+bQTpAckFJtEY7vERJeJfAnwrXoijtqeA1EPZL7+njdTliCEW5ZDVIX+cn
2yyP1k03J+S02Z2Ce4mOrSU2U1gU9sddR5DdyupHAV7XxrtiXmPDKJ5/nl4T7qVNUGsQJippn4Z2
apndP/Wg5lYlLoyLGh8TSoWX1PKCnxtvCv5wEssjx+8rBglIoxDZDj5sqXsN6uSQutoOuh/YOCHD
b6IJ3gcnf/bNVn+1Rucuo7i+S6fRThZ1MLjTAUYMpPT1OORrU+9I4kWKRTCKx4jSGHjl8Ke85aSq
PvWjRHY/qKub0NTX/EB+GtxIrKc619ClM6t1+K+bna6t9aTc6Ynm3RdzftiqV6OhJWJj7GCm/Frk
gXrt+410u+xFj29l1hsHXh+f8wHjWpeP0c1wxpykhXAXpVJ7WjbxxAKHglw32o/2KIZXN3HWbdcM
zw6Et1eR53vaI93T8hxQ23PTDd1Jy8dTn5bwhEY/vBnKoTPiFrSH58PAnv58ItNC6+hM+mV5nEow
fo8Ow1kP3eaybGo30GYh13y11HNBW+BWYjLvxzStvdzJnlX9ip6jvVvzpp0Yb0J3wmI1uM29aJWN
tKH/tBxRxjM2o0LCGVrdRP6s0/nH2HcgNsCPSQ6S7ntnmTzWjLhuEnVxRwB46yW1GoTSRJj4xP/Q
27tBQjqLOSlWEPNukbXDadnTXac/icH4YeaoeELfTXGTZyWiOCzch2aGtc1H9DHK07JHCkK0Thx9
BBXQIYIYZTNeDKalF1Wbb2kctnvWU+MlKNT3tjWLw4hS49GBjLsu2opbzXw4ZdH4GPaFcbT86H15
KBVO7sPa6vZOnGlnSq8cLj+m+uHPHwO8o9aiMIJtqps1y4MoxC3UtndD94JrissVhE57Xx6yZj+k
i1jytDwmuARhQxskCcw/sDyGWpS5lN8/TmPY3qFbo8jPyTBYnuwpYz0mhrVZnuyj4C0ImcJEVohG
jCV6ZsuLbnnuvYkBSTTA9rZTYFoHr4tnjwtUK7KpEVvMLylqQ95bOuiT7Ien5aHSsw0GPL/Ye2El
70aKZrUJHMrToGah21zoPFRoDHLkklqMAhAk09oS6XDAPtjTgMd9AQ/+Qe+jceURaLNVqZY9KhxM
2zCqsdQpjGm54boHGvrGq65B1Rdzqoc+VDj7HHl140FeWfOzpC6yfmNk2A5hq50KH4ojXvnw6pfr
EIxNoaiK9u20gQfU7fFNmKy/cgVLtTTJpfULQErMNMqHY/SjJ/qjMhnHPqVCUOuMq3Qtmvwtds0n
YmU+tQLiUt4jgW+x1HTpHzGT9JU9Tc9e6jbryY6fcQFa6XhiLqjhbkmO02C/wVGNwSshMBxqpIsj
32URTi+OkV57H+Wqn6ElMjUEU64O2jCwHHEKnrMYWC54t1UkKmPdHWGYvg1VZa1SlIBT6kHbs77b
GRBlUs4e9K6L7glhZc2EjyLn5Jxy98Oe4PER6QBERKoPSwXeHlVKsx7TYicHu7+BzmPEbjGKRnRi
fTSESMVO4yA6SoEOtIlSfZdMOmeVJYBza8aBMrcBJZ122BCTrYws4qtnH57Gep27bncSPjC1vC7q
tZS48bLy2qMaRDeakcszgFkv5XeRuxMQK7Ncef30lBj4mZsp2ygTMl7sQDTVu3czpzgCtoFkBqhU
TnjQGj8C2xyTnTgNF3prHyOErdzT3H2gOTtbpvdktL1dVNs30NUUsac9VTwyA33rdTBLVOQVMP5i
+ICaegfaa6xLAvLWnjfftnMa56Okb1MgLY9sbCMVwl7/3e7tGO+eeSon9C44deA1T/u+zr9pbVQe
UDYVawdTdseXvesS7YOQhgBOMiuMXWarg+UN9RYMbrRvYtK3JEhGFi1nrR1/FFVwmDtvYsiqG2q2
r8q16P0K8TG5VXSGkfVotKD7kGmYV6u1b4WPXY+qPLjODlA/0LMecl+xVROavRJfdjA2P6K+AMpM
HgNJ1vacb4VxGH45rSu8etQVHAdXZKS75aYyjJs9NNmKOMQcr8xLlHoEQHTVVxW5lNnsGZONCAXi
lXvtsuyaOyA63MB6VpKVsgrDW5a3b4PbRRc8j9ZJuQDt7bJCctyDCCjjJxQt6C1vPX/qrkjLb2VA
9LAUuME4GxYzSB8Q15CbxNWC7ETyu8ub5IIrh1itJmbiUcqXgVb3Q47yiCTY5ql09Je46GADGuFG
AtMvB0rYsX4dTJgbsNn5L8Yr19C/+RXLR+LNAH8Ww3M8VBendkAvjrI/ao279nuMwnnBdeJaOLUr
NEn8/w2IvAOK0DUdzWtaB58y0AEHE+IVPXvvpKUqpDTUU7Bsql0BrfMB/lNom9kmmmIuu5y/QBnb
UAsRkMvkHddvs/X84NTp+d5U4S3XgRLCLeUWIgkXTIN7ItVrPDmzC5vpt3HTG3q1ne3gyWkpAql4
IOaqyfU1ZvMdnuL9YINwFgozVKUhYeYGeS2NH31Zmk+BBeHWKFOCMGwaJqJ9k+4YrRzcj0T8dnLd
McF1a42soHIk1JemaRV8jvIBhypQlwc8rTD6dIXAoZUIpShPrZLw0yBKIvpeZLKRNqc+k4+HfBR/
wOD5EhTyQ0PYRu0lfq0HrIcNFg03RY8wtT8ixSWPJ+1TnrXBvo5w5Oj9eCp6B6+zgZJ7Km3yYHVz
bdepRx79c2p64510ylODftG4Ci0Xq56ZK7XC9rXyrkWmNcxO9OIRFOtXZum9nBg9/ehk8Z+ijDrQ
Rey5JZF/sOENbwQMKNSbTKBclTx8Z4YWPri9IrXG0SZ+uiJ+keF1Q/AMtUgPCkXjPVdh+znD6H6G
BfC1aOyb0Zo/Jg1KIHTVp1LWHz7zSWIRiwrFXOm0auOM4IJkPL27Dp+L5VeYaeba0LL0GmPb9iIt
2lWd9B4IaznEk/lIHvOm68xkYxQErrQtZKl0urisYYHXrTQ/8r9PLfcvqcHoq7NP06S2+RBfzLHY
BpW1q+wG1Zy1jiQRGraTPJfKBURJM2Yku1kwv6wbi1uTDj8YSRed4YYB0bkYRfI1IAVoHSXxNzcA
/Bva7zIrkLAb1pe6zl90H6fvmFo3ayrmVVCwQ26B3NOYvlq5NRMi0esEBjR++53oqzXBaefKn242
deypKjl5GgDzqklvZKmlBmNb6XQxGEKXbDyI5Hj8M7X2shYejuaS4sGyPeUs73Vdm2VqW+j9XN1B
jSIkpuprROlTHc+BuZzlxA44PhUKT6PnF69F3HHNG6cBtTSUEE5oL6N1OFHIo2KObjF2CZoa0CoZ
e8oR73ahuDWP1ntt0gpAGPjDwxOANwuhahNRJ+B/kU59sQkD580YzoNb79JUMJiMdNYs3OWNgz66
bWu6PynkrsHVi33Y+Z+zIharoHbhCIf7SEUvpmvgnkEi7mv9CwkfCdbmmQIq3Kuh+y3BZ1RdeHM9
7kCSuiT5hdVIdd8j3WucvPNbJZhwIs1l0VKka93IgGzpo8TDDZmkqbilN4gO15SFggcEpFfqQFtv
DIhCCFj7JDJbga/F5q6Cj6THC4ksg0GMfCOukpU/+LPOhQxQc7gjukTzl1ag/53pW+DZL0FALl2T
HwgB6V+C+h4ZkiC0MjonBWORR0ADMxHSjmqE0Ejbu4qqYzJ8j+1vVtXfXIH3nzoT0MsJC0dTM6qj
OuoG28ZsPhUwINHWaLp1KiqktXIwf9BoLKAqO9NOWVBW46L8QUl2OxHHcogKtP3wC6bgO7jDqz0Z
GHIstBSJVq+p7daPykSboJFYFTXID7yaGRI4gK2JlobJiLWlNAuKpOvJRrG5XIK2/xjbOobcRsGc
BSdBa2iJTeZsOTS1NtorrdqVnTyxBJ82MDROtbdG7EIZN6zmASlu1G4wnO9amu1TYTnbRudWJpzx
jzYSnBW+3c+ckpVs6m+9ssRZZbSm82JuhsrkFKN334AtdVZ5EtQ0qaODTjAN/oEaGFzMeZCb+Ztv
RV/0kNuWpKLmU7Ek6cKnsGDYazmVHyOqL4yJNx1p2oNMw0drUq+ZY75ZJDClOckMTev9MI3wy5Tw
mQPZkLTUcea1PkleqTsgQYfzqfz8bbS5oTVhdsnxPWCRjq5DP1jruLOOhW3cgtLtDj1+pQ1UeOhZ
4hHo4/co8MSqLvD36k2rrcKCokDgzM1w1DEPMjfkyva/GiEruwYPzSqR/bSZAQ6mtyTcxE+VKXaa
N5qI9JKnKgFkbyBergTMS3yTOu5zVBd1Yr6ZRGrVTvMGs3Qj6QVDUMVqFEftU1tzr1W9NZswGBFt
KMJZZ6qtwY9R+IVnrneg64lzWiGcW0MM/qOu8pMdDx8omQR9QgjviVdtvYhpbaFVI0N5u5OEraME
agE918T++hqzN22O10MqvMuyiM6jlm/qMfwaWfg+JjqnHZcYlfXpErS8dVDmt4G64M4WxTtiorWv
V9us6NZtbe2xgNGyStEYJPmtg+92rhzzWJVzamMqsA+KFgtGgyBMkQeUgzinvUGiTN5R69fPY5So
WwUsV43k94IULBra1QNqIRH/qJVD0TBGuRP3X4rmrjl9h1oy11msCPWkkS1IFA9IQxxEFZOlpuA6
yAPGnUzgR+gdBezOJ8rLeJW24A9BrcbKKCCO1JZHC2Rp0CismJrTbHwrv2lW8pwBbPpkBlQPe3OH
Ksxf0alUq8whyqroMcQWTLEfjD0mJUihZZmv+55OaieJl5qwZ7C2eFVGmB8j94+qxgThxgXaV4uL
gWgEa02/Rj4AgIhoosr4Qmxf/OBY+UZo8qmKBiADXf5DdnNM4vDVd4eXlPgkXcCF6VvzQ/NUCwcn
nx5RDjg7x9JwNDrodLoqazecETkfMolWXZi/RP5B9C4yvca3oe0G75PrnL1BH+A5tF9EwBIvnvOy
wE2WsroFDnWVWl1U+MPHRHDX5/Oy9NJiK+aZj4LLYE96dhV29Zn2OWllU+0/sAhUVuS88Y2uprAV
hyBHgTaNefY6xSGuhci/dkq/9Lm1xlO28yf7jcCLfYgp4EHR6CrKiFakF1dr7p4CUvilbMZb7o1b
OXQAxTUAoohkDxVnjzlSk3LUGRm6v9MznUAR333tyjg5sKovKdHYNg0f5+Tp5pcQyUY5V9QTpk+9
UxCvWzdfep9kNPRQlWaecGtCYH/wdfPZBNO0LidgxXrmbDudIqmdEt7lAc0pkFGQKAM0EbBa2NB6
6hQ2rYyYyqKcJ5J40/LU2dFs4NZluw9RQuhXZ+DUMIqp3YR6uUoDfk9lS6ZU6bGyZLGKV3o7KxOj
5CPtPLlidIp2XthMG7jb1lqXeUvFMK+2qiC+pElfYoYoFAZ2voqb8Mkgh3UTB7CrvOZZNAQKDYge
aJq53jqJmZMPHjqIUR7MmLkVN6eDxpo889UPq0C/xwxq6w7ym64sl3ADou6K5BZoRbZybMLLh5Rg
M5dbd92Mn0QfblSNXmF5OFIflEJAqIcJvO90+Bo0OSkZZCKA/rLGg2dwxTQOA/Y4RYSxHRndB1wW
+TcUSiVLxoQAcDluc6WsPQvmjw7krusTgmq0BsBK/g9MHkk/Lke8XdLeMR0rdrru7WLpf3YF8aNu
lt6HybmMw1xUJe057E26KnSmSPwhbY9G3z6wdB9NGMOhlsK090gRWJGFzCBV+FfgjOZWcoM7IG3G
2tBrhNPR0Ok8bq390OPQ0l3872luXKT1JdRVug5BICVN49HkdzbWaFO20h3OsEsHrOVRRQFqBoFF
zC7jY1FUPb5afL8uywm0Hd+w3LbPI5iskk/U+1Z5T72QpEGNRgkM8HoravmtDNWIaZd7lgfje4Al
2QwxEHc9Z7gehrWrHLGdaqndyoR6oulMqzCKjb3RNfcRbOwTjKBVH6AVVVnw2OtWvtaJEHWJEi0U
maK4KC+BLySCXiaA/txvN9KuZWqV5wTuVOk+JiRa66vP3ZxYGszZpU313gvnBQLW8I7I+9IQckoq
p3pHh9edhjkBlTTgh55I1IVp9//pjf+J3gjVD8Ll/43eWDRfs29R8k/gIz/yE91o6f+SaFOhPjgm
wFddgGf8SW409X8ZNE2FRwfNNmye/QvcqAn9X5are1AVwd8CJTSsv8iNmuH8Szp4ez2ihhxTl7b3
/4JuFO4/EIUSgojLgsBybBZf0kOh/E9EYYBesGly1s21l0PA6uuzUcTTzYph+GRDuBPhyHqqD41r
W+hch4xbrLHqJ9lArei6qtx6oKHXIUQkBrHoOGjx9W/f57/hKBozJfEXXXL5iJJisM0X4jpC2HyF
f6coVgYyj8IgBNsZu/bImOZRfPPB75vhdI/rddy+WyU+e01PQW2FkXN00+KjUE1zVokz3UlnAD0O
qoL2iYhPgYMyqCKGdjM5Y7KOeweIzzB9+S+f2vs3n9ozXF23Pd3GZfjbpw79MAnkwASEDBiS3NPK
20RCFl8a1nTmaBXfmEhXa1Q0gMFIQTUsdx2bWKt1wcQmaF3xBKfFY7yFqZwwzPp6eNcC7IpirNOT
GG1icMh9tel258ykJxbLW9cofhhoGyHdhYR0m8DGnbGuH/7zn/b7X2aCvxUChLIFKAmK6G9/mc7X
qVCz0+Fwep2eHHHdoyWu2dB0m8Stw6PdDfEhaCl/6PbuP7+3MH/7WnlzR+o2ZwXKdZtz4p8nQ9ni
0I2A7gLoMU+2JTGR2waZSJqFCbpDYwZKfxNRSjhkwcZ0dToFuvYcx7MAp2r/yzdh/BN8KkGeStc0
KXpIriDDtn7/NIFrjNRwUQIEBGQ1w/R1CK34wn3A3KYtK1PX7lsSNQmC8AJ8qXpuk+Ve4y8g0/kl
BoTxbjvet4i61mSY3+HIW0+RUQI4GHsq9rNB19YiTIEN08f/8k3+m8/ONW+b3Hosy3Hlb5/dCJO0
9G3I8loUZjuXVDhk/bvCyclKHSBQJFh9R6NTa2gcBsgK5oc95dlDKziD//Nnsf+Pz0K50+FjILgS
NOfc+fm/AWQnGsBJg5CTuMWWQjJ1//OQkL9hUn/q9DLh+7DQFXqwSFtCmGsLi2esJzHlvggUXVg6
Cm5ZW1yWDRfWnnqtth+YSpNCdez6IWJY5KCtU+NEBY2pfZTMFVLckg96iaWqMT41klxfrRpAkcj6
nHlDx9xAoGJL0+k2NeDpg8hIYSehY+DjmRBBWvtOhe9eQD45uiASr10d2yQtmasQDiVlRzz5nhYO
r5JkMoSErMo9q003EFAAwjEnnTZ46+PTf/4+Hcv7J3pWCml4Akeurlu6KR3bYQT5+zea29QMbdsO
4GnGf5Bd0qGtQtaYOhCoWlRNie3sWcESizahCB/Dbz2KPiJfc0FG8rxL257daiyYVTtOe1r2fn8m
GOF0eHPRYHm6sdKLDkRwz40WG2ig/bmpRBd3XCMcM9n1NnxTIObm1xTLM91fr1xeszxjTwVrCkRY
ftGYx1+/cHn8t5cth8yzgjVpXOT8Oe51wkqvnAzr/jxqPDS0CBInA+Rot3cWEc6lkN1nr3XKEyWB
8Ym52515pQgOdGGMs5bF5O4Y9G/82HxRwzjulAv9iDIDXiQSepnl0gXDUjenrmhvrDhBzfjTzh0N
8wlPmb3Xor7iJGjFnZm5uFcvYgioVkLZphQfGoAkwhqlCdSPdqjAIJLNTB1/4xcBVeFQvTUjacpZ
I8llMvEfOVPyPQ5HxMqJfapUgLEvwMsbUxOQhc2KonGNPVMJc+Xr2KmF3XW7CJLYPlR4OzKwm4cg
sNpdldTpC1oeBnXazN/HPtlXMNLDMkvfgo1m6HMeXtjcJym3AlLjMaCoGmC0OOvDVG8H32w2XZpv
qT9lr0YYpBdKrSMrFkLb9P4lQ5myMuFkvFZJxa8iie+xsbkTjyI4941TrkgjGrfAjLtd6rsGgosP
HPAITBLiSmLNeQP/TwyP1dXbQAeQRazKmeyG6mAN2tWcu+nS5Qpt+5AVRmrma6Ohd1uUggJmQm6E
NRCtJZvgtcQosxOp6llcWNqXDPdmRCEZipDenHoyRCka5yB+oKNtfJ3VIH9DA3ZD9PBoCDWLyD//
Gju4uyqne7V9V+69nDQv3Hnis9FQxJpfYA3km0ONak8sat0nerxS977lsbTf3A4oe93p5B/IzkYE
4inYyHG9XQ7DpnZXRDVJqss8ayhS3Qo5lNfl0Ee3nkTRdG9C02b1YLSsnRj1S6qTEalbdwZ5bseF
C5F5CrEWRjwbyPHvzzLmdTzOi5dNmCYnMOEPaETd8/+QdV7LjSPRlv0iRMCbV3oviqLsC0KqLsG7
TCTc188C+8btiZkXlAhSKokE0pyz99rourXbOOUWDl2NyrmlhzfHqsJbok0vnnKS8+MUsn5/n5Yg
Vh8PH9+VFNM/DBPW8XFKw8lLUvc4V3D4GXwg+UYqEkoGTKkrnajPdUqz8prPh37Igg36abWskkZD
QxBFzy6d1YOKw38er3icT2RdXMYRZNv8qsf5x89wBYHdbVQ8/Xe+i8v33kJil0OUW4as6p5Ts6Az
aGF7DaBn7Bp07P+eq2rqheZA0uHjJcxq6bNdqn492SgIYt0TCA7xj2x14WdEu82PC1WC1UaNB7hD
zza6j8xntLX0RmPM25SVES7zTmS3x7lKAfF0DXvcPR4+nkgQXfalKZ4Qg1VrqHx0NUbT2KmELV6Q
VdaLYLP8QpGiYVZ8eZwpw4qSfOABnJnPZbYM9iaYjcXj2ce5sfitCqO8PR6gzv7rWtasYsrOetSl
V4JLJ4Zlg35KU/0pCAy40ZUO6EvWMYOvhe+6RVeVjelnaUn/TXMTerhStGffHNOjQuO70YPCedE0
WrGlpWd/UZVg4bb/TjGGAeJJnbtLCArINvUd0CVYw8Dwnlsf7xZUC+87NumTNWMXPAv80Uwmhb+a
CKn7NukDhTTcv7Qulxtraou9KGVwr8rh+d/vrCnh4FNMn8q6TM59GEdrG0b2DbOtuYpirBBWQhty
J4uRrhpKzlPe+XvTEcGTsMzgqZ4PVTSQy1znKB4rxmHaQxqKVsfcdI2v7QIRTnezWLk9s1BLEyev
vWtcW/olmvPmAjUlLwy4e7duXEEeF9dRlIVw9kwuqFk04hazXLJp/69HDraITjYQHtqQScKezH3o
kvEFg6/5FKP+t43UdDWKSb9olU6NlxRJb+MXE5ZgT2PKMSNz5wNY9fraoiLIIfFtY9fmxaeY/8+I
6rqVT+mL0hQR5vURj5V8zuZDM5VYN4ntQAGO22R6x8xQXFHT7XOB9MAqUqDmcABXUVGDe6WZsVLI
XaE7hfrlcRjmr0bmJRDhsVp8hX4fPz8OU+nHz22r7fLUqM/D/OhxvrXC30QfP41+IADDZPidcklw
eYctbiF9tJOuJJww9X1ijrvyGmdZ//R4NLU1oaiqQ8s0P4kMk3g9wzEPKNO4lSxnrbv0zoPUb854
e917HXXbMVLxpwyxOVUojk9Rr1ss6RLShbFiPA7W/37lOjbEOit+fZzXZ/jFfy8L4uGQDGOy68cm
P2oA5o8iK2kZmUIy3VNNIrHJ2CsvCg+63nYXtlLd5fFVGNXpySTnSos49d/5x5Nkaacgq+sX0Dtb
tqiVM7Uv/axda1jy4DrwVmMVvTWJ/2t5AotJpFvROS2d5BjDLHJYG6J/9NJZ6QN6qCGeU6Wwu/2m
/tY6aGyr2E0GuAN6Fy/LQR51xzix+Ki/bQyBdeF/giWRbHm0fClsN34J/IZdR4eBp2kMYmYrpLeQ
60DKTTUakayfSJdENA/eAd1F22vnx0FWVr0mdjB7DQBooZ+kzTOaMfQOH691500TnffJPzUzwPDx
lY6+8TAA0NfqHSozxcXrR2eCpvgjH18S8Tex/M6XYY3OIfVKjHTz32cU/ULqY7GxnCzceKT8fGZK
rUNLz99Y3mTHkGCJ1eO8wVJmYdKzv2aWMJ94CVlvhZyOE6gWTGtGciXs5k2mnToEeY02y3Up6tal
cZrJ/Xph4jIuaumdrdb0zpEWiLUwC5LIakKjIzgQ6FmcoxQOlr/SeFcRyuU88OprlR0Nc8xerQJD
V42xLArr/tdv0Er4LAwKr31Dm07p2NDqw+NGhQNeLQ1urGBax1ZU8g7DwWPb8wHUp30OKlq4Ajr9
ue8a+4J7f1GRjbGNa1JnHu+LU+eIaMN652K9e3pcGcAZ/tEg2q4Kx4G8J/DrL9E95OtqbKzFaEe3
QeXh9XEoqSQH4VsW1NO9yfgfudzXj0don6c7jYoNuuyNhk7sKNzQu+Lt865VUP3WaBkAVIesGpHM
7iJEtMd0/grpO1+1Fnlx8/oIa+itCgpvL7BqLciwrW+lW6mL20PFM8bQxh4zM/kZOw4y7pG8KAQF
ZSrC6+Pw0G+4ds4tYaYpnv5hVvI03rPKLPJnnFJtbGCaVxF8ZVFsnAiZ+Z9DOuACLEZgOSMcRIQ4
bKrdicA7yI22WgEiFMvHjZW4JrmUlfOLJbFYGVasQH2QL73xZ1UebtCnyh+7bUQ3eZeO9sboXfop
hZadCvQ/aIR6+rE0ahd9rACQBEG1SQb3WfNHUtNZHGz7ilw1hDb1juCpEQSr1l1UMgabWsinskqJ
iyiz8sswi7dAa8VfNN2ryA2MTVZbzt6k0LwcReqfw5qiDyW079Tws6+y0ZJVOxXTMXNL+qud1YPp
6k9BpaovNTbkFQdauEdSZb+FfbF+nAcWmm9qLSIjvpPxZ6xf+/aGjE37W8n8mnae8YWty4UiUrd3
dMsQCQtbu4yGm+8GWj6HGHrrCRMOEWGm+d010me5OYmtLUO4QeRjHSY2mTsXIMm5NDs0YY5oni0n
LVYgh9BQtqe+sY2Fr4z4PhA8uk76wbwgIJa7ahjKQ60V6jRmlb6RVS6f2RshHNOC/B3mNeHEUf8W
mZDKQRYcM0mCBhaY506fVcRosTBvp+7fXpo3B5v8d9EJAr3JcnirbOKJAbYPkNDfsomcrsiN7D+t
NNeGDiUPC1a8yr0KKaZh/2KPHt4TEYCX4107p1ZL5cxE+aGj/hm1UdvRXMmfH4eWdL5l1prNVlFQ
Ir8yJ8dJG9FidSFpIFJQ7QlKW1zCMZEXqgv9fgqmmz8/epz671D4lbXOesj4DTfCUMY08+aDCLv8
OMwRyKJFBiFatRGt3X0OFsmTdMd+hIYfJTJMear7pr7qDjbWYA7ScCa1x83SXx7TUOpiDWJL/2Ya
hLcGbi23j1EI9X+6rsxEbiVrCVYPPGzmh1HR0O2Io+GSNP4mHugx0/P7MEXl/bpDfHMJo/qq/cgi
wpZxBRkwv76drjI89C92r/7nq8c523P6l8dXaOlpcLqa3LkWXXgjNYqLX9XTrjCa7NBEgzjZmuVs
yPL1roGS5WoyNGCSCK5nuUDy4xD/lvSWxOvdLdAzPz4+dUHf9GJZpJk3ab7zOzIlF652rVuD2xWa
Ix34ihXlaB6wRG6QEaZ/mULuZArl70OjBLTUHmChPfUn1xdyXZhT8m5b3p06VHVooV9sUqHfchrR
r42KEMYZ4FtDJvO7Muwfmar4T+05n/bsbYCCUu7sonTwDlf1q21mr48XoCdB+GdO9UtXS1SX7phs
DbclTIKUv4UGQZnSroVfsnHla+JKVF3m+BUNOgnsVAj+PZ8L8orm81lNKvt/r//f83Hw//2ciPFq
23YFmvqSgaL3aRnpThe+NhqV2Ziq7JLtavhaW9KBLxCySJuflYWpbauWAFGKl+HrRANg28LoWD+e
HUKj3wSweP592IahuyaXHp0PiSRzc3G6s5INdhPLZPCa6UQ5IdDO0jLf/n00Bs19Tp2fn3q8vDK7
l6o01UXN3yzxliwz5PT7xytEoggESaNgqeEfRmXl3Kq6dW4Jjg22n8+skBwyxwlJnYZRW/73AlKy
LxF/4vnx8jYh5XikmUw3j+8u5kONXX6Onac9iD1hkeAkfvEqazq4DeE4j4ePg1XpR41SysXoUvWC
ZrPbdNR1V48nZRbH2yLQ/KWyxlXHbuKSUNC9DkHrXUVFU1cgvdobrKf/PUdUlrlyuMLXifIVxZNM
tbvHC/vyUhipONdTK84jU3i3spVjbRllvx9PPA6J3V87zU9OkiyPsw1Nxo7Y6hl2VN3gLLKYGXp7
7YQiPRLLmB4zLcEPXxb9znQYAu3e2PXEsn1NEPOwg8f6Lgwn/ZPSqVbo2ic7xXJnWlaz0bESf0a5
sdE60H1kJKLZqkc64lyEWOIYI/TsoxGmuRt0r9g8zgNv/7/Oh+iVNtRhp//n9a3ufA4FqbxsJNtX
P4jszUAYxLrFO/bq14VDWgTxqjRE1etoTP5umlSwfDxLqE5CL54K5eN7zc7sSIr1Pwx+0ZViYPxB
fs5Q13w7yHjXDGYkWfZD+Gy5khjT+QUYmr9CdkwvTjx1e8dqxEYTIcJIe6T+GDvfftvZl1xa4HYg
Njnkcd4ilAxP2KsPYWy/u4FW8816fIxx86wspRXfYcFiLkRu0taBBzKwL++ISm7uIM+jKf19VmbT
Sx8GpG2SiLAe2n56KRN06pHBtWYx88+tHDKEsrLZt4j/9k3lpidpoOGqLVes27L6fWzfesd+cYyy
ZjWR42fz3T9xkXyPc5KHenN14lfjHo2klcZPgzbI53IsxCVA09u/xUWXfaJHiw5mFhkratn5JxxR
XDF9SqhYQuk1r2xvQVkhYCZLWMBrw3DoAqlvfaMwr0InMDoUvvgYw+zdsimpUgZdDKat/4LM+rad
GupiJu+dUDEI1gojotVGHwyD0LD88k7nOro6svh5nNZxH4CPrPVFO1jpEltMdHCMmOvYInsTqIvz
E9cmcty4eSUDHdXwOHxTFMtffLNGgZMm5R+tnJ6Z7dtlarfRtp8pCGnIpwmBS+6dMBMvdZDukNWh
Wh1mawEUrrdRS+Eb0/xcF1m4lmyHvsgFocdfdT92iJYQDDrV1QrtFpsH0s8ZW4EN90lLdFAaLBuQ
B9uupmU4FDnaZG3qdo6tJcegtU4ktb2HTWC9p3MNvwp754omvwD2FifQ80gei7VgFR4en6ZlDXJl
lmkERIUi6tzoWKomIyUloP2n0SrDmAa5DB7uKU4xJLBUkCdkq6DOm9q+gFXrNx4L2ZXbkYDFAugU
ZHkMaZgyrLaAZ2RdwMmax9iAbSqcnR8r/Wyk0IFxdQ2APbPxSqyJ2oVDf9ZFtHebluVyF60GN1AH
MpP3GXoZM86Xk9ZveGvVV4yRBR9KPlx0V1xUDzqLbah9aQ0Fyy2nbhFk6a6jffDJ/RKv4z65NolY
S/it1qL0S3ZTrrOZSFxfVImXLsDN2jvdy52n3lJAM0FSi9Y9lkX9QpKueeqQSK9bpcljNbrhVmgx
C0pTHtnDWfvIQzgNjitbEdaen/rWegPrE5DT3ab3OXrD86znJEqPg+p4Y6YJ449qVb5OLIAbZUnL
au76iAHfFiPkKod7eX4cQkeeRF84K5KF65uDC20TDOxlHCmeRTsASOG/XVhM4PsicZHWpW7/6qj6
tWgwWheNc85cYmGdDp3NpGuCcD8ezk82fdWh+t+LkNpfklnySaEsncPhflj8MUrXpb+qUy9amex0
52nVJEXbw/m9yLsINGwfWAf8jU9O5fC9Uj9Jr1THugCGq4Pz2cgxdZ4mijpLzdOiXQ93FYedxIoY
pSxanauej2+jN8kjRHyC33xGIbx8RBPhqsF0odCxMAPRRWPes2S79/Tu1bGy8mjTtmx6qL+lXgUb
SbhYi8bsTXVELOaiw4jjs+XMFDzh1q/NQx31lOD05h6nRXNpqPKArXBuIhvgr/ThqdI8647skc0M
d9BigGtzG/+GjJq3yEhDgCC6c6yQV/HJhd1P6rcruy+9vT66uySGnFDQ3n6UsB2dBEJPtIDwO3IB
gjw99cQWAp9mz+S0vNtBGK+QQAeuFt8YWr0rksc7vATn0OqtWhcOvmPb78oN4Mjjw6duBqjD6/FW
KBEeJP0iUfo9xtFg69l9/sZMwe+siSDaGdHFN6ORgLlbXOCA5LcFv4D3bdiPnvvmOFp/fnidtXbi
9mRUXk8ZZWhYlOQja0lyDHGN2w6XaFd31aVW4j5Vk71AiOqdIqfxt1WTVqtGZH/j3vPOc52PKpFJ
f70uN53lJHfShrGDWL+u4YxbRwsA8JaMHnSUzW1GrDaLzcI4sXvIl+QqLGkdG97CqSmbzm09EFZb
jcbzJahgU4O62w+OhtwZfnKuIvua4MYYjRBns5b7R2lMCzko+RT0OTSTno+znfR3ObEy6YPiDuVB
7cyMzLE0dwDmecY3omMsnzn09EyDjXFDOmXiTs7qZZTp7IwtgVheWh/U1sejHjnOCr1/syKrwlkn
oki4W9Ub6izKiB53P3s4BgSvvOJBLg5GpoKnAjgowJzQ3+JkwsboZA7lKCo3ZFuNK7NoKDSKq22w
LKsS2b9HGRpx3oSnAuHU2vBKbZf43nCGwlspl4WdE2X7VCNhdPD6v5kDi6XvHPqFWm0eoynnDRnb
16QP4q0Z1OIQ5+F4iSYpVoHFbRv6htg6dRAeBwOPjkyJYKxVPh29wv4KG4dFZ6azFx+jd4yF9cWM
WtxVtXXlKqMDCQ/J1ySBSa2Hc5NAC5mH5svEOz31XUJ/Edsamukos8Hw6U251WNa1DgnpvWUV97a
T1jieT2tI8rI/Q4KSLNiQRmuhQE3LAX8w8iaH7oe5UOoq3pbO83CBzeOS1NgSLCkBVQQOXmRlNkh
ZoJdEY94h3e2MmiY7bSJ0KNQxDU5OiBrqrgncim5dl2IXQETE0FQzsYS0SXJcmp9pGkuC5F3i2yy
bnlb/gWjVFNraOKlb3h3O6dgkYzlJ8sKAzwZdUXg8YuqypCqF6S4x9k59mf5ZYOILiqmca3Z8azF
9ciidigoRXFg8h7xbsTzH+G6WXRSdX3X/KrZNZP4eky5QrgpidVwb9y82peBYW5JrwP1Ho/tpvPy
5iy1oaTO9+X+hP4wPZe0hdGC7kMFzDuUXnObdPPy3BW9uHcIhbBWUhoONChJthWQ4DlAK3UHrr++
0KBpZ3Zx0kDr+x0ff6jL9NYUJTjnyP0jJ7O5RNDfB8/Y6nRqSGaq2XtkrX3MCHReUEHTjyNI3kYN
7oKYETBnqra3BdG42ykNgpcqxiM4yald6hXGdGno/cpiU70tWDJtTfSNnBtYQ4fyi+xV4jEDi9KN
F77qdhTtjdD79okru2WSCIW5g+HIPKYaQSlqdHQ+esxuNImhJObtyZwsSYonLng2RXIhBKu/UORI
IdEe1j2wgQkeyasm10goJlyOdMbQ1TooUrUheaKwzEXMemRnGKV2gRi8eFTYu5QeL9ap9NqhqBxp
TIY1AlJCh/6AefhGpPbLhGjdIWUgUkDjg56AUERpuJck4FegbbIFL0NdkTAusiQKe53GUPO1AjpR
kotrMqbR1reJYFOgyDCPZ0szK6wNDl06uy15XiELPsV3rwGNG0vEWeWisW00GMKpn0lYfqWztPWC
bEc0doKUB4wZUXGs0euPKIaqMXnmUzzE0anx8RuAV4RSro6DIH6Fqml8aJTay7Z2X0sjwzcZIdsq
Q7Vymc/IRdF1dwHCR66JLYDDIPp2XSQQ2XyRtfdJyxHa1WQtRGX92lThYhCquz2uNaX19SYqcOUM
hqmtjc43b7GZmbe2xQc1BWASK/ka5qG8xraxltAcXuzsh12KBLJZZZc4S/rVKJLkU8uyk99m16of
42UMMH4/S8rfkjLYDiLFNJHGV+bK5AZCP8P7FKzLymd0ZErHNB0EH8UkSQBSVnshgDNDsE7aDXHt
pN8WPcMuQ06cyZsiJO8llJsGDNRllCV8IO08kNR3jFtTe2nIjl+bODTXTlwvDSCwPcsLrivPp/BF
r5ALwgdNniWkdbnZpZ3Keqfn1AAE/UL0EzdlR8Oz1KOb6yER1qw6XSmMqusoLcNvahJFEzlffXVh
hTJhn3Lka2yH0bkRbCmcQYmzF5o/7bB1u9TYxPgW4BuUR8zU9xD1IJEA/rvq3bUOHflA2bSAMGkj
b8j8nqsyV/tw5qN6uQb2Spe0JfX4Znb70AlorcUUpu0p2vNeG8/gZubMOKP6p8ceQyhexkCZVYuI
gfCJHYRx1LN4H+oIejOxqJuqvXnYOVtbALvtXcp01hC8o0H4rpEAnEefRDUK5OFO2qgC/Jw4JD44
CrQDPxhwmmmH1lrEMd1szUix7gQuvkc7YoL18/uYuECaHNbv9kQxD8WxTMKbwZZrTxW95gNX1Y9l
GtXJzR1UnfpwYnB5JbonxKMZfCkin1YEfuCqIDhwmNxNSNti4cTLpGrrgw/Ffx1n8ba01V86xtrS
8cl6mZj+N3GQH9HABQvCIPEUsuzbBla2oTP6NBFzPHhQvEpruDG7puvOx1ZH7CBlEeiecc7IneVp
uO7d7q0EtAk+hn62U/TbScN5UytPfjdu/05qU/MHDfhKds3GjCXOXvE3b/JgA/3DP8TFSB4drVeU
eOjcWpl+djbt+GCsQKIb1jNqv3Tp4DiXUTQcFIoP8ni651QQaTkxXK00okZJnQUf25WfOkwMLCJU
XMuweMnxWyG3xqRUNzNazv9blgNJOGl6tVjYF00KBcgt/aXGO8bqFuAFogUx4GUE89IYPlEE0has
azV7CU2NyNQyv7a9HA9STzcllcdN3NXE0I36XjPGOxUbjMymi7S8yt5cnOkbyyAnNplVvMMQ45ko
2XehwjD2QsMVruTUvdZttBZNpZ3D6BZrtVpl7MNXU5Stqg48SKTMbesNt3IiuMsoY415ikJBO7FO
IaxQW8egYJLc+kCBiathKDvYy4G1Cx2QJ+j/44vu/LHKv7pZ4r0X7XTF8/QLEvI1rWtCBvoOvuSQ
VBvfp5KHLNn9YX6LrQq6YeGVG8HieK0R6QOwRi1hr1WbzOYD8yzMQ7jwJVEMBsG2Uf9BouOWmdPb
WaVOn0wrnlMiyr5wGeD+JjCcXQz7AKODHqHmzXPZeBdAyv6m4i4C0jYuHQUZeCaOpzXWPZCH/b7C
7NhF3PqWY3yQNUzhqgNJ0KqjnrwRjRU9jebETOhrZ59clC3kUQMYpH3WcASc4lYp9nEVLMd+BW3U
3uthyT1px7vJ7YkuJXYRDSFhnHgmzapft0Uol+lAx2qcCn0lKkoDfWBTs27q9uz0JgESQZkerLrf
9JGX4g4v+aUSnCXRuzSM9ypwEb1W0y7v2zccAtk6a433Tienk1ljfKkxeLEABn9Ag5KB0u7PnknV
l725u/Jc9Q8q22qVSKjfZoPjSrkJVFO/OmpNeFNt4G+0tN2RlyY/JtCEGWv53iXX2NWh7jOiJyhS
3gHVSdCBjliSj/fV4uzHz8XfQaixHAKyMXivp5h48w7c17LrGhJoqMdgEqK+Qz5V5DvRCnwOqkxi
70rWWZ7od2PWEKXuEjxJHN+PLQKCesNsbZTTG4IOtfQn7A+oJzduLj9DatkUW+svQxB9mbERGDqg
G+4YpUvDEziuo+SSGwhSKo3lpMsGnpx5VAlwR1hHb20dmHmRfOFezk81tFccmuht6TazcQGLCXxX
mriHtX+MBtsMKm25UCYtbqgp+9JDQlui7DnYGs7KDLhcXuP2kwYVMyzVfUg7CuAVEPfSeRldDQJr
S+C864ULlh5HtpTtshnsTTx69a2t45sfNG89XOaVCn8RO99zom0slMYbNrsvwWSYuxOBPczgsr8X
TCeJDwCUzLwDC9/FVFjFabQi5hdKeZViwZ+12pMss6NQVffSN16xLNNaLYMelWwQjzSVImzIM+FP
d54cgnfWkDHvnt7sHinhxTrv9WDljuZzJ76b0P7sDJ2oODC67GAjos/MWSxJ6CWDI+pLhqbxWOvh
P35U/GmG5DcKfkIjkvs8BOeSVMm51M2b8Bz8vnljYSZD+i7pSq6IjPiI6QovAu6e5Sijpd/oNcZG
M8Y753arNNIj0DvdMulAfEHdMPdZSOEDi89C1wty6EknfqnZ9p6sA+QhlicYFvZkIPBJe9VPY9MT
DAL4TDGmwn7mREFuoftVh1tHOevCFnfKiq+uwlDcBclGEZ267VRLJmn0yTaqWeguDq6INdEiC5Df
u55YZ2PWkZoWdO9jenJk278NIfDfEtH2yh6Gb9YR03LyXexnhn7QdGHSA2bG7H6zKIxB11nPad/q
EAgoFrjaBaeVeZCMJE9wcyB1iXA4hXt2YdQ1OnUkdtZcl0MFCmGrQbQnuALsPC2BvtKefWarS6GU
d5hqVGtKp1+Wd2WwieMiXZWC/ARfVSjEWhOCmPRtMpGyZuW4GPjB/OYjmYRO6bPdvIj2F0IiQVT+
pCgTbUP1KaXWrLIsiE9chdky7eJ3tq46A96AYVi2S22aduQOkVMWwKmqxHRQDXk5VOZDQQWoijTn
EAD5Pxps/5Yu4VyGR9CBWbHAYltCthJ6VoNawbIAJVSJvt5XSXiAVEUaoP5CGfNjtNlEDbV3L13e
EMQGtKXVgeGe9hW3P2vJgVpHAP2E/KaB6C37rQSDsCLfhIqykjdtTC7WvPt0+hClZvckHYgqUwS7
3oWOaqS7crLeIbCXVNIolqo1EQ9cqyj7kdJlixzx24rYRBoKBNuu5Fi+h+IchrTVTS+IDyXu3Tl+
udzLFJ+xRnYGF/R0Fk5an2KWLl1vPHVG7+HqY2+YdNEGE0cIeHQ1Wggo2nFP6YWJ0Gd9R2UnB/mE
0xy83qUETOKX3nOR2/1ThcB9qDAtDlUL0DTzlrGjfXfkqZTcmztcImzyKAg46VStvCm5GhMRRyS2
nHwSaRGckCD2FIFQYy+/TxkRjmzcvKVjMsIzHFxSxKl4JS2qgcSKxPbTNHXB0e3Cu244+7rK+NsM
CbdRR8/eO3xeprmwHG88UB7MbW84FoU4djElSGWOv1M5sXgoOz5f8WP4ah176OPDAPwV06QVxa9N
Q2BgCth43gb86v3I6J6AUJtTaEo7WElI9MukfWoyzHQI8bek1e6Jaiy2rqQY6Q80FIfqidEV4TUo
vygEz1GVL96A09vTDX3vBXu/JswZqrS2MLT2I0ym4+gjMvJLXMJxwjUQ6OmxbQKGD3g9NnbERTi0
KO8Kw+dWFEQiV+wGoXThgqnw9fbgT1wy9zJtYzfFJkwSexcpa+d5EdvVOduB/BJwBujb0rSdwwjq
aE0DoKT+nq2HACwYCuZrFmfdRhbDsLI5EolGmJLogB0pfd6lBNiiuwmjAXLlRTFQK+wmeqylD0te
8N8mwVm0urFKQ7kzU2/Nv+e2SZyDzR1P47Y9umweDDu4ahSkDpOms+uqQOKPEQyBxP8AbB6suaHp
9/jF0ww+fYtygouRgsQhC4oh9ru9QtCXmMZPUj4VbpPse+Udg/SMfKpcOjEBXEWi7QqEnTjeqTqC
pXzVmtMDtDyAllGv8UgOHGr9ZGljdVlRb3mKop7lgo5EKQkKeGk5udUyiBc2ROQicn5F78DPRvqp
sm/bHrk/pmEfSQNPlXzR9e4mAGlTwWDrVxPlqrFEXEzq14jNZyIIEMzV+q9Iy2gLVvYw/0k00tZR
5K6YHv6povxEifNcNMGpy4IDZXdkX1NxL0zxEzM7sqLyTyzvmkVeEAfmKiZhUaz63vmNO3IErFZg
z4oOQSUQxAIi7UbcZb3hHYveJ4AdGcQKstQdJfWhEeuUcBBEQ+oHa8kvn+52UG1L64DBuGeUbTLS
Lfs80RfmfPUVaLMXoB2cMIkxpjvpAl3vZ+2IdKv5+WVbFb2xskPvBzxGsw7DAys9P90F+F8WKn3j
nv/I8grBRNg/le1fzOn7vA3aLVF1/YyEIPIUQX5tBlsoVZTTIts5JFa3tgdtZM0asvp6nHsclKFt
sGmI1ejHn1bT/Qt4rn1EWNNzivhqX1u4xzUlHcadwjloKrAPWtaLRRbOyXYBWY9DH6PBCBZCKcwd
PlSbQCMs3eCKSWNLW4b52C0bbTsGgO49YvEOrKzDA8F0PkgGMtf7wEw3iub6gvr13A/q98RCuuuh
dv4aQ0FJLqYpwWw7Ah5gJBHBkeSWjJqpYoaxqGhTKW8LfpxHbNLCUCSKJDUBIwSZghnLOlZJpOqS
7U2W8FgjZnf6/qw8K92NwD4gqRnRatJxctiYFZ7N+YD8EUBzX84+mopcUMVKYkiK9kqzfIno5ydN
cnmJgLsvzFhLcAexB0319rmrjxZT+k03NJIGnNFbm5ZsXoKI72Wt92iIbe0Cp4OmdGrGqf0eC/1F
VISJ0yoIzhkbHRdXuJWN6uVxiBqkiHrkfgpJA3hSTQeNM1Ho/DCoGKOL5wA1xsZXifZUeGRZ9Sqn
CzAK1Fk68YppTlFzjrbzof/TswgQaEL8sUbzXtGo57O0f3xBJJ3K2faYQn96HHx7nsqdQK2o97wH
fowO3x1IsfftD30A+I609IqFLltpoZ1uxjzEZeAVx+48uI1/EVYcLMj/wvgBZBqkEtQq1NoHZN/1
1a9ChIDZDZImPUQywO69qTB6P4cDHU+g/mxLEPKgcHQNduTUfu1qBueNYteNzjfpvtZT511w6HL/
6P+HqPNajhRpt+gTEQFk4m7LUN5IJds3xEhq4b1J4OnPouOPOBejaE3PyFQB+Zm9154nv/bKm4PI
jaYzfW/Mub92Vqb7PVLgle42O0OZ88NOOnhwduj6vWw/nBmWZZf9ROwP97ksH1Mcx9c0GOaLTuKV
zgZ5MPub8pjS8lXRPg8h2lJ9SHZkN/DirPm9iDFiYHXyUG0w6MvGdROk16CRDZioNAyPYcE4TLbn
OC/eRs2Ue2ixhLO4TriTDM1u4TcmOgUp18VWn1LF9xp3jHD1lXSz13j8rUbFOL0ie77QGhIvN1o5
HgZVVC9FWr5WqOQuoblusI09l5lxTtI02YVWvDcHWObNv2yTrNU+U3t6R6ZVkbNLBGQRxGSXloSe
BFNGUZ4bx5S1DimVuNcx1vcMB9/h+aJVSzV3M8TV76TjuJIIA6/E/kW+Y0PG0D4zI3E3QWbOzxbD
vU2rpeTYB/lSXzNZa/PQvWca2x32rmh6FlVXioRxLdAuHVVjaUddYz8xlezjSNqajmZxKFDKsqe7
qi6U12iEEN25rW83XB5lTG60QD33NJVM9W1szt9B3e+C0bE+LEEJrUKTx0vKwUofafj91JOM3ibl
f8myKYztu4HbCIB7DqTaaWEUGHq/szKuVMMJ7V3aTZIq3dFOIDsdpp1e9jQM7XeYaN9z5iIcDav0
kJfzM6Ludx1P1A8ZPCv1FTIb/uNU46tCushGYxMZsfmn9WBeuZPpPNyi5mmZaTG5fGF0SBwTERxU
d9HJ+RI0lth6SYWPKfCwR00DN2Zfv8puJEs1YCYZh3+xaVbP/cQLJXJBkrmu7x0bVNfUNs5ZVOKb
zcGmC6b02SurisVh1iOJR1WKwP3IgRExRCzVW6v0b9UZ+a/sr6JPvZ/KqdoVpzlCVgV4hsBxbTsW
dnE24to+Kd1CglEOLit9Hq1jH+c/Enllz6ghRdvSeR+khldkOZT2eiQUhtLwSrXEFGoEtQh1stlb
rJX5Di57e3LcLjbDx21CStabE4V/tKK1/vJurmcRWMe6NfVVodWPLh2yHRzK5mTFxjrRKOYj7NQb
3QCArzskOMEF/d+H//+UnqgAUjMj64r1L3w+oT8G2CSgNyEUz0bjJSSbGWin9mxgtXwJ+vyLEOr6
8u8zI0/EWqmRZXgSvECWMF+Yt82+KSAS//s06PEZUNPb7Lf42wIkS4qT5xI1wQUNdYjiHqykjcJE
51y7/f8HrlmDjpYCVWPz9O/fj2L+339Rhl197TWSvjy/rkfcaNWXVy3HbkRQS624mAtrKg5scT41
SfQpnC+xzcywPP+jmBbLn6oGC63ILDgxc6k2xsAAoxp1yHxpIryTAPi2mqwRxeryadeHAea2iL9m
QeidkEtx7ozF/t/fNsvfxov1hMzlfCuthBThok/idQJQYDUxVyVRm21t2H+PXe8d3cn7QwkZnfAB
rlFqIGYfLbnXDtW8NLK+8Eg5QcEysJIkGlr/DewCcsz8nXF/r2CXbYdaNWdWZUuHyGY/W3Ja5lVq
4TcDqEH/Hhwh4a6MFhkGIpLKH8bk5k3qoRGmdBlbAbxtenPdBpFzSH5j6pZnLeoBZ2rEDRO29CU0
7SqLUj8iQ8epSjQJ4+dRTkee74qkdyfa6ssAIoh0ZvnLoCuLXw1NXxoXntpAINbIaU6LX8LQ6w/X
ZMbGKLMsnhAgEHKSipXnabgyybDRgGCrMGIZFWn3br60CV84EQC38pkzde6mI/F+PfU309+g8M6W
t0Ru47oV9UujyMZzc5ZwWVH/lOYSSDe5zT7pqHWsEJS29ixG89BxhFpsudcVazzsCIT4zsa4rQbj
BiiOvbmtM+wu6Uqr7mw4+hoyM7cgzHp9ARaqgf6naS9KiXyj81hpMLQ0dj18eqSV94p1Ho7nadum
GheWLC8MtskVdg2g0aPvGvVhGq3D4JSfZogfU9TIVFhQpetM4r4lpJpVW7kWQIfWpmmOO2SbOsBh
wQwUa1BlGGiAquYZfNpGka+wN/j1kQqLdRdkZzuPNlzzb5bqkK5V8nl5js8ppWWgXeIsnvaVETLt
YgmAFMO7mbX+3IyctXpAnHeAoOyAAmmLntxm8TyGW4wQnMcNolFISNtpcC+eQsbmcqB3hjC2sgHk
yc4mxV29UVUAchjgDxjqYMvtPK/43RdAq/WqGkk4SZ9lm8ZFfB2xMNA6+T2bk4/cbIKrhyTN1hHp
Gh43A8E4K6d307Pqm30J83dl58FjZK0YGLR62hJAkk7ZccrgP+cFLC12qhnPmb1pLxdTmr1Bm95J
8pLTSYcsUYw+MUb3hF23GPRjZ03XoiyvdP2mldJJE+W7nanN4vSGqfq/iX41NuIfGQc3oQHeq5Oe
kU2z+OMgRhu6/BirM/NtZwtiTFFyB0jteU8abj1QmFCElkyXikV4XDq7yBhyGOAMReOIeOggFmtn
KV3wIrFh6nEgsl/WS+2rlcGWbAjScybzgJqFDpnViVaQaakiterrvSHIYNLgGK1HgymPPA+IesFL
ti/5bJO4OFMCEby+YwJ/GOCYb8Y2bLfGclQAYcDjMLYnyxbBmqY1R8Zr/Lv8tgS5QJFbahWEGDuM
eRu7JXnPBqRIHDyLumxdp8L26fVmjUaxqIyPmMwoFeJgrXCUrMZ0OhgVkrc+S80N4w9TOU8pxDq2
yqB126z+LRyiZ7v2bMfTQwAGo1bXXkGu/mHnFB96ZNX/amewZ/l2iguma9HfEqI7reNAQCP5BYro
NCYQt1GU6jgMES4XjBQrpOVPOfZgP11SePLlQ4t8ZCMqcsm80Y5Obui9tqpgHRVDE/NMDAZF4ncW
v2uSODxw0qfC0TBoOj8mhsSxYGNSlcO8o2pgfzMrwkDZiOS6iSEddGGkkTg61QBN85xmwjBADxNa
Q2xFRK9qhmor7WHXTObH5CIHkTqDVqrTjlR34jCsVH33RjwcMdL+lmzGZVb3pyme3+ug+2LhunGF
RwpMgMGA2zwjnm9AmWNCaap9myyYzkhTcJak24aBCwQ6yX4K02pPbjefDQO8IKcOe67mroGUXBUO
2EDLSfYqj+y1fKUT6TeuDss4n546DDt6ydiHiWG3ZXWhp415xWq3D3nFsSK221DL/urD1O2SEiXC
EH4wY35pPHAzvBSAZdVICz243ipd1vh44aC+iurg8CNtdfiDG1TwhAY3Oku4CBJoWJPXQZBSflJu
uc/15j3XgeNRS1EsMnWrkgOaVyQimbFNGucFZf5mwGG2Tly2eiQSrbnL5NoJ4os2ovor48HaTEgj
uI7WuXApTkLELtAJBTE0BEpBjtajmXUGjrOOqU6TVqtY0+sDbEuVmzUyQraETGnKKdP3JHk6K5tQ
x1Azt7M3ZNuiM9/wW7J9sL6rGG2SPrNdHqZniUAUeALQwj4o13RoLLPGZ7Q/pz5DiNc6sP0655u7
jNNRrxnatgjj1SMbqeZnbgGezjwjDNP8UyIKYOdeYmjjh286lrwBMrzca7kdeS9FNaxZ/Vtb4oOd
Cp5vB7vZz3uI62oG3LiQsWTcUNn2IYMpjj3qwHplutp7sAS6Ifc666kqnmeU0is2GwqWfGnTu8NJ
MKPqN+ZHPrLYZwSRP3ogaTJfeN/4lEpjOupeX3Hzwj1zUxUfnKg4yIFiC0WFvo4J8IozxKIBJynW
001Yz9YBnGy7A4b45LgOkZXjgN5nMxfG3wY4cmcWGytg8dtGRMnFnnXGCY2+ZrTy0wz8gd1EdXCj
Bo+hLRgpHAybEo7jct4XEW/LvKmj6GKP/J5xlUzczrWvOeYfhZ4P2yhxP0RH74wRGSBxCgXF7h4k
AuEYvJahHXQbtH6oPVa90s9VrohxU+6MqE+1fvbNKf4chuDyO3QvcMDpo0LvQXR2dm0z9RG7bXZ0
mmqpkM6dq47CZp5uWsVrkxIxMkH0j532FXI07lkSGYra4nAhY4t8FID8abPNR/OsZ218aQdrrer2
KcphNup94fozEF7i5GgC7EhtBjLpNvk8/wFIutTiPGxI3PGBAaJKIfC7top4h4U2XvMd35l1tvTg
AVkklIOIOd2JiqBELganc2ZsCBa1lY/J4RYqLeNPEHS+acuK8+M6Iu/cZGg58QICNG/jXXYzjLpA
MU5/bbjDT5jG+Aa0YK27EyFyzSLYI/03UTsXHsaWtuuuB6gBQ3EsQ0GuizbsFWkSR4aRjP9MLFyZ
wOpQMAZ/CGc3KapEib6KkJctbMBDYUt2j7Jx2QCMkhF64zdxlu17o3hUsfhPdBbljDSTfQoTgjFw
g2oO+Kg77CVeN3TVWyjO5apdKmkHUH0bJIdKhdyu6rfWsdUIVdGrVbhNyXCW+KswgPjsiNUh7cjJ
aK2a41YopsQeiaVD8a2YhlAPOcxnp/SO3kxwUzPzDnlp/GDAsJVY9SGR0Xqu2v8KkT10O+59fllS
Z8cnCvAfk1TAPYe133uOt6M3Y14T/5eX7SXB77iSzgDptLCwsef58+QKuM5zyQShmpjs47LeKveD
heMn8LWxr90NBs+XqnJOXQm5V3BM9nMlkTrb9Spsuruj7BmY5hfbbV8zXbT2kfx0WqyUS2D3LkzJ
QJAh6eYpXreFu713bZR+08BtZ2mY9enaUN494jgpD+gCtjU4lBUhxkR7YbFalPZIwwq1a+r5LR+T
X5jXlPIftNioAHp9U7XpzGSYt7yagbWyGNqktjdgA9IujalYmsFZQ5jAMWZRqB0Tppi4kQ5iJnkq
s7lroKGyn5eryAr/EyMK8GgkdYtGFl9H3h7M1rdoA49GvHQJISIa709uVAgnPO/FsRn/GsQbM7p8
NgbzY+ZXW1FPUiXw62vI+u0pqh747Jq1yRzNt7Gt6pNkSpfN7s7E3rAt3W2l9Isckrco06J11W1n
N2C2JBfHn0Ez1cUNF4G+LrvuKWvydi8tqjsmoggYhlkgYEIQmr5PCmMu+ApOloQwm6F2uAB0Snep
7/spsO95lOqM6KEGCH4Q7V7Utn1syyBfI/ilXAxJcuy57EFScuKR7kWVnBGWXTa7KMsNxqIDjrHK
uA8639pYtL5Y+46ZlIhIa/bs+jNzuOpkVcLjJsa1NXHNCsmm14s5BZm5lzwC6lWk7ubIWmRyXApY
vIMbOes3SzP+mgqhQCmIGp9yC1QtGZdamN5mz06pJK16rbVgcgzi6lMSJsuKcGXWZoRIzjwvBt6n
ZNZ+YuEt8jVg9pLB9NriCbxzogSNXivORfpEjGC8LzVxn2LtVGSZ7wjrh4KWspjx8xYw86nTUpaq
Qmf96YX4QGbjV5uM0g9KKMe2MDa1UlxE2rxxF4lUbMg/mRa+N2OJlhqMN/e6ve/oTH1Ded+mXpMI
qiHe6GuytVOA2A5AWd+d5htaLfATWp9fLG9ETJSRTipM1PdqSOcNGAaif+ff1A2drSfFwbE/KhJW
V8pzmWI45EDwTB0IN+bNNnt3T/4lJq4ZB6TmnIRiAu8Fdra98y/Z24U4HxMAL4YeQ1vo5wZKLxVj
IMQfy1Py5kEachnZsz+jqDb05CFtobYMF55ZuZ44/6tdodcsP1AoAwtp0pesbQnyMqmoPE3b6xbP
ijoprnPVkBfdnxMkll9hha5t7tp1r3qCXOCMuE7GVqxvq52tzwCoIUJIviFgkxAv/EazIwi4Nrhg
Kv21SXKWH1n2CwqefD1mwVYrqlMgGm0vC2YkGS4uqyBExitatBLMeVG45K6vMr5KFdtfrBBv7qBo
7BLpoBRzKcIid6taolVsxfnkpWaBymcRFbHx1nkGOalrEfz5zA/QbGaoWax8qk3X/Q0NYA9a7QW7
oagJlxreo0G/eGEw7UV3MjBC+LkcOAZsdj2GF5Nj2Ns8XqriT5wP3UXlPYl2XuytgTtQnhajOPAu
dVWHHE7zyC/MIPSSPEuFge2/iIAmS6R8YUhgHtlUz62W/M7I4geNNlri7ltX/YJT9yaElYCwDRf3
UVoy5sxzcZRgfla1cAjUYCu8kjDAyhrn6bxHQ8ziPaM0agaG0xHtVvtuWSwqPOcM+u2iLANZnUaB
PyrfYNZpiiXL0QNCFcUz+bo2BrE+vkzTpDbLVCDJgSM4VfbVdqT/xUb6NtVNvo+4dOPG6bZZkT1M
+n4Wy9XFdUfGqLAKtwzxG+RvacgIY3hJMXuvJSokMj7YppcaYYsprICcmQvwvuku9WLBo1Fm2Brh
A8Jsj27eBGujp59oGhPl4BQeCVaPmSEjQo4ElS6vbzoxtOOoROO+5Nqk8pAwkrIWi2cjtVO3mD7/
fTaTQHDJY+uMjLt8dqai2VbArDcJGuWaybifWSc0ld8JCUpUgffe66JnNiHJgeOMhnia6JTSsDvA
xIuezEpHUiDLtyZjZ68bo3hWrbZJHSO/yRYJkj0SmkKLFzwZIyZqTVAFderLqAz63LaXPuj8q6g7
9eRZFq6eqLiaoN71MvaeGgyFjy5H4aLbgdxNUV4TcxcncEp42rhezIqn88ig0ruX2Oj6FybeuPah
HBmzfqIAG66uiBFNJbOOYqNxAZtgyh8mR2L2QFaXEqhis1jbtKM/E48Ojomipgnb7vrvgw69wWcF
N7D3uRTO4N5zBbmIKOVyj6oQRECYZgfY4F0oXlJrfsL9qfnMdA3eEs1+Vd9ZmOeXuR5afsBmG3nw
tBi4o4tLUCRipq7B9VyjBHRTE+l/PWVM92I+GEVAimZqU7NBKtZGL3ybJf1IA3Ln/O/TcsDSNeRI
72hP8x0JVgAVO6Q5OoiMVY3jiKtM2lcd3O9Veq99qe0LK/AgEw7Oik2nd9WVvIDTmPC59sjhJv1h
ETJyQPJMnUunRghQ+AZ/3aEh5Xlqpajr+la7ZVmpvSk7/GIKmt+KvmYeE2eSjEZIcREz3sTEkxqD
VcDXhACBTtQkpimoD5EYEOgBUx2siCyJcdqlOaRNOyEqaCQfq4zdy79POj0VUNkSwFyhHvuJK/NL
36BcK0b3yPsrJ7ZiE+m6tz6ZnBucxmdqv3RdJUGGFnY4hiPlIMOVYinS2icS7W62mhhCGkn71Jrk
e9iU/Oy7Oj+xPQ8UNch6IFxxfXGxAjH3tOXWwS3mNpQP1jhfbOrcW5454V7GOC3+/QnZH74XKysw
W2VZfnQF9AqMKjuUvMvF1US3ePlQTcw8kS8AxSGRZDU4afL496FgRE4S1qfCjXX03Dp8/vdBsZLX
Au/SKF7yAoCLPzX1dMe861dln+zR9HP4Y3SuOYHHxik2LILs+VksF0A0A/hwOp50HPLtPTMibJtu
4PcZNb7XO+tWdAW5HnJ4zhN9LUZGtBj1Vds2d0Pm8mU2ir1eOtoegznzudbLH91AX8PBzz6kORhS
bAO7/WuWOTRUZ5/GIYDCnNFySCpDiBn2ImpjOucNfuVqQMWpGibTUpjHPoiHzcjNmBdj7yceRsoe
wAHLBajzWQDLKDH+pPHIpn20TiFeAm7PbYULcF/I7l2j3kaYKW5dClIP5EytTbBxykPHPwla/KAZ
WIlMA6bymFuhzr6KQAyHYYL3rpwt3Bm1SS0Uf5FhrssfdnDo7axbbQ9qrzfpLhkH43VMd2YLRjD3
4s8idoz13LOXa3JSVE2e22HfAkrKv7ogrS55Nb85I2jTFMMZgzkPU1QTHJYu0VyENFku7yJCuNYP
6I/zgcnnFLvG3goPmB7ikz4cFYfqPitKtL/2cLQDnXoCLa3jVE/Em7yiCCO7xSHnyY08huIE8g3Q
c/kKsMen2CRWK+zADeekanHyr3Ckmon1LvHUfjjqSXjaHi/QPaA1ugex+dfiNmUDWh9jtKq+rOyf
JqdomEh66/KOos0zumNgTbCiGKg6FMbEUTNixhbfbov0r1ZV2ChKRj99TH511bPj1Vr4fCjm+eO/
D1S4jR9kxZtTEHbXsMHZ4OlZyQkd3L8PyfL/N6xhGPlOpyGtSqxnIBC6U9SKn9aQ7abEPlslroeu
lq5n2Sw6LQYEezFEh3FzZpFo6k23i5q2XFW2O61Luw23WWh+qwBIeajjRqkDngcQco8MxUDPmcgn
zYBygNQdY2FMdOsBIesgcAI3TitP/Ty91Fkf+F6Zo4Y7AR9SUH+n6amo8r9uomY/HY2PBDYzhvN+
E/f2TynGP02J66ArvlwVjGtl3pApUgjjtsQSrzNU6kxSZmh6guDkgN90AvVbWBEzqsby6+kwG9XE
viW/oiL/HRVDjSaPBlyuJm2rNjOeW9i4JWqV3cCCM56EzZ1MKkPKUmAVl6TKjnOt4//sgZ44I3oP
YR6YTL5hgE9wuiAycfIdteKm7IYfFzbGWoPkzjf2Z3I02JC18P3DRbMVftHRcin3qL5oyo+Bor2N
mM12pF90+bwKPNvxuzbEcOCI8qgvdLuSFqlb5GqtlbEnUGm9SwyDXjHXh0vZWNPWUK2xoiKXpAAR
uCYL4A+RtW5zQaJLPr40OCo4gs1vHQXK2XPoaCOt9bZlV/wJayAJY2dBUYjbnGYLvP9g4EXFL4vi
q05gmC1LelmSKx8mD8M2v6HkHsEg7Q2iKKIaineje+fSC3j64lza6N4TMrlneoVG0IKii2RzGnOJ
utwdjGNI0rOHK2uGe2hOxsrUs5ecEUzfkiaUw4la22H+y5Vyr6rybi4hLTq5Q71kSjt6b1mjllGD
xUDWx/6VbPOWpQSZeqdkkn8t7HeLhuMbZ+LDDkkGSNxJHqKsof2pyU6snOgWWA4pycxn/aFNFSRN
4nycDsEfsh2POZx6pkHmTQkQaHGXreuBUIS5+Zv0XrZNFp3Uvw+BUnINwyRb27WH+HDn5pl51LJO
RxxaPjA52UfCoSYiONt7kbu8TABobTrX3ZgLIrcZIaCBveZDy9XO0H2VqKbdz5/O6BW71FB40NhM
G9V3ZSXjEbMJSwBdP9O0IQSylB+6Y3DFVzeuuqk/QYZ0fDyhaPV6Bx3dQwZdu61H6ztxrF8npJMk
eic9MddNbo2tm35ujhHLspY3dXwvjOzcMiIgBF30F4YNbyUSqB3I7mg7N+H8mkpp4Uln5EnN+6k7
tbGPElbWPHYHCytNMLAhzrrXwUXuGIcOwTlDfxlMiXqMKOkVMts66vftHJKGZROVhe6b7BPJ1/G4
qEy7kCchWRUwiUeDsSyUwnKDJlcerIQSKTMfNhvv1SQaNJyl3CPHd9eoiLioWiym5T6JBqiiJTus
FPj3doG/pSTdnImsQ8ZFUldkgNoNQNmMKHiR2IVPs8f2D1fz0SnbbwHSa1UU/bD04Zzzotj1i6NL
Kzpr1VStu+1NpPCmwZ7dis1wCQ83V100TAfkTftOyEccMOjSXZuewHkjwWM6mQFUzaRGKB17zzpA
ytSjCCU3eniBIjr6oF33qjS/Stv4ckCKqQpCF6aGTd/QEciawW6TBB/E1YLY1LFKZT1BZKNx0wZb
rSonfIJH/B+BLphIrRortE2zrI9vOYbw05gPR4bqaOvYIGRu/xEOZAEow+4+LKfae6nb7lPluH5W
CpyZ1AYswPO9ltbbjmij1UAhf6xqfdMN3TtCpu6lxO//FGTWhiGzdtCQhjH+4hy3yzzec/71K9Kg
cInqxrEsIos80JncJsvRT66lph1F2SNmP48wGLm+cjIJ7DOiDI+dZ6+vZlKVGPnUmCJS47Xvw/8S
xPlPozUGmyrVdnaMRTIYJ+dQzu+ILuONVbBr0QOik5oxuxLyqD+Qtm76cBIboqCOjlVrrNbQzzml
+YvtYQ02LCc8sho2GUvqUSZfKrWXTJD0jZFgeujYuqwHLXvGg0ERHbl71UIzkDimaAXJ78uLSl+H
Wf5fhIEPChmSE6MMsQ/R8Bh19BNUcQ95ADXIQJrJTjZogyY7ewV0yO5F9YjMwv7KOChEgQy11bOh
fQ/VneGO2IfJ+JMTi75vGr3z9RYsgQBQ5jgpOeicvXTbLPNDW3s0MR6U2bt6s/3Xnr0/U01IHirm
VSlMIlfM2VwprFbJGynifjepu6JJyisLUH2FW8+19HcT6slOwMAQ7O2YwWIebo2UuqFlCV62P2ae
/MFBaJ4tvmKX0F9JVzzXelczCaaRLFtrF5QMC/Fgot/Pc3TeKMAtSiQjuHESHto2/Rw1YDJIxNFI
WO5n1ExvWVxdrNK4V4TI7vOSJ2w121u69IuO9XsVmd23RA1NFtVdjGW/FTKnMUysYF+ME8sLYqOq
WW5diDas/eOHqbOcylLXXGFiE5okSjzOc99c+JxtYR9drL88khKP9+dqR4ZHzJqDuZc6dhq5GuCb
+e1AoI5Htu4akuxiVjKZKBufKY45aLLtlyxwy+OrWulREO9A9uKE6dfKdu0tTirFM5AhmaiDnXRN
Cl+xmYldpL8NkjWRVWt94uu4g2ux8gwxV9FHL1YLO5Shn2g9PAv3nJEQ7WcBlisutq8Mpdbcud8B
EB0yyIrbXCK/mFF7YqnampJRAcneLUYxAbCZZyKLOFnfosgmmRIkJx7sF3sUIyPdptgYGZnICV6j
2qq2vXBIiWNg5wxst5M+SU85g4VqNu5gYfq9U3Gmo2OrsemaH/jLzUuHyoGsv2/PA++VLCQqXI91
YDxMtK/DzzBXP4SabYdUYvurnP9KJi1BrZMazrWJ2OMRh0KctXK+TnLgp2ExBnAbqOa1d35EnRe7
oLF/rFg+RePTYC0j2bQCWtGbvGf1sx1H/2WpXSN3f+hxgQ+lGL7BZSzoNTarOdrPggxdO7UPZGst
/eGL1WneoR5M4FcV0gKCCFK8zrOH3y9jwp3BQ7GU2Eaxto5DMlEiuFTrtA6atUOagCm0c4NOLzHp
kZLIZNqzUvgkI4KyqBaJwbMYM3j1sqNMqfIMWKOrAP+4nPw2GdMNMi0/aDqYM+mcbQeewhgWmSsU
hT1SMnod12p7wgvDuhE8KrKrTVaVPy7smLtJ/nILVHBBzOB5xm/ASjO6YEJNn0MotmwMc2fu9nPn
fMrQy64CYTu+4ukWpIPYFoRyJl44r2Ecfo7/uWRPX0gSTPYR8B8XIiXeNyzAWZd9QE2v0Sb+GF26
d4OFpj0ZNlmb1c5TR4Oexo+y/mq2JCJQh5HN7GLuYX9PYsbRctNjG9BFzBZPjjLZ23bzYcwK6KRW
XaouxckPfaJ1ygdlHcwbKKi2s8j7R+fvMAEomoIQbMdXPSJLaEvzPuRDvZ0adROjoSMvxcSpz4y+
nVlb193YbUzyczdGyka/MBIgPcOU7/uQjn6CVb8SgYv7stI4rUI+63oecqBvnRxihW6lYjuSlshG
ZOEbiA8ou4fGzk4QYc59i37UnjKElXW4Bvp/j6EIfbpQz1Infy1R/gMlITxcJAYSLMrzPkI0XP5t
JPl/pfEQieIpw7haw7Gd6XPuZx4ZhIMtQfJL55rgsIS5opVbY+ZJaUApGwAX5aOxtlj8RflgHKOA
9YqOEmROhLaCB0TR0uc/VW8ujyo5sHvEJNBFY8CRKz1UxhgXx7a7MYLw1llc7gezrc9JV13Zbvz2
QCfRHqCEgNH9xmo7BUDW+07PBoqHNlDx5U9Yfkl4NqqHno/9aqrU3xFq1MZVOHG1mkPcdGF9jm+t
1ExeV/ecpxFerlqJTZrDBwq4fsPQifyyvNch7jlIepe+z1g5JMV/iVKfdcOtU5nInL2AagEHPEHT
hDFmdfTUzYP92nDzydHcVfC/wo6gXPSyrIWBXjHu45m1rZkp7tohbfeTS4xcU7EFruQJY0PFPUNI
LLlviBG1wt2G8WesGwmOIANDDvVvoaZNC3z+DkcGSX5abgpNgMjyXvWzlwX5JrSgomlxX95601uK
BPuIGEiRq8fyt8pTJDkItfKk2BQjwzHLYixc294Vs0+57zsSlVxcYHiXMJnn+WFg2ZW1il/GekKB
nO0CJgwB5C7LCZ4r7FDcyaSwzSTP1rpcVbydLOeQ8gUYB9m/WPaKBv4pjlnS54Xv5IhRsMHpq3SJ
wdNHqu18LiVUg4L2TC9+MXPzAkw6TtmC3k1ZOpfsXYvTx5w0f/EQ+PFgfotQHReoRNtimE9JDB67
sQUkOyb3tAnoGav0lk70sUVHNhDC95dw8o6QAZBHn4b5MAqV7riOppVoY7+yh3kVeRg+QbC82Gnz
DB0xYf2zmZAN70qaRU+a7w6ZSYziRzSdnUbxJgLCaidcGnYY1zth44TvPPs8QUMSPOTP0qkBO6Tz
t4qjm2vDrIhc50XTKvQrurE4dL44Xr7EUF2nZtomFc7SwWUvBTT+aM/J1S4dAUe52iVZdYLbKz5b
+csIH+VQZRMoqjElpBgRTJElhqAgvTmVHr97jZaTi57zvVEpOuFUHBsLemrdN0cCv0LQWrD5kTP3
fi3jt4k3ys27/zpR1v6UaA7bLu+OT7lnbmifUokfAffPsBv06nnK+V8TZN8kMljserz5jDR+ibXH
/P3bkd2NVHUiSc52wVmIsypzJsEBoBCLBdU6cKoHvGXrHKX10TQhwcZsI60IGX5c6UxOGD9kXb33
woK+kKMpC7h5uIJQlmUyoTSR/8feeSxHsqTL+VVos2YeRqSKyGscLkorVEGL3qSh0ejUWufT88se
ihnSSLO7v4sD6260wClkhfDf/fNkVVJVt816/61K+SaPQF4jcYrmmeytSp7HSXJNJGC9biZelNlm
c8lJz6VGVmw8X/5giPsQ8W59dn3IcpRt33dhfS0HQ93ymcKfvmSxngXd4DgV1AptXt37kqOK7+zS
ufJXyqD4osnNX3ACeHwdlb+mtPCsRWZ9t0nhoMMkxOoWfdnvOFqxHlgV966uzwBHO0VxySeBX4h4
AeUgPKzpNO7LMT1qzbyuQ3QiQcrAiVD8j2kinluNsGrTury2cIg2oL5PeS3sfUR8Kh2CdgtZYNvh
Gd3IJSluWPVZpw8mvvm17DlBNPZMkUVAmo+q8oyJoSGf3AhII/hBmXKeE+QUBqN5o3qQL77xKJBs
8veBkWZCOykHcbjq2vFWAppVMvgfVcEdsMvw6uHt2ercKvbEPUZMdryhXE0FNRbsn32MZ2DQLsGA
lhaQIrKeReZis/CNs9u49pOD6LqxApI2/pKs7ijCJZUl4mPfE+csmkIcseF8Ww2wNDpzeJ/hLdu7
erD3uoleHE63AIjs5uB3Or3I0V8aSnSBfzv+TkM1nipz/E5inkZfZdGdG7aCAM289TsQL9L0611W
F/bOAc/MAIQ6d88u40ewjLyrJM0TEhyoLda4QrqjQGCAddNz2cnk4kivG84WeFJtKk1/VJb9e/Bd
65y5zggmK3lh0tEdBqOsDzYXUEYJ/WmM8RZikcw9wQTSGaIVfAAniX/oWX0m1nc+fJLBecmjePxA
WkG149sN+5t6mVzAjA8o2vTTMzBjViP4xlROyGsXUx87YD/Hl04BIz0f+9Ywy6PZiZe2L75irnFP
UZ2/ZZ3hoqyx9tW1D1SIJYYz1MVMreIWKI5v49wZl5YJGnsw5zXX1dFLXC397D36QiG20Zi59EIC
bedXCvDU+DOS+Chsm2qBXD6Iqkzvmog8YF1P0aPGy101OOiC6Oh5rFQKRh41N/BogG+9Ge1i23RY
GPA4PQWJRAT9nVQItKMbV4fZLt+o7/ZWbddkqENwOIQXVje/gL6hudHcfOgh28U/zWyYKWibx4fG
xG6QOhhoYceOmwrLw1nrfTLyYOXSDa+wpbvjUOYB/khwJDzFPVrUzv9pWvNrGEFldxxiwann+WiP
db22ojLaJx2dqFBmW9RAFF5oS2YQzcDvA44JN09hcubeS9A/IfeJGhIQLksRIe2RXF7SrtiVSnpU
mvFh2R4f+nj6CseK1unRNU7Mcb+KXJeM+bJw51n1nQtx5+zBkSI0IK+Yt62HMCwfoS0am7ynQwCB
0GAc1VeHzjN/VJyxzhPIPd46Pwaqe/ZWr7sHTDzyNM/5L9KDB1LFmvlD/yi9oeMp+Gm5+kvF9rwj
Zhxg8rSOtUqoPfCXU1Xjno2aMbnlhIjAkyXvwUlNCFr3SUD4UkhbbDp4M41DWHJ5unH6hNNznSfy
7KTjZhxdwuC12hEuwHaaCx/5+szfiAoDDR69jfn+SXbddIIrxuC/j7qtWUz9Fl4MR0AddrtZTR8a
uOnZcLJtKUifo75dVBuH1wRbdtkV01nYwDSH2DxNHYFXHyfyuh1GjUJtMT6tg/daYBTvoflela+a
A7yhGQdx+R6nzPKadoTrEOMUptOADBGF47O+cGjr133kvsRRlJGU4Yy/MM1bQ9unOv8K0yqjK4MP
UiXmyZsJsgI3iiOuDZRbjMyRuCo3NpdwQ5JxCwtcJHWvbm0zcYvOYFuykmZPYWd1x8C9zTHnqcQp
vWtfTFTPKfmRgcjfgdzUezAUwVYvS7NpHgXK4Qc/aUWT4Xgt7LP6gG3rnkoPm3wxe0evnfZd798P
PlwEYNlYyFL8rw2DNChn2INch1UlCF6wIPu7gTSDakx9zqiDpfAZEYHjUH4x5lNS2IvBiVv4GDzT
EU2hGlD9Cz0S6w5kyM11uTLSUItaV4j3uUGlnMxkE4X2XVITDM44fV6bMntDmaCIIylx/5a/ucue
WkhPOF8sCWpJMAWxqXxQ1a5Qvn1xwtDBQrlMZlV9HkWtibJod1VanI/jpnjxsmA5aTLm0J5ztIab
E9s27JNdaFfVXlD6aYcIbcqUoKssDYMJzTYZqVWxucjMTbzVNKogP2XPdmeRKs1TviVp3B4NXoFq
4bMGC/Q1sWMqqaYbnWHBDnDpFjkWxAC03XXm2EdouMA7Jl4eJkOrJOmzgwe6Cvygf5ZpFa8R73KA
CDG0OMM9ur7cZRa2RmTVn9K1niLDrvd1R06bfCcZGnSWyZdHd1QcAbPy0Si46Xoip1SC6ueLSYNH
1bJ3F+QeN+hBdYfgboTzvi1tjk0ZcaAG0kCIR54zQrXtLf+boMjB6Op5N2INK/kSNgO3p1XPSQjP
XFGqdyKNF0xdi/0BQTEPKEb2FV9FOiw5ZqrOLkaJzR8MoosxJ3+NIhHth6RY1B/uDprU3joovFdR
ATYSiy9gPI5gaI4y2EFXjk4ydNdF5VMiHbs7BzIuOEguhi63SDMJL3kq3qfJadY4z38Po3eNKdM4
uZH/DO+H/61A32JRfMSeuTT5EFFIcLRvR/2eUgqFmXYtQ/BNRTLsOwDTcYttUUI/xekabN1YwFDQ
JeR5QoJghiFmFBbjnNjh/6Y2FRdZHMGXMHxrrMDk9p90B8ed7uaOdznNjxBDunofjOlTE2eSi2Gg
NiNZoAQ+yAP71jIIGncTEQaSOu4Wq2J3olb6tympN+qcC5k1fxfEvNwAc3eqDX8EU/RaMkIMvba6
JR23rMKvzaOUodoN9uASDu3oV0XExj8PEVG0dcSwBS0tpEWJsfrK70BoTCVvaEe3nwEWCTQiuuMo
yLurocUr0FQe2d2HxSm4UcZxSnS0dw0hqCUpSPkzL1kV6jnBHLLK6/Z7zDFBYRjemDMHzmFInrIF
SpwsH5oKLgTMCE6/paz2C4QS2Ep1bJzwhKQoL/j7weCWnAmxRlzqQKmrwbWNxwiHe3giRQfZRd7o
kk+ODBmo905dDg8InzeoAlQNpamxNnsGDy3pfIS3Rp2ErMqDGfmMilhtkq9SsGRywdgmGd/PbmRc
QSjtIZGPEYMTlHv2/tGd+ktrcFjOs5YVnheI6BFeRRhyuNfCoT+KDCZtQrU4xUoReQw/6k5pLbpT
7cZqz1ngyO/yaegbB1qXZn8vvPgMj2XazJx8GVm1pNn7Hgc0onFold9GAdgOOvV0ApEPuXz5gD6f
bLGvM9ke7c/AECdfDO964EVxJoY9AbtYG5cnqygwtUfR8+hMiLo+52IgOSR5FkbOsHTBx3CGNHh8
XX6bHbRAbhHsrjNZh9wZxUMgEFsmM3jV7bitGlueHDfJ9jZJGfa9JN2NAjuhwulGH7R1DHpTH7AK
brjJLKgI5EIRELLqmqWSdJpzTK/E7WVLR5w1+h5+8anrT//4YRdY2LdymsZj3nS7EuwKscSHzEPJ
ry1oXHGIV1Yk3niqp46j8AijiSFcewI6WG8g+c+Iib4+OZWQ2/8cTOTtCWjDCm2Sq+5mA//7kBx7
IxvfMaWibzfuc4HP98qwp111GOjf28pHH6ZM6vDnp301c6EqrobVkl4wcutg5Oa17qf5EOjUBaEQ
GcDM/+eH2DFqkDRuvoVz9s+f+PNbTBTGzURYYx7AxjOhPruy62/TAtaHs8d3nGjb4c8nPa7w/yi/
/Y8e8/93jznlfP9UIrv5bD//03feRu10/cy+//63x+4z//X5zy3mf/7A92fT/v1vdJVrzxWeRx25
Qwe3op/3Hy3mpv5LO8xGUVD+lJgLyqBzMoHh3/9myL+EQzQaFZ9yIEqSl881yJvL58y/tM2KzOdc
23M8JdW/q8VcuA59tv9cEr58cZbpKeUpVy9fyr/23XKXoWHdVk8UAmA0NRehxQ+vyvuJAigRr2fs
jPPskvSa9z1Mj03heXdcNZ50Z11ipy2OTT3ZHObe6HDAwClsaPpuuBvx76290M53ra7vOTrSLxVk
Nfwkjxaizrxo+nz5++OPxuDWgM9Uj8nCv0KTGDgaIqK0DU7JYeuFyVkZ/ZdTzWiR0PdoeKooEUPv
pgDEvNDEuFPGcLZLzQ4rsXx56JEfEGFCQAWl6JmcaRxRFqmrtgWnk1traRNYzU1DbcJRbbjTHzsb
XuzQUMMEi4phVApsjPOb47VPeHufZG2dy2qAGeAOB6xCsBpfEMVIMEKNzmXzhXyLyXAMwIUzn4rb
gMgfnW+4vyt3TSfeGSzwVtr1YxjSEmb1PWkxMpyqxyJgIE9mkP7SqT1WlfOge/x3hEk4sRXB1YoU
taDRAEwsIBo3NVH6wIIdYkMB7S+KZgX35AHnwbGcrG/dwztzaT6B2TFu09kI6V025SaLOOWxgj71
0VidgV1ST0MIILPCfW1axBwd3ANF3OxtUlzcaaD2BzMG6HJPkwomvZFWkhSrYOh9YELEgSnprfJF
cw6L5IdtcyuLc2FsPYCHq7bK1+aMKYqb6+LhqVq2x4DJ3tTd0yr2CZUCk5NVUOUxQfwGl9PpWIP1
Ml9YW6knqtxjMcbHvEUi8EJjWg+wg1q2K/L1dX1kCQ232DPrVJCDJjMveQwZvoOAzRLkak5Fadri
L6ZubER62QhOr0Otk6eOO8FmOthmkN6n0fiahn59sYb9JOOnVFc79iWSKPaLU9PuGoPIvvczws41
Y6tutPQOwN2m6QID2CL6kUOQwDAcMMHzIoCS46/V8oiEe1fGxZ5d6i33GBTweGG7uROVD9UB9C7i
E6nYuZNAQSvBCZ/qQerWzg5t6djSvV0T0UoUQQjFItHsaf5+92NIaLKxNm7yraxsXqfdO/cOcy9K
2XOcdLt1nCqmm03yW1mcpGNgzCk9Lmsup2FuE95H4bUd+Vt2AdS2Pv1lV9F7qOd3O0/xoJnztm+M
V1vZ0LGACSmhb0uZjKLRorfSGyErA6Lgi54zdzMmwbM5AV+ae7GMVxEWwU+hdeRrjYlyBEplp9h5
BzE8JDF4mIYaIrYpzrv2dK0qRUMswvwRqxKnqk+Ooxg4rp3A/sg9okzsZO+WsONmzL0n9Pod1k6H
4rMG5TIst2455evKtAKSmgvHb5xPzlj8qP2M4vCO2EXjGWfYH8c57ceb9LIIjIz+rrCaz/DBz2ou
nk3VNlSDlNlxrLKnqv8uYut3Z5LiZFRVIunZ72PYvPY9xyO85T+zOn+SKqQwAb6fNTtQAA37YrJ2
xU7y7uBwJj+jw2PdOEecqNWTJKRuzsXLaMQE8spDSwJoys1yJSOoZ3Xz5LcfpRXDwByyuwwyz+JU
xb4Xund4a1snfXWCItvOHeuc3YAHp8cqWBcZ18kAz1NdcJBvm2KDe+me2Pl7XKdMrezsRfXOXlr+
ngBPt65txqBK/UL9NC6FmWOCM7DzU/hC5nFc+wkHqZx2gdZv833k6bfI1h3J80keTd9ZB2Z4P3jD
JRf4z2K/fwPLb64YAhcHAmpQQgtNNpHKZQm4pH6j/aK9lfbnEDXdRYAjWHPupze4xsCXR7jKahVl
pyxR5msY88QE6StI3B9GoMuVnWQ7KqMAmAEBXxUtRuXERPcr8Hp0j5Yr35ggxtXSK2IsNPtgoVLL
ykSYo+bvK41ZDMPF9jpq8ZKHVwa9PL4myuwPObYIFhMDLWWcfDBZiJAY4HrAA/P4M7acr6ZqTsw8
iz1e131j+DtcieGmSSD5jabrb+cl+w6SEZu8bPEkeGttCu6BWXUsTZK5kbCXhZBAAbVQfjA8cG52
EG8nwMooH/bIXbufn6ZBgdl2wDubqjvGRb43lbgXYfXYdC7yRvZK09mvSajxXpGKpOtunMiyDYDv
LD8/OzZtopFnvk3Qj3bGwMOb0vZ0sCV/bVtUE72iFjNDz+l3XVVsbUZnlEcw+hvngGxP3twG3zky
ik1WuadbCNgOgiW2pLDL8J2AFliZi+5U4g5zSNHYkCZBMpJvwZUMn9eqG4iHuLRjgqzFYjQqtHmF
WvCBeR02tEMavcucR4DBH6NmiZ2dfm9YHR4ptz8C+C54o9dnJUIGscH4RpwadqVds1Sh1jGzOMjZ
O+cAWHYULbx1RQ4Wws/FmY7CcS3Vyclyg47EbA3n4BtSTLMapY8931EPAx4Uu3AUY8yHspP8k8JL
92V4S40YRKGXv6tmNFg3AScSbmQKlvfzRsGMsKf0WOgeiIZbPM/p/Dj3V1nGmDIsRUDWclAW+SyD
FAUnU01Rti7yWO6EJNw5UPJQS4/UUH6Zo1tQWE9xw+WoKq/RknTJ6Gj306eAc1TIJsc+i4YQTd8R
eS5tp7dI5/d+T/0z7IktpoJmN5gF9CpCmUn/bI6ME1uCnKaAuz+0zS9Oa0QMajQj04crzi33gbYg
EkOd+xZ0y0S8Hu8R6r+i1PjwAwBxjgFeTEgYkCloVjSJ6ujlXM6Nnh0MrzrMNdbVOGIRdXjoTaGi
a8cRCm1ivlRMTBih6O+IU1bhF+8JfI7RgMztTYjgZnUM6LTcpjWIgZCnXCAlcG9ZxdRHGY223jPP
v/ebZWzvx3cFIdtNoKqfdoEvwVa7Yu4fq5xJS4dy1oeUVc+6XVUGOFJOGquhNu7DanosSwDadaEi
bszdV+VOZB9mRQmunKtVPcU/x6L4ybVZWeWvgVPdCvDNHUkDd50CJdw4GkIyhd6ccP26O4OJ7QHM
mL/rrNzRsZZurfZz6JfqE4CqbEhwxs0kfsao+TA5BaFY8uBT9slXIdeMJV7i/ORLB3c+S2WcQF41
DeroIfoA08VTClSA3r9b1lhnmsc/FF7guszR0NwzyBnntWKy0csKo63tfpkZadsGHOlOTV247Yf4
29DzhSNUfURL40apMHklUcdVGd4NS46zKfCLtLRA3qcKKmgetY/2/Ez1Ac2DS5eriD4SYetTzo1e
JHG5bSoG2HALHwfNTDHJxUdvIgTQ5P4iyRxt3K4wzyNFi2Cid6QwvwdrvBumJ8PYdsR7GfRyDguB
KmLeqAF6VcN73wUvBadZ0AePZgMixGAC3mT4OmTPBLvKWm9bY69xvQTGIwSCOCXq0ZOM3PR98hnW
CrFlps5LlbjvBjVuphZUaTuUpzYKae1R6W9jwd+niK18s9nx/Eqv8absQDardQQdmj2AbnRsFyaO
gO2y1O8gFUAPwK2xFx3DDW3QqcRrFBIP50VeMRBx9h62mYYrymEumebYTY76OUbRzY248OTI8Bts
zjTXglE8WVMlV8JOWuLryKFFlRDqmgmqjQMw25xqjKDxf8cNuF3LNY6+Eq9RMvkPY14ST6NELGzf
cqIahxgLmsugYGebVJpKwhrYTJgOdrIsN6Ni+FUyYaSZtqU2j4cdLaG59GPxUQ/OCZOasy7z7lc8
fxjjOp/SH3UmH/0wRwYs1aqZO+AEBfalXmxyXZA2tuhDEJ1NEmrAMcHihnGOnIzJpCxlKd9PNcV6
fSRIDOPFvKNJbriWZteubbSdVa3S4S6DxbdzOoIEk5WfTTD5h8aqY86OljwHdUQJp+nB9+1p/AmN
fpdHotjW1XA3Ceu3FDp+1LmRHqIphVvp298NTl2aM6LuXiTV11yMwbG0eaLpPpAb0cdIcexmWEOM
vcFs8mgKckq+3+CeTQGUGY2TvbmOphS2ydp974qNMXbeW7Ew2KpqDQiOlufQAitreRmw/yWul5Xh
1hI+XvLxw48Yc7K2ppuUaowLnHJTequ8pZtDtmGHM6y4eLLM9tl9P9AP0tjqq0dzWQ0lBKEAzh2y
ET/yQl6SwKhYGJzRPdZ642JhiQqs0bX8aVKivXHiLDzAcHrzWMiUeFAkWKB74d6ztPla0QzbkTI4
cUeAujM+Kz7rWfFe9Xw/fBrHmJVku3pg98Pyl29dbG1sVhdurdOl9CPWXPEVjyvTGoHl4DUieVIk
6zCnx1kuLAQb9vJgU/thseDTYrAiRHIECHbLEgcGqiLEliQ1GIuxfuw7vE8OERmr/cFOY5675SDh
BxbwdLJ8tG9syjwf1n47Qt0ErluK+17HOUUyxXAgJvBg+fNymoxchn/FG1+siV4NnnRIYFVrg29Y
+uBP1pLFO0yjfxl5HOmVQXwz43o7Ovmd547To6A0uMq9rSNd7/Zk2zCFGUK+hi0pk6QGnG+2mx7T
y9pu02vtCyI7pTVA+uIGRcXumodnOzs22xlYb5o1rgyBgBGM+AaH4lGWXENqH0tGZQZwpDjzeFZE
cAFqnJ9w13XWOFCh3+X+nW9EtzoGSuFxx53m5IUChhBGA8Yhnf32aRpkJvCInk4gqjN3VkzQv1ea
RzcDC6cIImYKZTHrmQhJn7cZE7ZwXMWiq+mS1s/AeHiWBhPTiuvXAH2Cs9MwIUszteUqy7VGctW2
ajyCvYkjT6gzcTHr7Mv5czD7byBFLksdgCkYvL+8rlF7syahMjPtnDmdGC73PYiCz455Vawwm0xX
n000PlmzZjAXTvthcQ63ZnUDXQ2friQfRO2uOUOTIrHQb6XOgDCzsaQ9RDBZBT+6pDqzs94GQEDH
0qIImrkSePYx2BXWJ5jIm6YxCVedBThBJowG0x8JxzLVgJxqWR4wxrOuTCX5ZMaEYhjf68TfSM/+
+iO//YdE+f+RKF1Uu//y3/7r1/hvwXfxf0mUT5/Zz+hfJcrlD/wPidL6SwEu9TzPRBy0UQL/l0Qp
/+JXGaozGsUo4lje/5Yo9V8sImAcHElo3CNI8E8SpdR/CeXZrudqobQrLevfI1E6AP//D4nS9Pi7
HCE8h1iXbdnyXyXKdFYe1lKCOu2ggZfw1vDB5JxyJsZ9qAWG+/ABtzxTEwk8jBi5tbZmt2a1Bozm
YiGmQIMudFkzxB8efZcRYYVYv3PjN/yhjCTZgg1Fb7bdD7+NgMm4Qyi2x7k1MlTUe9eVv51EtUyI
Uo1hIrlzYUlsZwEwqAdOAfyL2BhbzHaWTAkHr/qRQF3baF1SkCK6b+iqGyLS2d2CBh+hyy4jF10/
KwsvQ4MDp6/MT6fA8GHPTM2148MHzZiVuMLBXnbTjnOz24FOkBTOSymRV0YRUYvQtJd6kmBR0DC2
NbPQ1Uzc2MZNCRiC0EqVqnZPFKR/QuAiHBuG34kk/WfYzTcK8zruXYtjOlcdtq0ICqwkkKEYXIb2
xLJYDfZ1ovd5PxZUqVA385NjZXhOhvCeOC5SiE1h99jPzoa4969QZHLdERi91gM3cBEwqwfXUsYm
tGFo743mz2ZpG90Mb7C4QDtUy1guxJT4EQFgDUstPMDJGA5oSOVKy0HfR3ijoRUSsy8+XdyxTOOK
VSjr8UcZ7OtwNr/KxATlXujg2i62GqhSp6Fz593cBl/BFOu7TjjU7JKBo8kS0wEYWEPnj7BgNLul
ccWdRc9VptVB7zXyHSFyTFO0+TGNNVIwSOqpXVSGXIh0n+oRLmkVFXu662ihjampzrxMnSxt7wI7
dsA0Gx2xjby+Cywfm5lTdByCtUnKhLmxC7iENuHuIv3kyFhqxzRN0zelqDAv3GBd9214y8LKuMs8
FL154iaVYte+ES7cz0kqbtr3voK2rPZ2sSQ8F4F08Px8a4c+Pnt8VWzD35CujuCbu8/ZmslkhGEL
MIu3Bleu+hh2iCFmVd73lTsAFEDs6b/TiaJgPB79fvb2MiKM2yRu9xx6WX7utEsTdnNPK9ZChMpo
34q4nBDAwvyKNSQwhit8t1fLE9lz07p3GLuiW1eF+bO6Sa7k64i84KHkdLPSqvFOTn6rTVqRnM4v
Icrrj7ga5kNZeS9JbDaXqS5+mY45AdFo8yMVMzTogNVmhj1UYO4i41RJr7oEeVXtENedx27A10Rr
R/RuJWzr5qvHEOHhz4eoQCWqLIG0lK5mh/R648UPTTjFD1MwmNcRds2fn2UWkOR1lpyyyKrvq+U3
/Pl1FRqHNunqu3/8Bs8OP0029dOfT4q2gFRaJ0QuWhymec0dXcaZTZ2fXa6HMVDnqgvT996njjz8
YQZzfIylCQDPBF5ZKmKoZnvBweXsxNyN+9QOnty2HK8JhQuqDL89s1GHHCPg+kcVZPjBJmluU1zA
EdNljBOaatEh308JGEw2b675k4W7Prj2qs92pDZdUvnqZpWSjOHg7EL8dKsuz78AgH3F3gJIV4Lu
yagg65BPLc2WoOJF8lz506dbk0pPnVfVM38w8UGZLSPecPSKA0YysNSorf7vcsjo04NHwRlNFKsM
yA6jYFqomFc4siUVwUUhGJYet5yhTwddHGfraWJ6uxIuQLqfed84hAVDeRy8aQNEA0mv7LzjJMS3
hv+1rXtLbLKY0Ud8DsUM4QRa9WYpA6EmuXSieOvP3gPqwWdiErhK7YZ2mxAQS/iawC0Ha+d8UyGR
b1M63QdTMFwmGw6vEsRCXVLswPtDV+2DOdLuY8yoEWaIdBrpZMfj6h6YAxDod0Y4VNO7b5mvQSFI
eKY9BosAskuiBZ2hxkc2Jd8JPYCbWLvEPJ3uvpqoL6Lugi9TGodOFXR2eFG7JYeadyYdMn71wcHN
Zs5F3C2n3sG0Q3sXadAdcY5bunQW+Tn3MF1Fw205TNJCY/wgls2MKndeZ+6rFNkPW9DitBIl8mGK
wbnaLVQpIkevrFzbPnffBlomsLvCqgBNH21Tm0vhKOmBZ/N7qrPO3ZkM71ozC641PB2M+4veQoxi
GIjZsMsGV8NLxhVujUsZkjoyJIjRvBueeyN8tRYn7BwSNFLEr6lRY2NUWY9XqCckBA0AaktFlksW
I/iSYCOj8YwZBHEmHF5j7xb0S/ETMDsGXhFAOSYqsqIVya7xbAZ6edJjSE1cvKg6qrCHtvJEzxwX
Iy9D77WnABes/yYD58JRpVsHczDS/Nms64FhYzuJfekYwcm7Z+bV7auSd1JB7dkaK4+zqTPW9IUb
hG3FCu89bimEuGDhjwH7Y4BrzIzdPYkgEyuN+ZopA7LUWNFUKO1dLPIjBBYbExUxb+aNx7ysL+TB
u33TUTarOutIqQu7wG6GEUVllIvo5jHGs3OKu92LPajLYMNGlP2SK4QAyVUlJvKhRH5uo74gkeL9
AGN/nkKc4UHUlZvemeaVwXpFdExeIgKkayMj79Za0qbApS+2g/iYCkMcA8siuRFxvXSoLNoYKQeh
SkJ/9estjWLs85OWRytElnUcyl4z/rmhYGjZIf2IhgtKFc/cDxLyAjnJYjqgrjXmU7bhLt1lCdOM
tFbmizsVv0RYPHW1Gndeje+BpNMKDKhEIGbnsju5aUOa3xiG3KulSKRxZh8LA0VQAa5zhASIJE6+
iqQD/9l21gmOrdekbBb6S8jkAZQDNvaTu8AdKGP9NhbcQwP3wYb/oIcHZ8FBWLGDpHyuFkyEQZmc
w8Rw47bMOb1xjE81E/WD7wpCzTCoEu6V3NrRd2woFMWCowjhUij4FN4CqsggVgSSrqDGPoExiM4u
SIsFbYGdlbT1gruwF/BFthAwFhSGCxNjWOAYLZQMkClLYzDgjByCRregNDg+hQtaw4KxAbWfSNCC
3QALTMx9QXFYMDmmBONvL1/YVPb1Au2g+X3MEFfJUrXYeZoooExzoXxU4D4GsB/Fwv+QgEDKhQjC
5L/foVY/J8BCOqAhDf9hhKZPan7ugIqohS7Ccsybq30jH10dlLkNFw4Jd9ZzU0vWofjT6TkBzExW
V/1CL0kWjglCRbdj0LnqF8ZJSFLm1C6tRG1HIqKro62iv+yCAR5iYkyb2eK0p3p5Ji9/zKaOEgeQ
KgK0CiwkyNE1Y8KGzE6PMtqMBPNEEQdHi0FZWM/2c9Ev27BgINOg+mE+H5tkeORQkj+H6IBdx3EW
g56xc5r4Li5swv3sk2gANSnxBgs68S/xiEkIuutG+i7EFFZrH0aDdGiq4p/eQQ6b7hVx0F3fMvKH
Vnk3UE9WYlR6/POh4D7PeaD9mBfuHmmspz8fDLOD5F2DTYfUSk6apfDWLB8kNIEVHpx+L+zmweZw
dhKBWtg5LMXsjFF4GDiy/+NH2IasW6LUfKe4bLiQeMI2QMWkQWUViTvcwzmseU54sU/Ovd85eNYQ
4pt5R+FR8+BGur3kdXEbJhf8TwTgBncJRsF8PHGUZ0IRsEfJRj92gadwv076FtQhRqGSU46rGYPR
OWFH+V3fgIACiQNLK+6tKzBWyERto+/S/PbnJ01OPtXX9rSPUYOuVKEEFpgjTPxM4gv7McnQPEKu
BDwJj24Jm9DCzhzYDJVa+1iPqJyYAnNuMOj0yNavHA3vvZCX3HKhOM0w3cBSeMFrQM11KtpwIzsV
Hh0MaU950rOnpPNJl+5dhlWFpOqs2IwBPZkyONrVq86m/DrISF0ju4JKn7OqyJonIElL9D6WLtg9
0XgXdJyAuSiFr3TrxJe8Ivbx56dWzb0gn2t3hzPsMismemQPDcf85nosDwybp2ssLHHkfbhV7Bie
F2bY2ci1Oap5LjUXu+L3WHgvXcNwZu2g5O7g2SICMyOoN3jO02PPvARpJS4PHABIqSVK32Ok4Z7Y
r7UOYt60Znv982Eah2Hf+3hAEo4CBvVG2IoJdxANjJvI2bmO064cW+hLaOPxFQWb5yhEf409DRSM
7/1I+121nN8pheqe89q4JX2rya/TppoLWianEih+kyGGlxGMViNhaoUH0qMahoy3Kq7hHPNSuPbw
UEt59VK2utCyu1UTzj8F5Zr4bbNvYqb+Q+XQCGw7Zks5GN/kAUQNVQXWY+5w3FdR/eoblJNCtQ0f
sPW0RywI5X8n7Mx6I1W6LPqLkBgDeE0gZ89j+QWV7TLzFEwBv74X9al1u69a6her7LKrnCREnDhn
77XpDNKcFSPlcLU66WNb1db91Dxz9v5W2VXMMMa0ujqWKZWANQ0y0ue+eawccZ3gJd8YG9it9Tta
ikNKV5TP6tTmf+N+ywoCF7bLG6Rat+wH7hJ0BCMa5LZgkaqz7KwBy31IhS8DHM1pJLAPN3nDzVHY
yXkRoJhwXZE0QLi044HDzIpr2yMcTdL3EW4OilzuM5xbzcXSj53HSCAFzbkDuZhGQNjA9wDcxkaH
zL3xcXQ53a/RMQvSPoALp2SsEeNwwgJwW7KVIKTBouXbuIoyYjmBAZXILMaDUbRxsCgkhXVLU1i5
3rVLJ/K/eTk1R0LYKSkwJJCQkTMlN6LKyz0CsyXoqIaaToLpYRijVlrc3vDhe9UFdsBLyfz0jLoc
2jCSETy4DkuwWV7qjJmXiJ0XQiI/qt64ZL7KjnM2/Y4XRAPEM2BI4z3cKTvBmWF+urPD+meMXzRt
LgzNYcOwkY+pkZ8JH7N50et70o39IU9grhBUL5MB9boU6hFbeTk5GvPC6aVCTOKb3ruUzL5k+ZMS
DQGlngQMEjcWxP9DcTKT/vWZ98Zilcx/2/MIFIBRZscEV92RTkCgWeLT9/GQBbcA5jC2o8JSicdk
uXPhdZjFpe1PDgsxcvan1aRhzIrM7EjD7YQ9O4JyCPclARsAFl7NjXyHGj9vXua1/s2wYqFbTR24
4ZxMwuQiPa+cHc/6TabsOvTTGIWRutV1NFNMJDC+KySmU8eJfBAmrgMXWJSLtwblpvRLKiujBNUp
7oQaMsQ1CfVn333Y1pyFY0fLuV2Ec5SdtbW7k7AczD92lT5bhsIZsLHHnZVzjNF+Oak6Li1OW91L
nuPKPQkH3lqTuwDE06a9LAMKL1Kox65Hgg+fee+ZZAKW7UKSL0a/1PV5GxTsI9O7HzNQUHOLVZAi
Qx1WL6W05kyMGpd0QXLLI8RqtyqZvyFxcgWt/tc0rD+Vrx77M/1ksCG2YQSTNT/6AjjdGANrdObq
2FXYZfCRp/frGIu7On5xyoKAtQHv+bhkUWLM+9XXJRgu75dvj/YpYas8lJP96sn2ZUUywgFTfMT2
Mu90S21A1TfWg+7k6HVEiedTknEKsqkVGIvnlneFs0lE+mjcLBo32pa6EnR2em8S46wXBVSm1QQU
jEutGWxzD03lxUn0hGJnPuJl/cZwWRxiy0XE2DxZ4N4PdcoHrrC585Kj0bdbGK2yDkSZvhcJMxa5
zZ2qhtE83bmwoMI9JqCSxPwiikQ/ORI/H7vyMaN0Q461lHsgMA92bkEJpS8+GQwPOb/fYJr/LhqG
89Y64eaaAHe3yS9wY9p+tA7kqhln30oueTl8dAvWf4ZrNyOZ1b35aVEy6hR05BPo7+WY3Cn0Gewt
41Zj4nPgdAmIsDKeiBKhE+hooZ6/2og79g6FNU/bEWIWLagYjquy/fN/PpTMUpCiwF6a6huasxv1
xywpIegzpFoJwx6GNXp43zqlRHw3S5HfNiMvgGNSZAn1eyF07bDUYMPE0HH/kzi8rPbnJOc3idiO
ZID5LtbgfLr9TIYxOrD9NkVeRO4Eml/+YihJVnfFkXNg2Zny/Df1ebEycJVDHwyr+BqUjOiNyVvT
yb5lk+67eJ32tr4+N16HT7or16PQr/rcPYyOtZzSelMPZND8EKVlsRm2JvxLYx5+Okwcks391q7e
OI0fbRfhK94oGON5+bylfiS6CNtYnImt4PhqM24145iyPNGte8SZn3Xm3I7m+MfX3d+qTytWH4SI
cUzQr9Tpl1lZqrOEV+8S8wAyOmp/EnWf0Wgpfd0uq3a1MiYo+HAcWiaOJCEXUuGLiSAXHA46UMuN
j5pTPYjCfPRbu2Aa32xm42qKpvikZiahBN0aN6MhEBXJPkwMZA+zXF6GHDeCMcfPhu9+oq47pTh3
CFmYXxKb2VuyMmlcTBqltEFfdOsXGvof3uzHBSQAGxnE6hXHdC2KBcGsuoFCjzQ1hj6X8hQqnV80
VfVZQPu20OAWteaHNsy3sG8zlF7aQI+Tmq8t0zM+suw81gMEpozHOu+wKefpoaivvoXgCfpJvosN
Bvzo2WkPKwM7T460ZZEZRh1FQwCr+160Xh62GMWDWouvnlmn+7FFPqoZ8CH7srjRl2G9lJj0d9rs
dodyKQg4IkuyptXflLN1YkfEkK4/ipLqAckaLYfB/02s4QvHuxoAjMzJDMkio+gQRHVnb3UAiLv4
lfDb3JbNJlxtNXvnDJyyLXKZy87B7tSpz75AELdIiVfcjQqzl0c8pgCz/VfnU2YYJ6UdI2GV17yB
9pngCo4AFs+BYdMP1ttLA3joAY7YH+Eay4342eJUgRRO+6RCSOQ7+bG1yHeaLR5/uu2bNJL+7Qzt
xBEfC7P0fc3swS1bcUfgBrAh0qyczubwZidooHJhhUMnLgQeemEltB+rZ3eu97aHy1baxCZpLs0f
w2pCKWLrDezEIseOatq8g1vMJEELraK4wy5ac8qFg+xsuh2OG21oSM7BK5vpgELvTusEBlA1MzE3
P0TdFGfaidpZII4m0s/UWhyqyv8pmlgPE52As0bhdKq6F5/G3s4pteI4sW6yZT3E1HQ2df3syQcy
oX5XlfvV0XOJ5pmxrLk5kfTn1dX1PffpTax71pGUITqgCCfPGtAUeAKIJ7b7VwHMRrSyHxvrFyKy
hhH/NovXfViDBDl3mpaHnrK+CajbrW25ho3NO+RekpEpyZSKr2aAr7b28i53aLUZa5OewPpxAjQ3
uVsDKLx8K2rmxLK1HgAAf+TGxVzinSPSr6Vwf+d1r99oifrFWG5mkZZ0CJv5u3d5Vl2Ua+tKW54T
kTGnx6bGLNlkLCGGTkTT3HhhqtNb9CgZKR2tnIM2eVLcRj59pApVrtQ4Cuf+Rzsu94NrDkgzaNuV
/mvsbPyyFbTnFFmzLx668mxhpOUhgO3AtM/drzN6mBzwKP4eTsML3R1kxw/M3DEDeeW3y710tcUl
G1CsCmVEhGY/Wpme3qBXJvFCSw+UjScXz9AOfgtTIe89kVPF9gdhXsH+mkyHg3T7WVtwElunQR/Q
6g8VjGjU/PtihGc/xjGmHOdJ6KW6rxf7l5kjUoAt8mKMeYM/INMPruYGRUkvxcac7RlOSiOW6Fwj
sSIGesz8M+KknIoGJOnDtydSQ7hT5+4YL8uj2fTFGQp/SMSzvCB9ZaonPks84RRrCkYF8RaGfMsh
f5+Wsq/3bZE9t2uhBfCsP0BRvk0l4I1RV29tTq+XJhVWXo388uxtgrVz1YcpjRqq4mpOUVeU+e1g
26yCokjBVeFEmkSxr8FRBa086UmRInw0nxC3XLLVnh5ILUBf86x3lX9scwrXhWjtfW2Gfhfrl7rn
CKe79kNv5glmi+Wpn40S0crOhW6zm6fUCLy0BN6MD3FBicqbGleHHrFKnss5yB3jMzWoIJLa3OU4
+krUlLvVXBQa0eloOqAmOQei5aVD7XOC1f3+RZn93dTOn/bIDT8OnN8aHaYtx0lUCi5iHKQyMMhQ
IdL5fzaSKrv1B++GzgsN/BUkxUK+DdACTA0l6oUeRnSd+y/VADo5F+tdO49nx+rRsxhujiJhhQII
VCI0yQhz9c48QcWEuGI+tD1JrZ1tM58cceqnG0XHEf279JRzs3bGye3Hfa8T0KIoZWqmM/tS0clU
/dMUr69lUmB+TJG7Ikh4ThJ1x/aCfsOdOPtp5CWS4ANeZxspFkHcWDW9w94/9m59HAbI0vo0D/sC
Gl2UuVeIgvYDRCg8xiT1+lpvHxhDgYaTEyxRh2CWJdM/2pS4UjXOgc9XIsJtaecV2sUW6zsbh6cV
2hl1784TZvsqivlMfKUG9RNMTmsh8nHbt7QGX7VMbhbCx6LHokGHgMri4bsz9cx/IglwT4scL6Bs
f2Ibi7AJsDac3dQNqfDuWAfaJOkwHVtIqnlmMpVOqNFnecjQ2KDtYW4yVTS+/Xnl/OQ8GcB6XyfV
f8RTf62MunmrHRJH5l+0stK9w2Xdt3Fi7hezvHZgXoNqPoMzWP+Ow3jsyHlIIuAJHFHrFRqj1j9y
BGjQ/9vNQ2z2Ad5GNu6OvULXnLsGks6DWjXj3LGBNT4pU1b6RHT0qzEO4jDjy0Uzx+pdstg7o3Yn
oC9B9RLaLmVBjxJGMJN0XtkG610aW5gniMv1QRmzobQ/5uC7B2/U73NasnSHBgK/uwo2R6NdklbQ
9GGcvPaESk1VfacDBt1ilKy6Sy6CzHdZQH/rDEvQrJp3qhTfvoEeGUYxt/ItJhaCspolJgUjfyGF
NCILqnurBk7qgALB6bXmTWIPd/0G75sW+Vy0hiTCkhWVtxoZY6fwmgBWcTzXi7JufQJ28bJKjupa
SgYrjSsHXRBMwFbaD1V8FI3/KLmZaAx2P6X9jpZ1oBtP9jEpHFVBy4RQQSCwnaPjpsaqrmsdgXTF
l8zQvo8aiQiEQsToPNFYdYU3hKmbxYBvM6ojL592AJbO5ur8ZIV5U+oGhBOEI6GxGRbHRtx3PVn1
ZJUM5LeykX16fglTbWoZ/5HGEJWNdqs7XK1J6y+CJBliyju8xYssD4D/N6zKsCuH57QB7B+v1cnC
VEuuxXifLNW71hPkZlicubrQItn+zRGPjO/3ac+CP9guEDOf0sAQ2U2Xu7ioueBF3vj4ADQmpKr7
043extMb0K1RHms0E1Sm/VEQ66JFY4Zdj4O3Azfh7emEzJdm1Cbe5gMiNBKVEuaW4+uyondYh+wA
gebVb+gQMeutLs1S7TGEvhfW/Jw1JUljDTee0odyZ33qJX6D3gUJu/UkVpHLfeJNjxbuHgKqLI8i
5txvVL8cXcLRoIVq98K+NwmHRxwNxHFucaTohU7Ew9+MphOjTeIsa55N2oQ40NWVxJP67Nq/x3QB
2GrTFu55LTgYvn0vPyG0V8yN1wubvtjRhgJnN+nFpV8JdLH9GkKo7t7jg2A21N1yemYkNxb53uD3
gA7Wfi/4uAPRfsBJ2XDDIPc9stUqn170NG2ZJt2p681n3WiKjX3RHFPBgzMD5TqlwhZ33AdQodMf
zNu83GklvgO6G4VdPj4U7YvGc1p5p3gS6BSa5Teviq/z0CElraojgRzLwTK0A1AnVmdIoRpGv8IK
dAvQJAkTjFnz8t5rfUhGna4OiWc9AD30w0XTWOr9RTsjFIf2Sh9e82lGGEnNbBiU2kIAqOwzI2xm
gDR6Smy8BeknUeqrSmroN8LOyXryl2Nnpnmoz6fJmt6SDiI5cH80xzYLKHl5DtR5S47ZYdS3kFlL
/gIORiVTkL5eeukx78Qhke4do2TzBMbvFi+GewLT8VvVvMspJKF+IZjKiM1nzcjvVnXVuk4GuSm8
fV2jrtXsE/hXM0Lb10BaiWPVA7n04dEldykQvsOCkggz8sImRHegHKqbes2ei2mJYWBwZqyqVVxj
H7uO2d1PizU8AntrMH1UcHmR7YddrbI9wlDzoGx4gvTOXCqZ1Yuox+Dzrr/7HvngqC9PeZVwnClb
jf68rUckjtnEZfb4qz2C5OdN8yAdMJR0LyNV0FUqtImZbLyDgnbbWea1oZO0Gy7DZN/2foviGm8W
Kd0pPm9i5Rsatxgzynv8fCWaWeLde5ogtB3BWVuDDpkMjQS5oYlPrjRsM5NYk7B3msfVpMojOxJw
bxOqhYAjx9k4JuQ4oHMwMHCAVKfXGQ2mBLDZZcDHKD/IDIjPWmN+eWNNrqy1tzD6PgzzvrFrB4UI
/yBQOIUjf0JbjCnPzd06gO/zrSwYCkoWR3M17zesI9ZHxrlWKX8rJnlIqPTbtgM+PxGlp/fdYYJh
F1QxTFFtgwaPc3506ekfCSJpOY46CFNL42npuBYVEGKcWRFUGJ5Sm1az5xZ+qLslevL+ddWre+mj
SiOw9egPxkEzQXj0OcDFFWeBThaslS13dsZ4rCqfkNHvfXewKCC8g+zBFLjQtZlAc8Dg3Dti20jH
Fcu8gYkp6R5mNEM+8qwXs60f7cbrI9nXVYRKNGRQ8RojowmIa57HxkBOj9HE6M2PuQaEsqmS6chm
kZn7ANDEbVV0XYjyl3gh9yQt12XqvFlbncYJ7WF5Z6cBBtndoltvHrRlvpoD1ei6MB/ICZ9mwCgu
WoqnckKYzcCvJ/bDm2gdp8UTghRSovyNHl5B4Fkt9VRznpr6lU5lk90vdUc/Gn1D0sXFV+9CsGX3
356GEbFuJbDDjjhczLoXIRv23naNaseAqrpvios/mD7/uBzv17V8NWaJ5l/o3kVfLVY/XB4bkZ9h
WDOEWcuSkFc8kCqT8nNeihub6OtXe43FgehdAXVu6R7WuvpN6x6tSf7490MNdsnFD773rBbgNtGf
51m1eCDSwr3G9uBe//7p74ekI8vS3SJd/vUX//r07zfb1pfl0f7858f//ulf39pWHsG1XKTwX3/x
r29GEzWc5dpH/3xb4vz3L/fP1/7+1AR9BhUzQ5Z//cW//s14KoaDMYy//69vs2brf770IpNngtGH
0//1vf98DeR1jGWAY9A/X/v7v/7rv/776VUtMyvi/77G//rGxudgiqQg/n+uD/nisLi04vzPz/9z
ff75Wm32D76JVGAYnOtsgg6UGVxVzAZ8vsSDdYr79j9/WxSWc/37dVMxOCX0SnYB5349RJEmIliL
AEQ9K30ZRCbDYTCS499PF05Spo1QRRs75DJT44etV1ZXRFhREVvxT5w9Lkhl0U7V78QetkeU4MV+
ml+wwZX3GOSqQypc52K103qekcTYa+FFpMak75pOmKKzFp+yIWowJ/3xJvVK63aIcQQXC0KqpNNe
XDArO0UdfevkZv2Uxwg/HXw2hsIV6S5rf6FzAnqO3hqiKfGacoYK24V2aSHnlmN5zvC06S+2eiIO
N/nOGYbodXOdXbO4a2w6eXT+jqChT60pP9yYZElWdS9e5iAzPjWa4hc3aVJKb6cjwHo9dLqVnVYz
E69HZ6AfRE/oaE/s9SxrW2enHAl6DtB3djs/H8xgEM1Mj8J8VC6xSgkcOrqW267YQQmohm9qH+uU
d9QESG8C1SK9UKn2Dg7oazUIppaQxalxU0Ks6C1iZqhPzGfQoOaM1iuQxgQsp8Ctibefp0+tkxeQ
RxUM14NcESNvRbC0s9AfCX3RHYfmkA7OT4zxmTHBEsjMpOMmtWB0SRS2xMnGmTVMpg+PTidXlKEg
D7UUWc8ZESrmUAcN+WzsnGO6T/WHdC2ZJ+UbmHoL1/CeCbDBh4AoYaW9QbsUXd5XDkklyG1wnHI0
Il2xB7uxMx47CvWoQ1zAnk5RMs3iokjI5j3TI6RoK+7DOQn7nBZ3P/fvlhi5eJL5wbL0eigJbwnM
EWwhc+/In/33NmYdTnqwMF1NW+8zs8z8koiaw1V6drTsZFruKWNm4EGb3U10Xc+UZXgvKd6hzNJ5
OqaDfdRM4wPVByB74mHpHaF3Wt0mHLWHLleMfIQ4Dey3exzGLE3ibamG5sbVEFhmzjSH4yDvFxcl
yLi4zB5wuuyAtmqwUEu4u+zqOQaXnp2OTSYYSpIDjXh9z0rzgAdIHjS7fJ6QBXFQPKIHL3eIgP4s
7abfyJC1pa3Wh6nvwceaZROJZJgv/nxXaF19tgzzucYxwY410J7w7T3Ga7IrcIWViXGkFt/59YS1
uMMDPvZoIIuMwAjQmNy4CLXqBuxVreA0LBqAi2JFazVQMrb1V4v554Rz9HFteT0gmsJiNckCDPWy
ZmdVwOxiXhaUCTvqM9BQwsYexzASPFFD3cpMlgBE66ErJg0iGB7EevoB/aYCyjwUFJ2BO0kHvWhq
PDIgvlReOsGI3WufleCYKu3ZmsEmJ5Dk95nOKQ321rPRGsi5GuO2z8GfexKaJwob4os1+mB5Mfv7
pecJSBryc/Bz3bejdsu9XQMt6I7DTH4vhIU3fWUK7vntLSD2GYMyRQ+h9F00jl3MDYbJvLIjm1mU
2zoAPaz8cyClYNJmSbdMMWTn6CpoC3bJ+q7ltEvclPrLE/KRYDySglPOjpbehXNimsGhMyh/JgRV
AIXyz3GUX25FOLBh8XRDMsNvj0uW9Ybel8+Yflnw6NXuu4ssY5cxBzquTM0x4qHPn7L1axwH/UAK
PaCpm7H0o04guJ08F4ca3KdLXDwKBZBppFcT0uoTQZHc+0xSiYe11+Nk29/TMPzCD7TDqKWRgKRM
VhoVjr50DsuQncoJgLooVRM52Y2OPPqE+vQVV9wbzI0Qq6u1J6r9dbamLw6LX+UE9Rwd1a4kAwmQ
FQ1R0vBab06DDGqXlZMoLNToRY24o/xmQLgSX11rhKs7xXSyBTY9Ai3Dwpq0A1oHzNYWtT9gvRE6
WvD3LmtmbHKx0MB+Nf2f7VcZRf1my/XDALyyCRpomxqMlXFSq6J7BKaUnWU5L/SSkdWtrfXVbZQ+
L4ufcEM2dFA88pAz4tkfgVU0kZmMT7W2NU1b+p0D+Zp17HyMzqcq/yT6/Knp6OiNkuURWVJmeEFm
VfSHyZrgAM097w5oQ6E+Q5TNkijGTzp0OfnllvFGnjceKm9DciXIfKZW0kLL0VGnA21ukT9Pfvo4
CYF4FRa0SxwTE+j+fjLU61JUNJjA2zINvWH0kr4XHYIbQhVdk9BIpyFumFCH2BUQd1M1Hlqx+Ltu
LZ+sJkEiZJhvfcaJgbCLfLC+3Fl+9BrYiqrBNJComMwOtJZMh5/bmmmLW5DBXo7eF/M1+kuOOE5b
bwpoXVuhP0DmAGMYqkNKQnBgWGMbBXnBtfAddZGVn0QAsk6SRY/orDHqeutFN7ZEdfa40EREWtKj
5zOHEkPvf0zZmhGz7/JqN2dF5MEKS+iSIfrasWJfi4T0GEOdaQKDvZtw3qvJO3Req3C3ciY0uZae
JmnQ+A1UQOfJw1jBxKUtTnLlpNVtjcm8+cPpgpO3RDIGwyZ0U/+mTPs0GogXi1Sshb1GZp+75Plh
cOsXY568Y5HbV7/pDlk/gz0dkeQhRKXriJzWa0lWhmuEU+1UkxpqtRnSCOBqQdG0kdQ997AuQxUU
LYnyPOGhbnEOJ/z5mNAwGlLbv89Fs2fiDkkDNNFVcTLjrLbiQGIkh0eC93d0gknYd8gbOdIXEBq8
LH3RstdhiQuWu5R1eYbUAHxwDTV4iruyLbQbfOwj3sX4wytTi2QBjXlaS/s5meyr1SO/7nMX9Uys
fTeO/tmVZnyhfIfPYDoFojqsgxz6oA2+NDJ7sErnY1vjV7onkNMT7Yg0CzrncAvW94mpyhRIy0Ms
2TPxziQdDuKUePTiJsIwyzRNg+lqYlu3pfuqzQwC2slcdlpnXjMTmVE33iao4AMrF+HEYC1wCkhA
A3uMDUK+opobnOLgiESn5thsyO3wWgO8CEEaZPJiy6oMlhintioVbc6J/hdlNmCScTh19XxbxDjs
F+XhxO7eSosDvoI9N+UVPoJ13JYWfgk4o0f8GuS6CwgwZferqgxv103O16q3717SIslJFliOpyph
UNLIbmPwHhsHUfucGr+5JVDTuQ/kwqs3qhfmvz7KwjJZvnMmdLTt/OU5R+neQvkNZTfgr0/1k+Jg
COeb993Uqica35GWkzQFPgZoks4oshbdrcLRfAH5QJ4uY3B0VyChaT9pcbsDtYQ9Z+D9aFq6s1Xy
rjczOuvCBJil6CqUbUQ8vIxICWePEvPG20H2ciqfUtFzy6yArvPR/GNO9j1CG2hGJrACCeAF292v
gRa/toop0J3ep6/rJgfi7NC79Dkun4M2+bcIATWieACj+w+ZmN6blZDCCZL+Tgx0n30yHVUfYxbd
dDKLVsVB59v3l4FkDlKfAGtX44/pqntNru5Vt+zm6A4DrmxnvCOFMTmY5XThjdHgGx0WJ5H3tBqR
wJuRcFM7yuRjXmPdZTqlH1KVMVArtXCVdJDwEtk7+uvQJTN9R5umC2pK7aCYfrcbHt9IxKtZiHsL
E8QGygxW0qiiOi9+MbTY+IWEVTBVhKL9RKk+ndLKMYCQsXDYcmjOhefjC5TFnYX+9wymvTn//ZPZ
pt7JY3i9fdnSxG0yeNbexc0N7MTIoS3kND2tPsX6z/DTp3JzSo+zxNik9GuZ+EaAEOcjO0k02A29
iTqjUplN95jW9NcMszv//WC2GsFXhHIAjA8oY8mZm3bWaP5g/W33ddeGSxJvbRNiDR3XIbqmL7uz
TW1zNpZFRsSH/NFKKSDU+B9FP+s0v5aHPEM+XGY0g70Fgc/2I22hE0q4fchLuEGmYFo9oNs9G477
YujzgoWf2IsmcfMoJ8UoXPndqaldWlDDCnOkQHaeJvEdd8awtWk4h2wXx48bdVw1LCgcSJag3tiL
9IkQJTcspPCO9HProiPPPPOL/B6y9AjsGUpaKwvU9G3GeJZQMuEPyOw0GBX9WY859uA5WRjDDaOR
iCYzbzAxx64P09pgMkOuMtWDT6q6il0NJRttIZQ6n2qmEQ49TKA0njFSz5zntsQrUt2IYItj1jGH
aie07BmFSS9oHjkkCpk47ArEJ7ngCFyiYU+z8iuvGNYOhvjS/QHmw4TpBKZKlEzTk29M6DzFAujB
ZoFFSHUylWIqQentjUdsogNDphPUkavOxl/5rIlJmYNO7ZNjRjKBk8ov00rBiGdfCBA1Cl35VqdW
gF1Tp06Fm88m9kpEXbjM+Xt1GiwNIn7VU5HUNtmn7Or++E3oRnayte+Re40sMXSTWQfAy4OEgbS9
CfOBTX70sDf5eBk2RnrTAHkvmLpHeAAJVMpXBxYa1LKG/r3u3ywd9Hi/HpAYOXhw7Ni6i0msD3Tu
lKDHwcmc2N9Z6IwhCT/OSw1zSqmenPAKyhFN9GZh28kGnIAjD/S4Vq81rJ9+dfud1yzA3Zky6kOO
NGgsn9PE/urNq526ILh5nZOLy4JoREhB1M5CAM/Sx/JJ89xXo10pLagHif5+ReJP3LYFWmiGQG4O
1pE58GtsTNpOAzWDEC27QYuU2NDePKSGBRLCOoXGtk4ItRyiPJaOV9dKK5INakYW0xmuVIkHNkWe
b7jl3nHHPyMC49CY80Ou9S0YvjaO4PlzTJwkIeJjFyzDcjMdy8XKI9fUv5ISFrERN8VppcJrSvM5
QYfybNCobRXE8Ua/EY5wWcqZa9T9fCYEsSblkJcpQLcNBmmdgGk4twL36f19rkoXwd1Kw7o2slDs
vG6r8FT5OIC6Z9ewufoGG+UIB6QEg0O3IiO0LNGi1gO2Y5rrTdL1J4wAXKXFc3ZthXNTXB13eFPm
zJQJWprVgTE3RvqQPjLQaRt32i0Q0pzb0lh884zSqDXEFFUSLG5MiwwGb31Kygt2f5eZi9scKHlQ
C1Fz7Ym54UYyaLesPYwZybEH0TMwkTZ9nXRZXRvtsWyUAxssv/ae/IPa6MkVxKevyw8Dsh6hAadL
wiSlWX6gg2fOlDkfrQ1xIIFER/tFvDOhw6OoMwUZJjA3PQCwALD+nekTyF55WwPIq5CiyCK0M1hV
QvpB3tNj4SJhOaiGJVidBoUvsCsNf242Es2Fces4pnV8aNV66I32LvXxOuXesByTJibo3gY7TRcu
BFXFRMwK/I5TT15WWOiY9nLjh1bMomM0zS/M5z0y0cE9aeo61fSJN6kr+wfXVG1o9ny/FKMfEQ/M
BJTCngW32ivx4VqMb5OGebstOARbXvvdk4O4CAoqUZAIVDSIHhsBMKovmJlAQomxEVKJ9nWAcI/p
QYeer7YfR5N8gNGn1LUN5Hir0kj8TXuYlHCf0rQAH43alQnGxUOTtxusHHo8pV8Daps4JoW5rxG0
EDkl3I0i9fctDZBTi4xqlP4R6tlptTTSiEgPCpYKIQrnpCVMlA2l16EINefsTzLH9cGebIJoxlXS
dercm75GQd96DPyFhKLvrQWgEaPEEugjvnClEXrCYVsznwwmHL7cOC7rIg4U7Ep5xnngYqrcZmiC
36tA3E/N1egwOJe7tKj8oN+kwvK+nP0fKrq70WKpiOvJDhL247NtFiDPjP6TgEDkLp33oo2Nfu+b
2mM6XFpqtEDLBbpXcitDUxne0TDV++a4zsYJ8ySbtJZwXXxfpoTQ1++Obd3kyYS2ObNO2tx/dOzb
L/R10nAe9JWw7Zkx7VCGTElDNIjeydHaV69WmOc6jXjHVT2VOmYcXSsjnRIqwutzT0rZexyvx0a9
CWnrJ5eZEyUHB23qU/Ycgk8VyhS9YQeV9THmnb91iNzKWSqDybdWomGan2LA5A/B8ZHWxcxjxNkP
V6gTZsPJskdW9+ne9+y7okWWoVXkTLD6OdHqxdeyoomIfaopM3FEkHXEoIm1tLgbuhRlX5Ufp6Xj
MUhANxHe2pH3t1aHoUMFlyBy9xXreDMYv5xMAvAi3tPjHx7o7Z360X3C2n87KrZC3dMZeesLymp7
DqaMfYgfQI8ISM7N0qtJAOWS2wckUQRE6m8zauRgpIgBVimjjiD2HZSW/DoTfr5TbUtXV2mfsUBB
qQlm8XRsHmlZ8lttwQZc88ieuq+xdY7jiArUMo1708KDHCdsuBKp045yLD84PV1uHznxWJjfLUwT
pAkmJkSbSmPBvAoYv1cHDMtUksJGpEXdhoonTkLaDFfwnkYg1frta3S0U19hiZySlryj5aYDyZd7
ZHmDMrC82zzriqgAzh1kufW9vWUjDFdyJzhYwQfAMz5kj4I8APO/2DuT3siVLEv/lUKumwma0Tgt
cuPzqClCUoQ2hBSSOI/G+dfXR0UmIvHQ1VWN3vbiBeQaXP5cpNm1e8/5jlTGNqjY3GMLpVGaITRH
Vou296lBQ92Qjb1NQkKZYfxcu1wWa9ttzM1+ihsU5GKSBw4s4SZ8gZ8zPTRcousM4eoUNfFN5nEl
VUXrY79Qj0KRABLqWZxGK38uC7joXpPQyYC1iQ0qOadjtsDr3mWX8/9RT++Zw/uWegO3vO9xiBTD
69y6e5KcvV2H7FMho04zxN2YM1/JnCFyaqZPZteet4j4SL13aRXrelGLRKhQZ4d2oLv1e85zUeWQ
PYYWiKEEXmiP+Dx6UVx09O2tnRR2sm4RV4rSmHFE+80+acy3oR9Iaa2gwRrGdJvX9bhPeUfXEoU3
B2jWa/B2HpzJ21kH+XVw/Z3nYwDFxNkgaCMRpd4TXUTsCirLXV5mcADJIUdbcpJLwf/1D8Hg/3o4
0cBEcn2k0bEkcc6vcz7iGojEG3/25LaNhd7HI6X7NHcE5kpIpNSPnPhpEWbEvPRO91EIbj81uq+2
EdzYYRocSm6rNRo/9BZsKh5HCiQ3O/IwvF1YLJ64fdi3OSMLYnpCgw6p09iHOQu/LDUluQAdhdwg
z343oCVwIgQpiXHXOsOFcLV3Wsy3bgpKSg3qpTGba6m8YTWQlroJpgAuwauWNPjMQJMe1HWM+dHD
eK1BNvkUrcQgH+rKeO6l46OGMIqt6TSXKWSKbeYRi/HYnRykOLOdGNuezZJM2/BYInTaZPiSuLav
2hYbt7KsDREAROcZ4gNuLH/XLK2X5sorcXZQ65xrNKpfopl+xv78ONphsFNJdkk8vFtxTxg7iZEk
vKhllwpQExvCISIX1gWJhVsZJKSERJ4DnBCdhqQ7NLfTsYiqCGs0hvAYtWBpgk8xgK6x+zzNLhUY
+DLppUfwM2QqdLHGBFLfK9Mm/0sjMB7koy407WmZfu/81yLNYlAgCHVSmu5M7p1tziGRjIvqKSLi
ZJ229rzhpjq58uS5eGX6EcgLPt9L7uidjGAkql+uQopZd0aJmPa7EdBuyr2Bcl55y7Rgw5Cd+Vhh
kEekqfTJejJWegAq10RorOlHrQZ7pENhVDtZoI8uuqOvOCHl8EISQ9rMh5cA0sq/H5G5b9uwZ65C
ez3qUB56BHjsQZ1wVsPMPc+Yj4YCZhzjZ7Nm5ISNdUTr6erln3PST+6mkHlFAQ/IayR3ehOxXqwN
Vd1FpP2dwsbf0SzLbiJdH+xF2kpwycmRGANIuTlIpzEObhE+ty0O1o752M7ph+dKQa0zXwuLFR6P
mcdeex+VEmVuSizA4oHPWNDz6mUiTfbcGNbPOG/Nk+4H++DFU7oeswLKLI0JJy2uSS/TbUGveCDO
BBP+ogp70MbQHTFdXEIjnKhWSfiJVRue2dTDs2EV8B974YKJdNzTiDFJ6KQ7VXNGKEOh97npnCeP
JFlGLaT8EVssTFyUtZR7OJNMF3EWxWTqMmxbNWMdnyJz4tBLqgAs2j1gMO7maQr3YYH1JjNcFzLv
QPhdCW6MOwgh5hAfU9t+sGxSn3XFgbwb0SLH/bAcD8cf7MePBOrc5xLB4xyeBpQ51L8xLk6rumAL
sbeXUBLmGnXxTk3GXWG92EaeHWvX53rnFFaXBM0DcHpsCho0fubFG4WyaQ1xhqWWAmS5wzEGwmDx
JGZzgSljxJJEYCLgZW8RXHTOe+Jlj6mvSnRhwQqAqHWvw3UQM82K5QB3Jnwz0TQNyYC5rB6e85H7
ovSyLTNA0MUk86zqajhabfWMNuqTpLvi2ATfBHlY63ZMVyIg3DaoOEP7lhUu7jn/SsaF6cp7tMrY
ihTGX3OkqWZ2YNV9a8q3MPjyad9ihUTcWUDXpP5ihh7vYXyuXE1EHaFHFXwgVoa6coytNdElnbBR
FpY4Jh4NgnC0DnZIqFwzDdeucm4kfz9GiT6wz5JKyO7RmhV+za8dmfTZU3xKC7xK+Zjc6izkRNaG
KEmIdx8dG9H8nG6YEVswHGjCZIXEo84akyeIBgslyXZfpFoe5aZZZNATx1/T4hElFJgZODPJuEwZ
jFYoZ4wwencVlAu8URt8ss06jclAYckp1jl9ZQFVqW5C4mublzG360MMyaYw8Gp36fTYT/LHFMSn
3A0d9kT/R2sRcD1MNenQKru2wZifYfrgrUCkKCZGnC32qRX2wJ8Y5g5ZmbaHsvevGFrgt3G7rGFR
bUw7IV+YY6Yhqj0lRo6XLCeuuMdhkBRw9LVrA5nbJwwYqTuprcikOrcj+WWkJq16RzIFGuYJPpf/
Sk+S6x3Pdz16zwhAHbAcjAYj6xJXlxYd82aInU0bcwlN7FxGoOHDUf+PNktnLfsXQF0PySS3RVnc
BIJjAn2om9Q8OEG6sA5ZNnBCM7RIriJ1rlpOBSDk8QAumMGDjTeoldEVWJM868hqV32xd1lUA1pY
OTLeg1WQTafsNuE+pz41mKAbPR8AKN7iaSKRJxK4OLkWjRZtuppNOsMJWi4JwZz8+u3oNWJbpNjs
B3FxUbRttXTeyFRv9pa7rqOgO3XiGw55jCVzcNKCU0wao8gy/PiS19nWh723kTDD4857mLqWezeO
7iZMhKyqBTYKbgaIjzSobDbebMYWRrdjOYuxEQbVEyc3i+AzUIyufzMxtwTuzZdUV4sdNFsuP9BY
mWHRFqHdNYgPiemORW2F/xi6ld3nIL78DdIOHBdJTzQLMU8bpqrEVdPdZ1jnTptlujj1QPIj4Dh+
6d2ZOZwWjU8XbT0uSoG6OxbxfaH1S+pngLccCy9McDbdztwFU7fIoitU774ma4aDYRkgmkDNfKBZ
/ljBe96B3ZmOxNTM+a1fBO82rUraCAjxk6hYwhcyzgZzvU6K6dbjYtsaZv7Dmb8Fo9AMzT/mJHrJ
los1MEVFh4TeRU5QuwzVfeO5JRybBaOgNoOM3CNRz/QN8Co5mnaRGwWcHdCDRCYpAjMspU09Ra+2
BDrRWLNPnMQ+miFxTZ13gRn0nlT1U2uoQ0Z81LGngKv7cI9kFKtAixs5Uhmza+8pnWhYhFIIpBeL
T7pNSZYJxWPqDgQbAM0Kyu8T7P+zmot73ZILTrQYkIX2VnoocAM0QBs50bms+wemx0+BOwDeTCZO
2OAu0kYByckJjWo4Oyy31Pc8b8C0NuEzJdR41Rg/RxtW0Zj8ks2IerJgxQmm3LpVKtgFe4tdharQ
9He2aJ6s1En3vllT1FfEhjFx6N84QtQbqEoTQn+AUwJtOotsbjHpTs1EM/4tD3qGXBy4ap23TbDN
RTpAD3f2eEMY7/gZgzBUufB7pl0/Zs3B0HixfOxJ0jTCA83JGPlCcN8W7XqWjk3D8yjaujoHwbL1
1skmcto31yDqPIgvMNmDg4g1sD9GjbRNzoPjzEeic9b+PN0OYnhwkgy8f7FkqZsmqRXmwY6zG69N
1nFqGAdJRcg5zwF3jDNxavAY1o3ODqFRrcq57Q91S9BQ2rFApwp/N0tAhDTfb86ISU8JtTEWEnvf
UyCu4K2cwKNcw9YlHhZ0hgQEVgWaoyXuEBWggxw507KxWHDNEEI6DabO2ZzXnKeJfZq1veNwS4ix
JBig/ajgHm3A8mKLU+WnL2MSKF3usF4S9GTT+cxrtl1bM5DxcJqs5Ruzye+BaSy2CAaMriI7SfPC
5BwcdR2ULNwRhrUpPviQrkp06ysfhjGX7e9nMdNhWmFDoDOaU92HBTHVkTPiHzF538PbAqrIkZMn
andsr9j1eZuBjeWuT0NPkVUXMX5Cbm3X+Q8R1AJfCillSayIQZ2/xRVt+NoJ3nyFZ6mrO8RlKFp1
ZAa4tWABKeKTAAp5pMCyULP3kFGMdB7OQ0ZN4MO0wUwSsBuG6NDNzjkDy1oktT8ZHJgH12EXcOEU
g8m90mVF72YOt43v3XYJfB4xtbeDO5R3cpq50uljgT1b5azec7XE+lrULezTWwuGY2BM1TaabwFS
rGvNNArj57PHxJVHBG+YLQp239iTLmdjeCRUwKP7DTOIGNSK+g10AaM+irtiCKA5xOpAqDtzm3f+
P5K1NDAUpj5ZuONrWF8H2nQUrSq7V/RCiqLo90M50F43cKS3osJHVaIjt+oKj9MM4NVnGtEQLFLM
43hJUv8OJvS5SLs38nV/Jlo7CFENY+Nk030egdhifI+vVXPzZWQJQNA5JXH76GQNeYhWtaK/QnYu
4Y1rEafPE4OkioZKZOsNPX1BFVt7lHrpO0coroE6RsaEcnLVhGgpRi+u8aWyyWcFGvNJQbOgEq4G
xj7mwVxsmRINzWFMmWU3Rrlv2wmfuwUDiaH1vtdsagNBumv8mfN6CjNrC6eCE26bofCyBkYkNcCy
tdnLQ+zFOMZ1fYOhmv5gzHmysc/5bNpnL89u67Axl2uhJS26O0QAzk8S7A8vbAmVSUh6men8gSYl
ZtGirC9BTwmNQqhlZTVNVmJl4k+cgdWJzlUnm4AZQsH6lypOGCfQP+R6onUSmehvCfDda0X3erH+
p4Ry8T9AQU6QGG0RTT4oV5SOgjvpQ8Lw/Y9C+z4MD+jMjXEuzPmiXfGRKyrKsAlOZEXxY6FB9Oqo
bwkurjehcsbVkGXlFggiNL/6ycxpRQHNG1hb25ehke+lIDWHy5diJ/V+YYc9zzgQbV0WhwqBvnSR
MZbBXhdQy6GQ4lf2Sbas1YSYBELnOpvRx9THoeas3/XWD2RnnyIoOCJONHqtnK6jZsgBsb/xW9xl
VYZtTSNNRlwz46rYjPAFUASMeAcYidTIb9YtCKBdOlsWdTiaKIShq6rLX1yPcN3AntEUYm9Yxe5Q
nUvaoRNXfIQKiLcvHJkxCzYV5gEiW5im4U1ltfrkp81nwt8PWPVEFJUOYD434Vo7bAf+8J0YDGR4
RTbu6qz/iW6R2ae4jUeDFHMYSdgLNQnFFspNyTRB0g5KcSbvHEkrbBaPRvsSu3AXzBnlQOHgpx7n
aWvI8a2HuuyUaUJvjYiW9NOIydFR9OsZUKyiUtGOBpCMT++corda56FnXaW9nKoKAmBKdi+VsZva
VYE/unkQBi3YXvMGmiXDH9qU67bIvw0kqtQ+Wbkch2q7OY1h2VAfDv/8SC8f/Xn451v+fN9fvuXr
C/+D7/vLj339jq/PEYmMhPH/+Wm+nuD3c/2Xv+rP/8SfX7dY1hlB//fvxf/2Ff/lV/15GrvYEE3u
HbE70oM0yp6xta0YMMcEFJ7CjGklQiolatK5nd28fN0UeXEiBWnpqi+P5YBc6fz12b6lZ7T6+pBe
/ATRb/mG39/7189ioUNbuzxXFGKLZYf61+PfT2X3WfPjzycr7MnAYrLj12h9sJEIfH3UhAa/8uvD
vz5O4B/Mv0fxX6JS2rw8/vrQQND0z5/6ejw5y5Dgr0/w9bhaRvl/nv/r278eysT719P/fro/X/r9
dH8ef33/18M/L/zP5/48eTGbHWnAw5vw4uoEHK4xmSU75SnJXbs4hBUfCqdGVPz12RZW5j8f/9uX
vj7LLHlJCBj0aRRNQEZoW54RzP9EtvwjjIn8MAe3PwV0jVqYi9GSEvn1T6tSoIbLQ7DjJ2AiTMy9
lLOF32OJJ9gVkSF4CWfA+FypixF4r+VAXZV203gdOSY20OCS6hPNEtsgAwOWWJzCE2mojA8ZTPfo
CowltWe26HAvfGJS1NtlSlSQqxrk2yIr3udu/oY68YzGCIhew6yd0Qj5WCD0YUzhNcXI9YbRyVzV
hOKFnsQtlN2HS4aoxX1Cd5kRHryzuOowKnFq3xRpuFUu6IJY4/zLghscxQLx/8qLChJUakUaurzN
C/cFksMma4rytsmyF37hnT/2085orRRtCkIuQiwBtpiPtIYg/ySwukjKXtry5qSpCOu0WIaaFWRU
RMpTIG8j9NyjLexdM4YPiLksBm7xz0TMzaYshhZ7p+43Vb8F8fhYqNRhNDagCJlifL4a36yyr+aM
3HCck2ytA+bgpR5NQn2nj9zWYp2mmI8ci0ZIEhrfh8zd97lufwZeS6WRU7eGg/sYLWVtsR4aCuHW
iinBx3fdNuEZuWN0qAUBxF1wnLAY4QXOP5EYl6uuGzB4U0UGXXUl4or4DazA6yEIaHsEIEX0PICW
uqKhxjTAAesEvWqEM4hxuSa9bFNNeHrtkjkzAvfiZ+4bD2ZDlNSIuHJXuCOGqKYbiC5M5cr3jHLn
IKBAlWJsmbX8hOab/4zqR7sJxDdGFfyXYXpOYT8w8FzRynpLO4lY2iZzAQ3/zJxTWW/TGAVba1gO
bo2xjZR74/fWmzAWElkh6o0pM1S6tXIJoi7DFwIzuLixgDuGzaabo5m1TPWjzbH9Bm58pQ396EHy
qvwZFKFKrlMvITTonE36xKlBnIVd/YhVs8b6vaLZMt3J1kUSU81q7ZCXfoyM/KePzsytcBnKKMgv
YZQRRs1UPWIIjEKHBsLAyXpw6CdDPfuWCjFufatEVFYwrh/9RfWUP9jK+Jx78vkMYB9riokAzqW8
n7LgLnb3ukHAwPnrrRA0qUFRj6sG0HMO0+7OjBVvKX3M3iTYxMTB2NKdp/LLxztEA2Cdntw4g62o
KTeSURsYaRZIY7tDZNg4OEPr7nMsmktmFPe+FWWbNOkfVfNspXGy8anKzUyXO5Ut8WPqaJYNSicE
eAtaY1EGKc1MNj+kYfNa4Ixdl2LM9i1zkTVTeWb4QXvwckg4pFgALhJnPNfFKrXi7+gl6NhbNMID
nb5VAr54jrZrIXektf3DkIsPKZZEK7YlhoNSPHBNW+uuZwRoH8wWRNisnJPZVIjUJX9pY8QIXIjN
2HOjaTACNj8J/bLAfIy6y3uMPW+f2tdC+JR0okd+0scfA7Mf+Oacw+fcR0yCa7EeOdq1zLyEyHnN
o8uEuM/NG44W8w029PyMieygFz5+mIBaG13lyA0BN/E5xfU6fz3U/GlvJsudL0Q/r9pyxhykHAeF
3/Lh1z8NbWeACP/26a8falkTidHtL5lYdMe/P7f8kDE3ByT5wanOm3LeC9WB1qyH49d3OBzmNOX9
ZaqwC0n4DMFo/ADug/5FdmdtWhj3U2iworv0c37vQX4+aGldQ62OdGxYKcPI3MDjnYPCRwcHrDIb
ocBi/INMEuMKvEl772wV2JHmkhYlHUMmzH4K8EJKfptzzKtm2ODCeUGzc4/8Ot4bi0bSiogMzXIQ
rFaNKEJgte28DJ+Kf+ppdm+rOL2Tg8rWJYdhimpoPJGPtiv6Vk0mf1jp0n7l+lkROjKhsHRcrqtx
pDIewlMaxi9gy4LF7/6rc2Deh2D6OMyiZ+IGB+FkobgKEW0tMWUoTSStZMOFEDExX+B4wRfA0q3S
xtnTQBi3gRB3xCeMAE7UfY0edwPfAe0jOGfumiOJ6h+2MR9Mp0RzUs8DI43mRy2JpiY17sCTdsjo
CDx0fM4qT/i/5SZM8yvvwUvXu995PbvQsj8kOZu+W1ztXg3bLgZjNM0/8ik71AkvUJAA5VfZrT3L
1za22XKmEh5O5G4nf75CDLJOfffdq6GwOVCNiNFGbzVU26lsH02C5uMW2XE0CHJWEfWq4Gw1s4EF
/up39DbsRtIOMKCXxjQFqfdbTY5mE/k3ZFwBX2DJJLnoYah7vTUVeEGv401UEeE1TP3WULzDjds5
Ekc4GQvBRKRhSw+gs0owlh4NkrgH1oxGmJOHb4HaSz+d02wh4Ckto8Ydhb6z5ZDSEt+5MqLgoQ7R
54xOfunt741LaFhAmZrZ0dGlOzIpBP+mxUshegK1cHgRXXfkzvkcSug23ZD+MqXYLVDA1tS/SqcL
Ied3T0ne3KvCvHhZ8IoqFG5VhUrODLwLB6M1R2YkiEkZkKSV0N9r+mMflvdtmPbb2pdPSKfKJc7o
x0S2O6oJjeZm+i4yBzuyvsLG/15SF3TOdQqiFxQMpwYX4CpyFU6eHhgpAsyXNs/PY5zFXLYiODvN
eNO2jk9ihfs8xBmnRlt71EhLV4psh7h9Jejo0Zpi0tvszyJPXhlaWvusbc6T5o+bCOfsuEBfmx8O
aTQrw4QYA5E2n7snYIP9qZ/Z/QtTv7fGIXMk1ZhPKTy0kOD7CIVDTBqtL4sSUfneTeEp9t7LlH7L
6KSsrL4+zgWU5sGrjq4ATUknUK3r0b16I9e0oF2xnWmPbIKiUGtVJR9jDWpLqBAab4QpDdsNGrQk
5DLlkAwAiNqrU5s5xqYV1M8sV/IY9eQPo6BbB5H3OEXesOs69c1Q4mJED+hpwZXAAWE6hnS9So6M
RJDLRd7IkZ8O1iQ9Dix5vXg7bjqIILu+U1eVKUx49gkQJ3J/b2r2i2PLUji3C+eYDsa88UN2r7L8
xDq/6mDj7qrunnj6gcQPqgq4nL3qsM8TbM6agu7W6uNNPrgPnBzg04mrDqcI6znBhWYMHQEaw9rx
vM9OYHEJ+LMXcSIPEXFFRtTDLvcvVUnfvUwCetXE/jExC5jdNuGdAX+wyKDWCiPEWm0sJZKNqKgx
oTppezhN8695Jroc/SfYD3CRXVTGZAnBB4niaqMrikpqbUaNW4IF45VBIqgpyeqY2Fl6/AweEkZi
uXg3lGStddQm95+VEXzYQRByd1ZPc9kxMu6qTyttrvm8oJIpPucKG2E+0pPW7gP5DYxeLLH3cRFs
Hf0ZQhIymbswjej7TTKKK0JG+CFutY+Y/lPd96vOhfnVco6w4vii2jLelm7xS/fhlrc83eIsuZns
qts2BFKG0ykdcyTU9P4JSNAEtEh8u3aIW1ILr94mDRFkyt93/td07BI5lNOhimFeeqwCKryOmtwr
2b4qtnsYku2e8TK1P6Ak8Kf1qbeYxUKH3LNoAB/UNOiLqLg1LOTOVTBCtc/v2b0rxIP1ByNYzrbY
0QpEHA7lGzV3vBl0/UnoLTMlewGDUhV0QKDIgGMQShKL2GjM8nDJkASV4/dZ0D6XZfU8kHXtTN2T
DtVPllN/3TcsOWF6Fsjl6LoGHrdQ6aAas2bm/U/879+QsUmSzRS9e7htFoLOrsAhZywgdaM0PrvM
q24bKzrkprqbe/nLZVCxHqNfsZQvc48yiXEyC0RDI7gN/WOTIZ9kJngSdePuc7sy9oWrH8rZeAXh
yJBx4RWwvLKFg9jmnc1j5z6sIJ3NS1Y5Zo5t3KGPjJ10E5ODh2/yoxlGskhrRkhmKwRDw9dqwO9r
EFgYqiCn0UNAZ14XF/4M2e5vS0rT/0+y+j8kWQnz6z36r5KsPoqP8DUju4opP5qe93/8TS4/8TvK
yhDi75Zte55vYVhit7AIux8+dPuPvxnC/bttmabreZ7rW76yCcACh9xG//ibcP7u+IKRqjJ91zfN
JedKl93Xl+TfLRQIXOqeAzICGN//TZSV8P72HxXE/bAslleKGxIGjm25UABtMISeswRd/Xp9iLET
8jL+lxY1t0tv3NuirG6EiB/HmtKvwSy8Ghxy6KJ+sFiK1aFVVXBIwf2tapFxHeKmuLALhL6dXfHu
jJZS58AkVy6hv/z7qvv9jt79fjn/UXSALeKi5fda6C3++jpd3h/Pki5vh0vRtXz9316nMQQ1G0h0
QcR0jaW+a4OYlnWd/JyNybh2dfLmczpi+sEpkm4VH/jVxivD4VvnoqgXyGO2wNq/i65x0Fpk71nn
hLRt5WOj8scYwyWZLBQIXc5WREEha+/TaSDYZZ699v3JO6kIuMdoJz+SKQKgnurvKmt/5k18mFIt
wG9qZo15ch5CsnCUSxtmsqBxZ4JpYKG2QZagAXkkywPmrWxoO/gT8kSLw83o7hjz6r12cFYGcXpO
qvxgCSc8xSplND6LbN1nZn8YAu9bGdyFg9WeTa+k4M14NfCelWkjG7xSezzMA0JdVrz4mERoANtu
MLdOV71DHpWXHCUAuOCFQlNyUsq8+T6yinsrTYoDgYoILMf2YkHw3cZ2zWQI/WBcoEujvMqv0He3
nYEIbhjg6sRR8xL4wz2slHAPCGJvIZfDeOE3JDFTHwnzs8lesYaExEPiuZCpu+0rbBmQ2b6miOku
kIynhxQYvjbH09c/TjRDCzT8BDEkpkOMEPug7XpaMr5700b+j9S1cVIZ9soq2LByHNaSvnmcQwKN
YWah9KA/NHDkL0PE+y4tCy6SX7XRbc2B/kyo0l0ZkhhANAh+R22svAoiizJOXs4loIwBCk5Zv9eB
S5Sm3CUaCgHdG1ZpOg+Rqj6neH6xsvKQrrNY9ytkA3qFMh1wv47enKqwtgq0+2bwwGJmdyJAsJFU
zYEkjJ/wKT+F3X+EikDYOfhhzAxCM9e9MRoD10Bb3B7NUR8cp3a2yIzf4ta/DAXu5IrwCm+wX8qc
RJWFHORNHiQb4V1Gprw7Pfh3EilGHqBMkuBKEIU9+tm1r0FemZCM2Q0ZpCVJR94UNFAQlkT0shm7
TYlAQ6MBnJuo4Szc7V2YgCJlO83CclwppZ5A82CzCb9HuWutA5m8OTBngmJ6VIQm7caxO5Dai5Da
b55Rt+Fy6Y1ztQgam+J5XLItmgL7nb1WEmtEizYd+2KIsYCKQJP3vprdAeKbaI4yPrXwuVbWjES/
rBA85p1Bd2P4xnqwiycqrYKouLXdPdeDj3mLCK69S4q4AtqwTgUGZ6wSJGcDEAe5FebJjTKKm8Yd
PsppfJDhGK8rocXJaR+uy0WAFe080ZohcJJ25FQz2aeGn2qDuRGTHkVreCut+jNiwON4xbT1Ypc4
GMZu5lTtREy3K+vGnRfKk1/QtBK9gzY0+wAgSa82c66W+2a2GLmFeIFi8YYZBCXAlKWb0ic0r2+p
JTlOyq1OEfhmb8iXdoaH8Klk/p1HxY0XNA/2Y2wRME4E5ifnqXUiqmcpxme7jr+3af/L7sCacxpt
Awf5rG8+xM10cnGbbk2/Pxd2SBqpOV4GWz+2DmKNTic/sTjSOYALmnFag0VP+dhzjwVjQ7wzT5Ny
hgazMGGcNZckkoREXoh2OdlA9tBPSzwR78MBWgHi3w4sXaP8b7R3P5jJEy2aQkrSEUhU6qNjaDB2
TzjLTvVSHMnoxEaUXnuAhZxi/YG29wD0u6hwijY9Nrg0bJsN+my8YxH8v7T4qSo64n33acqiwuqk
L47JRN5NFKCIqt37nU/IitPlGzff+ZOV3gZkEJa1fwzxAnJ22npmXB4I8spoEIkdyJdo5QXwxIiZ
AEKc7CV77QZjNLAtgY/dKzfkNDyMg3YBiSx4Mcb6NGQVt4P7TPf41NXpvc/QlfOiz22u7GPHTkCQ
VZE726gsbgGGjKcxmM/BeMxbLqiAVJVtnps/VHj0Pao+jUSUduiLBK5yxzibybfvHhFxEYTXyZCa
v9LbzBMfYLoQbkGHSl1n5Sg/33HsBURqkkEHs+uXtM1qN432pQ7v4gXS4cEhtpWdnIChvg8KZWxB
ZF9JVleVszbNKa0R7NJxXnK6QSU0T6+ecgkH81EYeYtSzffcjlAOsNdNHn7kRbLnpGkuop6MKWYG
+2bbcU1fZ8FMwTHVJoU02tTDGaSlvZkCBDCzxgNgyGPa+A/BAN2Zw61XZjsnZv5ujAR/oRjbNNPI
7dM1mxi5/ZoTG3lmw3RHKXEZ+5huPYK13dA3V6J/rX0PDBhp86NvdNFZ1qYGsU6rvEOSQI+n2OMy
LTiUovKgdJ7DJoHeLTfx1ksyc1u4nXtElgNg2WYfjGCGOIJTc+cHxkYtHVAbzTV9dR/Sq+8z9p+D
6GCxadDYWRPf4x2H0UrvqpZcIkQvikHA+A3YynpCA4XhoOl3BK1Fq0BrfVv5JF51ZfAO9SjcWCA0
G0QXj1YBzhYyEg2tfZ30uPBdIlhCbBsMY+jukXuwSTQqSwh08tbJUUjN+Ytf93euGz0HCQYfEqme
u8Eft5UvNk0LP9H0kAdgHrZ2aYGZpLPsBK2c7a1cZfyALEMXf+nbuTGLnc2NYwJeA8wArzJBKaIQ
8dT4vziM1k+wC+7UMFmHVA5IB+vxIfOG7OCVNlDXQYJpiTlxpW6szw505xtKuremBsnLtYkUVhGP
1cK5Z7r0YUw4UlFunQlkSHZWEO3BRNqXXAc3Q2PvOjOQm9Ky9MqlvzWxsz/MdR0ekqge1rqwjrFM
1CH1vEODB3or2juqOEKFln+APxFWzXEUPcgtgjeMtrgfNqFTvxMYQ7pgB4j6YvvDWwv+d2LiUHTL
C+rQYXKQDYDhft2Tna/J0Gs4r/eEtMyIxt2+2bcoRZD0vTXkS3KXkbo8foJqPNjuqUvInzZ7QBHp
E9P27ZRa+9L3ynPjn3E8fPp2MJ6MfkLEMX9n0vpqwDp3RjQ1JPssM7rtoJieLUJZYA+UE0wWcxOY
kwcoeCVrbqnJs76BwnHtzqRmDb4lZpSyDOC5qwXFJLYYNLXBREaLrOy7LsniO59+55hht0X6t4Ts
IYI+hVZ0EypTburcO4UiutLKQGPoIhlK3eguySCwVv5AdkU5u1sp81ti77BRe4Dj8/EVxxdojC67
I7f2nm4ggp58OORlzPCm08RLrCOaLq4b5qek+yixcqxMmytg9nHQd3kEM9Ryvzsnrxxvbad+tmL3
qR01SK+oOAaz88uPidweJ4UXUDN3bFK4e8CnnZkDx6A/G2PT9/3tUPQH2lTI42cn3Fa58255w2ku
wVV4mHFHBX13MCl/pzy8G0I2mZH2+GxPzb3V6W/x0gvyLGeGJ+sfCCwybslKFbt8GDDgFN2mJRRs
g/HW3cHYF6tMn4nEni6Qyd7auqCOhZNI0waXPWLp6ht0EMV+wjyobQnNCd/g5uHHtDqaTHV/wWh1
inna9RSHNPaWUPn6WptOtLEn29jYBYxnoA7rOITnb47ZxlcvE3LtK7qggZoasWvv05G38VjUvYEt
q87Y0P6Tp/NqbhtZt+gv6io0GvGVBAlmKlGy9IKy5RFyzvj1Z8F16774zJlxkCmgw/72XhvM/pFi
XWQ4kqEBQhr7NPd7zMp0P8R8RZGhBac8wPwYxea6oJHzHRhbJWPmeDHfldIyripOXkUP7aZonU+p
uX4TLKVvOaZfVtRvFdlCITiuWy/TO90r7IA2+8BTevVdUnZ6KGMck07MPCMWeBGLgg+oHT3osYyx
441qLQqQcailMlyOKrDocWkLQVBi/D1EOL1JBQOymr5Z9I1NVmvsxKhRKhh+TTVYq3//2ja1vxET
REqR7vnAmsp9w6ZHz/kDmX5vlkP+RmXHKoBtmCQcG9b9TZxR4GCKjVbFIGCSNX2QlECCWrfbmcYL
eJ/U66uS5b9NnkWG9pcKho9d9jZjouHOBqCEKDRhoJFRahC1yw6qe+znvUuBYZx+yzXWnm4bwym3
jpWdqtp0PrDbeDHyu8KjuRt0ySA5DQIgOoTh9QoC5NJaPrkeg2z/Ti8Ij1ZNf45b+l6BIf3XuO1h
dDiMCxcFysoSf9CcYNNQ2LqCf7aGxfdBsCwOdDZuIIEt5hlDwonb3zZp2i/bEvHZqaJd5gLWI58B
p1R+ZRU/i0sC2jPiU1/Y9LoG9kPmZEOGwA58e7oY8zI+CDuTN8GTKcKasSI46iTR9l2l3aekna/Y
zERU4TGsYoPUOTPGaB0EFsVBD+x3xDBWM+o3J+0aJsFNSyKLUosif6yZRx6hTh5b0i6zAfIuH7GV
NgF6JBNEsy4/3RoyX8OoEccZorSblXsZ0jgr0i55naOfdrpGVmScXKO9a2L1RMLqnCQ2N3v4ckaN
Go/ZuVRD/ME2TetJwVxjzk8Dtb4VLxzzEHR1YuXdLrCK6coGmJ6sDAomfWzLUxgwWxtBGUlZ6Vhj
4w89Xt4K8Zs2Je6AZf1TxSR44ek9W2ZJ/n4T7iLbSa5NTk9NHXFIy2NpeJnB4NRJynLX4JrYWvVP
V61QDjt7GAuHXHBV5NuG9NpV+K8klSseltusmDcwpBl4Bw7W7PoflaWnq2QalE/JV0G06Fdopi/C
KO427o1dBBQR0RQ5usUm0tCxE9oELjgF8bdO9EfZBXtXJjOyC7DicGRyUyKrazUjX2vg2s8iB//l
wao6PTdiPcHZQ7+r2lcjGb6aBHzRhJGtlcmPTiLGFaDaGP8glXzGaIlzZY53riwXHasFKcgCAkX0
2YN7QXsmq2d1YIEaTT9aWBDwppr0Epr2xWHJhxG0KxcrpkiGdkviHoHZ7MvU4shVfpBZHf2oKu4l
xNxNbAbzVdd1xiWjx+PWblQo6CovQN7HIXwhZ/ZdpkM8w1z6Ezwu21Q1OGqcYTfXrY+Naua7JOjp
mYEiA0z3SkCq6B7dNwjfM4/Ef5QIeYrm4e2oGm7yQNMCjT+aIPC0b0yN0l/JAWkejHPfoJoXWFSf
k/W5dA1ookAHEWbeE846ojff0zrng3QWIHgmedhIZ/JFkTZHI9JjKxGWxcmn/fk5yUe5Z86BdwKg
hNPEOvBdyk5ZEzlfOMAmkQbGRICTmka8xmOJCztjCEUMm7KE2f6LGPJkOsZfm8p02rSX/liZ+j3t
jdM0jBRFmPGtTNkIuygnNROwDwbFO7oXhkB7RN/m0FHaUb8p7QF+oUDosPP0i6n2D+Z7mCocXin0
fS+bAUQ8hXyrmX/o8vsiYD4u1XdbgdzKs8ATBfRw1xppjCESIIz4ixKCdyqjyLblvAyI9lgJ+vjI
yBAkBsTpbTHYhKWc9FyWzIezEgOnncf6RQv7P4FdbY1CDF7Pfsl8dv6v0yqT2cxE4a2dHibd+lsm
5J7dFMygmZUngGCul87VuSXtvMuSAHBI65MBOgjqfmBdnwzKXelRMTYMBndLx3sQdcN3BwfXW3qO
EGogHMWF3tgbxCNsqKYB6zCRN7KcjaBDZ1b48Vk7n1oKED3NyO7Wyl3W3fnGParJc7FL2ImdMaXa
FIZLiRRkVBVuVDjtA7U0EBbVD11l5SaUxjlRZIqJffHgYkeDjgj9qSm2y7JKTpg1KJOjysSsh3tR
/+m67i92eYLFnCipnGm4/hGOEHxunXkPqviS6Exzo+aV3Wl4o4I8CnuaVVPnLRr0P3TomqAmStc3
1fjqGNEZuTTdIjWP28aRL6XMPU3xik2O+6dkrodYA4QtivBNAO050/tEqaN+q5uGecqI9MXuzj7N
cGjLiNHxAGUTGWbw7cGSy8hdT09PTJDcizSZW6iR5wAkFACTpIdXAUdvjeutA/1hcm+jTXYmqqd0
J8RAzy8sRcPWL8kUvxkRzaqwoOE0yG0W2J9jQeII5h0lRl3TbWHom7iUJV3I5KXzTC6HySbKNF7i
0HqvYIfsUqkzPbbD08Rsi9wQ7p94+SkmSYRuNj6scoJmUxcfspOHRfZH6AJnA4bNBtf1OSDyxF+4
o8NqALKwOPpZTwhuJl6AIdqmwns3Vgh5uTX/CPOMOQDiNmZxp8Q2HsV5tENO3jekaXdxhnJIYgnQ
nIXVDwwt/SaTR2I9AuqJGuzqbO2VDpphauFM4ihoaUgQNZyZLsTEZst7ndWXpiMkJs0P4Bc4sznb
8/lvnYQ4eyio98n1kGsi9zedqlbNQFHOsrdAN75cfFYb6FgfgiGmNYZ/GJ9HXqBHv0PD4Bja8GZP
7kbPcKm02PwKiZdtsY6UAEQbZuEPy0pfEofXJaR/2my5ndTQEOZyDzPuStxsz06egXjldNUF25D3
7q81aMiSzBvZtyvlbFjGQaHpfKfz2QClofBEaRzUICOB0aA9gZGgIiZ6i3OBm4yl1rHi344aP2q5
ApDMYtqFgcGBRMwnEI+103zPmKE0QaRederH6NVdr9vfbOTyUs/1p9G6L6bLZBUlgQLjgeIlhyoR
1yKk7wwoWHlHk8F/sC7IoaTTY8kFPy+u7iMNLcz1Cd+1aGEhrJxN3kbnJqzMe9RsJ1d82RIyDEkn
DGcsAVnzaGifIT7OlRvscLlQwyXPBJrnV6N8YVQA3LTR8CAtLGUDgGXEZFxa9nimKIV7PJ7yQ2yX
pMTWRL2JqpjSTpm0xu+aGI/SkkcwcJ+gUOi7zOyvfJb/BfmqR5nFHzsl5fk2UISsLR+uGO3tWEBP
DxYenl4tqKV02uAUoT+3CakG5oHWq/nkNGLNtbGHJb3jzQtg1JYo9Zb85rvJGTMoqOAJM4qdGuXq
z13+4ySk9mym98xYgVWZPbSm0D0sgfSNlrj3zKWCDRren24q3J+Yf3xXvzdWJk4FFdnaMjyCyRQv
CLFT4hBo1RTa5QTXhZEGcjuimIFvD+5al7vWNqFFZ69E5vNGQhhWCFT2roLsSQqj9vt4kEB4JjL0
hguTmdlTobm4m5rwV2Dpt6lWvWfryCfEk8WU2hj71LWZje981rlWdhR52stwssDfbYQqr0XWvwzj
WNJZFEN71rU/k8NhCd483QoZ3Jf5BoNly9mSNxV2q1PEe4Bkb7oBPl1Pw8OkkTTpKuetbeF/5g53
Eeyj1xCPP2ct9gLlEjhvtnpntzSTD75tU9ne6fRyT/kf2L6hn6mOjmVfVRE9EfVCuierceMjyBmN
cca1GF9zt36n5fvm9gg0g8sCbmHvAZF3y4LSvqHa7ibTwjcV21yk+vp3kjEnaeK3Zu21scY23za6
fk80u9qBDjPwCDt7N6sMvmtdsnPIGPeLOjc0zfrJAM8hmtufoUJImbH9Mv/ft3SZY7g1HM4OJDiA
KGnYJ9VddSC3g55oTSO0p4EayksTLt+zbVBja2S/9TGvAZjxRrnBIdGGH1ZbJzfpE65QS63ciA8Y
1pp9j1kuxTIdh9DUpvOQiu/BXCLUfMSTeWYR6uPqODYFBmRtORjC9AGTwidQZzkEiZdUwUdfX8LE
JOxRGpdwceACFvO10rXOA8yLr3Cq6aZyl9dl6UBKr7HriHY/qT+63nV5Bw6ytzA+d+ruJLPLXRjC
oaCY0hX2YQFW0Kftd7SM12xIuEzXnGa7DrdzNuyVw7cs6dpbWrUf1H/DeNbQ1ZiaOch4sOqm59RQ
2LMoCdm47V/GWKRjFzH6TUdOOG1R9nMQElmC8dCkujIudXiNitC1xpJEjwiis6J/uQzJEjtclVzJ
SZReo2BvV6Tap7n/ywJRErOnGqbj5hfgG50L2hJkAJUtISgFEmu4TxkIFFCMnpp4jXEIfNcOiawO
3NlBgbuwOuqNtFHfaXgvnS6OX113qHF1y71bkhjjhJRzEpkQ97epZbwHh7gAFBcgYPKMj9/hE6qT
PIui7De2YG/DRcveHQCRtJzkNlrjW00h1rAmGztYZsxmyaaLTL23dnoa2pGaqWw+JxDGQNRFQoJ3
W5YXRbJ+G8i/ZTGvFFEHrHaCQp6OjP8UTWSccuOMx8Hq7f3wXlvD3X5PRc/lYTGS+BLTI7zTU63m
5jmF55x9Zeu2o0bxbKTOra30M0zo4dRIEn8hCAbg0BuuMEp379QguPcwpFzGzZurNQXlYdCvVozY
0LrL9FYmmvuUklJl7Z3fQF+ET0GUXUb0mhYT0WOphX0vE+MriZrlI2TVpOmZBkMUH7G387b8nAD8
jEQEf9dEgj0YJtGZ/Jp8IXr4DQ9D2JI5X1lxdC+AuBmUj5odbptgjMcNugje4/6PO9f3aDCG53Jq
5yctyL6DyLJ/KeBTu8jSqkOF9L21iBFDazhgCrE/zcGafUS60h+pMHokdn6CIS5xGfwRsJFItBX5
1ZR5fWNMoW0rOy8hluHF1OKXFM/Kj24Gn2Nnlx800S6ergLjaA3Vq5tppGDroj4aY+xeXb4POyOt
orc6IplPCGZE0JjDC5MUitSmRX/vcO/bofGBdGrccQ6SaRNQ+WrmaoPtjvukhzXQlQZe5qGBShFX
GeLS2HrOIIoPqtGZMaQuIree/SXhVz90AeRPZCOratnVD22iTTlJRt+pktxLzdF9kUlavajc7yh1
529D6TaLo9jZtJ/vckZPe8c0y9ecjdFvAAlt+yb7ph6jORi5uLstWjnTtAtC3X100sGbo/jUz85w
CkPuzGlwtbslpiK4XsEE0qejQx1lTm0lozfuvc5Xn/K/TKyPI8f8Z8ITImJrhX1IaxAVez9SYGwq
OkroBjN5LpWDuayVvx1OP0hCWuybORMaKHEM5tZs+ACmdpNbH2qJeDFF+oOm726sch2ccu/edU3l
LxZliA7WAehHr3Lk/iBr+wgIQ2wZfK4uY5mCRWeQH8dPLTpxrgvtuHQsPmkHbwUvoHOqbGc9zfav
vctBtpJwwTj2HFO6lXdUvv6mPZA32yizl6JKb1r02XSW8eYWrrXvlfOWhlybojCx7625eusCcws7
LLy5UfngqS39dDDRt3nIN2HWEp/su8FLe+06NZhxozS66tycLulCY0IfLCdA1NU7QfZziLlujgAz
6xX3dKc1i6dJtX/Jy57biv2DYGu9r2vC3jy7R5sWtEs/X4x+NCFVjoNvsqhmFJthLrjSm7vQe+o8
Gqd9GQFlXYUxXOIELnNC7ypoQ7m3pU2u2TJ+mWmwt7jR+bmxPNxAzb5c5ofNbXaLi9n1uxQ0pZ7h
TrMzblM0uief3LPLJoc674jv2fkyNOSkucdVmc71Q/W0yjsBsPLBBheBMX+cgp47IkeCdCzc13HY
o6c0+1kBa8GGOXiNTWU4knZTWZEfNeHoS8N6q5pJ8xs9+FKjbG8sB4ytMqsgNuuml2xkmiFqgBBZ
OKgzUfZ2Dy6VG8dnG8GqMWq98KGQPuljfYlj6e6YedANnFsX286YvhAqdaORq2BPUV1rLycmFZJP
gnqFnL/jDpIwTWUNXGFsulzaO6VOdPRh14YlksZldNBb0W3/NXumSjCX4aTD9QnPbENDwOru1iyN
aiurbHfrkF5G4bjT+dx28NtQAPAHW3oCB74Lr4UeH7SK6b9op3shOclavfaS5HFBuka/x0WUHoqE
Lm1adBky4p6tOGEx4n0x0xxJcOo/gW4p6pi0J5ZkfcfQ964Ys5x6BEez7R3SOmt4jZPjNS/Y+hVF
JkhQ2DPXpFq//hDZmFI3NXy9jTTaF2aIfAtDFqyqK/GH4mE+cXUS+9FtLyAZyJc5pP3+/SCZ/tL1
IHj7hD4+tHC5WvB+uIuukcsysJdtK7j2uICpZRHTEADMSYKAPlIduYlD7T8l8xgVg9FiGhwNlyDb
MjXVKYybtUkNSDwipHmKlwU3boJKAbF83PY1IU9gYj0D/zl611Mr2mf/Io+Q1JrTvz98XDOgmjP4
DvNtXhP6qKUKzoZZwgd1zd9uXVb7yvzTWYqjfzEejYUmSr3JaUVJsD/QaIDdN6+3cT5Gu3i0JYED
+5wHC39h9pgTEZ/qoGkS4zptjUxvs1st9fIYMHMN+yq6pvbS+JVWX/uu6v2MnNazrka82URjoVzt
2xmMatNr7xoW+JPsKndH7aBouQbVyIqbELdXPge7bCzgJtpYcoENa4/cvNYcXlD3Chq+GPuyys1v
fKl7o5bGMTaT6hILBrjuPOl7S8qfLmApRK02nl03+Khy/RUuvrgrBM13lxH9ED9MSeKmtdzfDdm0
OMziS6rRDyCaE6mj5Up1abYOtF5scCubLpRo5fl6nA0fS8EyTklpzbXVfrcdgx1sHh+xyTUCrKuL
RNPjLMFTBhHQ2VsW8xugeVeU5tnXmuWzHKAla7Kuj4xHOmZ42cCYXa92ulmbO53G+hgNZ5QDxXCG
mUKeMZ1jnDgvMR/ZGYWPEd4fs6R+R9UxNTqFHzgEvawCNCY1SsPVrrQft8IFODoXJYjZgCdn5DFi
Aipvc5505JcSTvmg1LKlCE7u2lhjai7dsvX41iuVeEaaGscxip6MBixLh66e2c3W7Ch9dtOAXZcC
kXyZI1+v0cgWRB3fhAiy620j9XRjORWDCi9CABUK6C3A7zPSlNk254Gpxz4rYeB2sxT7hOjMLqlA
AqZ9eBhMezlaucIqH2DYkYoGuJGQ16EwiFxYsQyAdXBH6zlwAyVt/EC6/kzT5JP+YgQljz7AhEpQ
i9DaCVJQ1EZPdWiYsMhAkCehi8zcA9J1B+5BdSfzfdyT/aKA2Iqq/2aVQ+RoCKmEHEHAONXPopwv
YZbVt4Fna6MScXBhBBwmK35OJvEEpMTch3oi75lzqZPkMEsZnjQ6GHHxlwkFN+kjxkN26hD6VlsV
TAReLEx+2A51EWjobg41wNCTwYEMJ6nYnUjRvMTojNs5j44On/hep1voOtIGvl3TYzM7ajX06omm
Ot6fNT4YAVXPK3GBxh0c5eDgMajsidgVD5W9jhu1Kdi4scmMjJ46e8JSVveYn4fqMRAY3Q1hcBhD
Mzjid0bacawAbjh3jNa91ZhqUGUDbvEGHUTUIDYpBni9H9+crMxor3kE1fMgrXwnHe0WPBXg9Erz
pk9W67mr4OU0zW3OotXquAYbQg6BDsw2v8tL6rpr+73N6FxuI/g7AJogTYdOBUA6oTI9S76mkPW2
yyWcsJBhdRXduyjk7iohfw8221okSHNow0rDMCxSF03H2MOJ97QPeSJWxGxtZt+r+ZEGVmrJZ+FH
Uj8bmpXDe7vhVqAkLFoOVK6QSIoD42yVz3am/TFyo7vQxAPMxsFrF03aniH0Dlsw0UQ1v2QU+Gzy
RMv2iWwLejrUjj7Qj5KP3tOCv0YLPspVCCJM4Mtr2UHJC8vuPnAL3o9YDn0zjuednPu96+j6repX
ohud1YWr/2QWXQNxEYgDzR++XiUc6zX44WlmwMSi6ZosZH/IGUu6Nli9MimZw4tDEC3VUTXoiRpj
PNjD4Y4DIz6aNsK7r0kv1peVDgzmrJUutQF6mGPt7G7S4Pckypf5IU17DxRuBCB6MdphEIdR19b7
Pqmbnr7Lsg/BmieauLTSfClzroYy51aiHHz2Zvk81CNeNSthAM6AzglWXzEfw7GWwK7c4ppOU/T+
4ppajmEGjh8pKcYNA9ADewGCHUTf6dDmuyXo+U4j87TYwP6BCeUU3gMbwoL+oPOD9nPgRuz6ot1x
z+D2qUffke4mf0IDWymbXXtpauNtZITAMqFVZztq3uKGBdYBmthQVOBlZW0cGWwyWqRvl5eQ8IKI
1qhbbl05tjNKonAyNvt3qh0vS9j7lknHYG8kXzbF5VsXWHITotHW8U81zTbdJ7Q3WjGTfY4mp6Aq
HiRXfsqFRCT4G8QuZnmoPNwRHG05aozJ/SE2PmLFbEmX5iGB23xwUudXC1PgdeoROBvOqYk+oApQ
gwGUiWtd4pbPbk/8mRGDr7mFc6c7qGKpSH6ZXZfstWbVnNj+KWlVby5xl9xsX3oDrt9i0/ETzqSi
jQzdA4SObwpaWnJsdlbM9jr2z7Fq5XFoxW+DiKJnW01MaKTyiwkqES2KxFR5W0zMkXREJ89LUL7X
1KZeEye6FeTANtZkm0BVy8GLYw2XxQo/IVXbmoSnBn71Yt/Cdvll2zpdCql6zQDp7o0OW1UiYWxp
5aGb47+TuGjRMt2ExcrSrV8ES/BylkXCFEbqR7opsJStP8BeWabDv3+0VASEDG56zvUQuTMDBMxp
5pCF/FkWX+qpiBuqRFjao/US2myl+DUQn40xN8xZ+B04NEEZDW0LCYsgDkv7SUQEopPqY2hwklp/
4qn5DFo1n0yt/78fcJ3Qpxt0NIIlTkMMnO9B49DRCb+T5ItONy9AOw4W6w9lnbengGbsjDS0jrRN
XntXNPSJOiq6o9q/uSDI/Lqutk4mmMFSn3f698O/X44KsI6+RtrM1v8gapihzv//lH//tyTnCo6Z
CqYlLJmguC+4zphjoTUJ90MGeDPLMMOM0mIsqqb8q1+j3TYWBeKTUPmG3zahKzal/OHmc8v0ISP9
CKYNRiWjZZ0jRfyt0D8zen6ZbWz1KT61tfHu9FwpnI54azbAErQ2epQDBo1+zSoGkUYa5ugMT4ri
uX0GsIXDSFVj7yCe1hZNdlEQwwRC10FTzlX1DPZIxbNtzcsfZifyMDt4KpAruj25LDorWjA3gaKE
KWnrN+HmFvPGyeZFM25Udg3nPq3HverLmdQaTa25ooHgX7Nao7Q9zVi9X/SfAaxJryWiY3ekzhYb
1qxFPHaMAkLOc/bUQgW18p9KTcyKyXBPOF39cJTsBQO9KHnf/Af0GkoRahd3Bh9E73OkmZueJ+pU
GlPvgWEngUUcWOpBxrVGpbfKlj+unYeHwGkulWqVN5uuODXV0+ByUaGGAry0o3GCoz9qK3UdTraY
KXmj8Qm8sXkzGy6vIwfqqXc9enUXTyX4AFsS9KgY2S7YzluS1p9gLMtHImsdRwI7gDTTC4jH+hGU
CvtUDSnKciZojrIKXsBq9gywoYx1IA5ndyfS6hcQKo1egXE6QtyAnlQZV7N6NqcEkJHbPYoY8TIl
S5IN7riJQor/RGk/QFP/mocnp6DrzawSItZuAm8gx+PEzf+3zGX7kmboHz0Uj5HOZ7o9XqAqBjsr
X099Ook+IT6jLAHYrbM40iarjnme/6yCCcO7dROEpF/wNnDjTPttmBSd148LTZQ2Zy+bhScthvpS
lNQTxEa/1VYfDf27UITcDnjsUD01fD23Wmie6R4qy8T5vGgscKAKiIDn+5BA2oZ8403oa5l6pZBc
hHYIef+wDf8KK8nnb0BZssb5vetJE8e9e4kSIz3Ow64qzlWH8unK+F4n7DI2HSBVUdZUaiAgd2Q8
IfJX/BUguFHotezDictdGs2OxzBsGxMA408PSUvE7LBjGXJisQm4BOsIBHJARVwbzC7QUgYmO1FB
lqR63AdWs/hVMz/lI1QGrtz8VutfuLAQhAujhtjGq7Jx0hej4faeDPhRNbuznqYw/1zwUrTp/EFW
oUyBVsDoSzo0KayoyYmabdy+2EE2+iCuSN6R76rpL3PNDErAX01rZ4+TeO05MTTQSqe5ZjL36Pn8
Pvq9B9l9Imv1jJX4j1UDiVdEEMsMuF8RiSe9cj4xFS4kBPLfpQsgOK9LkJGORwu1Dlw0w7Jm9R85
vgQuqeGfrLfBIM90kJY0dlIrkz5rnOgoYh+Kqx0BWxTj1zCQH9J69j1c75agMKxlp4hQOTy8wxk/
Zb3BOlioVH6pHHhzchGvOfYHMST4YKaa4ZNrPyliudDJ25rKdnLzca95nDU/F0YymyamtKOSNHnL
JP9FflJsXXnPpzJlyFRfIvgea6E4QD23S07M3y7WxIPVL3RQ2WQoe6Y7e+RpkkVT9xzX4ko/95oK
7WhPyVywWsbokT2jE53rWuziEOtIA1NIOOxHJoGDSxMuYeKix4QS0+AKvBLH2KJ+uzbRpTTAfzS4
/xk9b/SgTWfJyQUtajRuDmczwhrZzxQvsc+UQXk0F9F8knPxjE00kTLp7+tVKCqSnEyFUXrUZsdO
ovYsZexzAdz1AO7xzdW9f78KfMfEF1BtiLFCCpNcpezYRk/kqW4lLXNJstxVUXyBYUDv1DmPc2Ix
mPAhFHd9LhAa+tlDVfCw7rv7vuMFwG0tkWInBKYAH671ixAUbUgr24WO3ZDamKjfEsc6WqByCHjz
JqR5/lGHYQANL/+SRjfAi0nEVminUgjj4k+KDQu/viy4xmqdYLLD3RQmJp7xcI0opAER+TJ6MYeG
j4ZPfjvpHU1LvXoVQwigL/7PYlhGBQlGCSQgvKKHHtvAruwRNeyeqW9VLptx5VlPCVtQvuhHgCsa
8FQj3ttdj+tXPZcY3r1UzpTCgfHEClVCz+NSMNJGIOdfkUgJFjDl3ZlUCmyCGCdNyH+mIDfdGXrJ
zgfpZaxPjRDqOI5UO3Zz+FKF9Hb3WxmyvwdLn72gcVE+kp7ty0CY9VKCsmmk/kFJALdwXLhISf+V
mYj2pGc5OtvMXFtNi2iElMzDU9dvO4VE0/T/Ya0OwGnG306j8ep1XGX6MMLHJJLnahkBZbZRulE1
5k0HrTyK1Gs8q6vS9Cf+LGWl06XqKWvUxvlX3C4gQs2xPLvSeca51Bx7oNuwhcMXvSaOQOtWtbVL
arjr1YkZA+s8RvRhe27Sn81lqBBFkr/UvtNRIIP9PyUyirqOa516psqTOzW9K35QSc54cbFz5uJb
NdZTjz56dtNk188k1ovefAXmyry0yX3EfICnenvVc+PDwJx8KDXKPCp9Jv8g72vYy7Kk8CYyhFrA
2NqZ00cY9ZLrGVtNLbDOhrpzoZgNb1VCYiIHm0DfvFcbjKYz+mE9ftunEAvOXrjRwHOFN7UW5psy
7NjTgUNsF6xTmmUuT5GMIx//96VW7HF8jeGpjijrc81bpvFMdkprdmOEzHhqRc3nWMWHoCnUk6Fp
nHf032EGUQRIMXNk1wVENCCfB/FeJ3Th8cyWSNDNXdruq6PP9AIMy55XyPbalGdrFtGjIcpxQsRF
E4CYuA2PgKuznoe4wofCgqnOeM4najRYMtMExcbmIs4DxGjFtgABDBqcOtewfzAoLmBECh6nFX5d
qsGPhh/pyPLS9YDxnCh+xVXyCfmvP0DSnId89liZkfgsO/GxeGxrEgAYGJqdCjmTZcFCxCgjAibX
jWeuh5sdhCyQgK05DaThhfgWmVBOW0y+0RUr9uWkEqxFikTeHCUb5bRQgqi/NCvOANrocrW3eIXA
Dm+XCvluwtDK3bam4aCVhCRKGfEm8GaZK4bcWBWKhQ0WUrDzJZtxuFbW88wOsDdiFj5jkh2ndxVu
MzjZnTCgycjsSU9G3Rvj0tipm2na+cVtLtwrkmOBxanowtav3OkxE7eEuKDiU9Kk79bM5La1bLVz
naZ667RrlR4qGZVXDWsF4rZK93Wb3oaJco/KRG/jdFueSywMtJ0a8GLKMMBBoE/PQjCSpVa2qoXD
1c/YlF28XMtigSZeFMl+EoMvRutLc+p82+X1Z4Ml5VyQVwnwt3GKOJqjBL5df1H83e0W2/wPardF
IVDWg5h0YZbiNuTIWF7wGKHIE6PG7ZnmXl2XtWclleVhpINDYA93+iURjfTmzcISMfRM45pzmk3w
J+EP7Vwypi5klWOt0cogrRNIGA5WVQfyZub8mqr5F7G+5nkQJq0zsHN7fVk9jMm5W08bmJKY6YW8
lf2Cv4RdlSKjqDqp0LS9BTmG4T2H6shQ+L9V45cK+0+sepbfxo9dstTSLAZv0ei7nGbT2JuG6viM
jV245OEm0IfWjxgy4yh9pbOz8luVH3PG00dNhZSgF+UB4SZEK6F0oAiC3RJ2v0RPxpFa9NVSwefU
RQVREwosY8NPucZejDY1dnYhz2EY/SKVnmzCxcUv2dkEKzjgsMXndGqNQ3b+90/KwKTNzrNVE89V
3XKoieebxdoP7halsorz4YpleVvxr2Mzjl6MiC7S7gR1dvSD9kLoid3RAry+RNaDZKSzjcCSm6px
D+PiJsCpoROFxX+UC1FJYWGLdEP7Iwzs9siV92BoSwr3uXgbf1pG1/40D4+ZPdRrdEa7Vu9+l3Gd
MYlvjUsVP1mD+cek08IrGSwjgkTPdHw8oVoHZ1BD0bPZNdrREuqzCpW/1BIuT2SjK1TjGQa+xlEZ
c2GUD/KU2Yi5nSOOkQqD/7F3JsuRI1mW/ZWW2iMFUMyL3tg8kzTjvIHQSTrmSQEohq/vA0Zld0R0
SabUvhZhEu50kjYAqk/fu/fck55mz7VZPfQ9FkaioVc9fZEVYrhf5NlumorRghMygXFBbpxHFNTo
Deg7YfehWRXFLf6zaFUEhNuZxqlLmavi3n2mgjXRPHivMT0V5Iaoe4HI3SeDKTe+bt45gTXdocGn
URaEIXbvjoBcX14jwmBR4Aevktyek9NYoMVT/ykFV6030bTUXeiiFAIXrZXPbGNcfntYto92OLK8
OdalhyADy38wtloa8YKNeA4xYs2t43JD2om/rJPpRc8y40xHF400NiLXiChr0pasGIauy54PneBY
fSumXL8yoz32NE8OXhic5xa0xq7wVrSGSy4Am7uoOdBHrdBugxAxHXGWcHT8G75lNYJcUuii1iJ3
tkVv5Af8A/mhTe0Lkzxk50O0Q4Xyots4OTAfnFxupNbmG7LcfmvMAa+xZz9DD+RQ0I5zZCh9EY6M
KdRUc9hnDOhSR4hD7uQ3pzIvDSCNUf4ue++G16TlrldFJHbENs3pdaBmrJGtYznJ6lV1jc3y/PEz
AiQaqjyoOCinZd9jdxgmAPKErE3Ln6/8PAQC21TSDi8wcsgfboj3lOxkoEvn/03SjLScOZRD9O1M
iMwwHgwNi2xC6k6dP/VISw9dQsGN9DMkGXKOB51/0s9DPP8fCSybfPSY7sftmywiPEZ5cBjESK4K
+q7eTGC2aVLuqkns/MS61v3g09PgMyQj1MVy4Jg+lu/6Zjo6eZSi6Bhyz+84kZdHdAX5FjFJtRub
j9E26c1nNk5f66lAi6yvMYdyjSpnV8yNpp+H3u340T//mxLTrrLymHNJMnxX4XT8eZiCeUVGJ1Bm
oB5HR75GDsKmxmi74yhx0LASscagYDrqZoXjLWn3ZRRvue2SRaCQC9aIqixXUlbQ/+91pHNGZ5Gi
LGdrW90sLXdq6GjLVe5Wh7pynzo17kAZR5t6UrtggllQ1q7YhHq0Tf0pXqNDO1UpLnctKfB0lsSR
Qv6ZGZSvKATuCfLi1vSbazA6WF4aa9Po8aYB0kSNQZYze+rCmBdMx9MBXLXKW7oYC2k6fRsWO45u
qQOSysUo8UV6uH+YgZEfUezGGLGeTaaJoHE6doDQJgNj4BwBW4iIEpDg1tlaKivCg2oGUWmFNUGR
wWpOvXskam4giNwPkF0z726UtiehMYMKg/kgNjq1HbrwSWbMbhL8b5znniYXDrOdPuZx9pZWtPZi
EFM+5MBeRdhD+uTIc3tk8cGBlr2WLa7WMaKkzOZTo5/x7wwOsz5aVxd9b2QEOuPryVtXihOBSVxC
ZwOfIG/vzq3NV8vAidLG6mSz1W5q3dZ3mqU/R6BHCd5oi3VNi5lgW3vLnOjBzlzUttbr4MkP6Upn
1buUTFOm30/wOAdmj2luVjtOZOTV9grze4LwC6nDKyNwsp26cJv0TE5id0ImgGjPqvNVMDGTsIBE
+WX+nCgoTqVHHF4Uf2Li+LLsFmctO77ER2DY5Ma14AsaJAlr2dDFgOUabYRX7u2heLR7p1yXXugc
YMI+hjJsNkz4kchUGVA83Ewp87OyKsN9jjTDwCOB+IX+djcw2WeopE3NyWAUvJllPVsZhofAmWhL
K8Ioo4j9ZkGTG5en0zy1PmF0miBWWPq4FkztOZ/YKceMf6tC80uLNH8HSQmfStCe9E7K/RA05DlI
ypOeePYI4lXmPBShF+z1vL53XDyFWO2zHdi7k4vqelnBjJIQVsMwuQyi593tmUr/QG7+BwT0r0BA
QGeAJf2BrVl9tB//yfy5fOTf//s/bjj35Mf/On2XxfdfaUB82z9pQPo/hGcJ03cdj3AC37T+4//S
gEy4Ppbu6bruWywcFiSef9KAwAk15Q/9x/mHL4QO9Qffj48exvT+W/Qf529UHcvn95m2wfNBQupb
Mx3oT1SdOiAdWBjeXtD0valyps9xOzjBSFR84KwCMv42SDdMinJtn3aIPIi/wL+5Uo3BMd29kmaS
H3Z/etv+C9qPMbN8/swk4lkJ3gbbxQfiGJYFMunPz8o26MbKvN+7Q5PvTZQWIiZ5xdPau2wg0Zlv
7UFnD7QdghHyGHb65RiifU+D8dXF0/HHpf7Hx/hfPB9h/O352DwVGEm6gORk8d/8Lv7pXTI8TQVT
Vu07kA0/ieKhDiohtIubM4QbK6czOtHuFyiCFhOHvI0mTqw2/poMguFcKuuK8CxdjnY9q3ga3HtW
8Zvt6U6F+vAEWfXfPWGuj7+8gbbuWCb2bttwbUPw6f71CTOojExvwj8/n+9zxz7HRAivg7bmOJyF
55og9BUe8A8UAdlS5CXVfzuw5JGO00o6ZqiXD76aznHuI0TE6kSLKv0kCpcwCle7/9cf90yY+vOn
PT9ZPIsoLLnwDd7lvz7ZttRKBlc4tVP2n4TDZJpivlXh4mAaaKPDOAxWw/D6r3+pMf/U/++3OsKA
xmrY7N5/u8aMqef2tI2d17mMFFEi1nVQL8ucvh9oQQTsdftR6TQifRs2UtJ7d5QVjOn91b95Iubf
r3abUb8hfKH7NmANhIR/ff3TaAqi7ItdnbmomeOp3xc+TUcSXva2Fvlb0dj3ReFop58HhQ5Fb/AZ
FUkXrZpQV9smqi784DUzcYOWqz9siQ4SCIi8PXMZTBbMzD2ETa7joOYlmGrVaEQGZ2gziTgrYnAH
zoX0uvKSz3Ijv9gDb4DIaNo0lnsptpOmXVOoGU0zes++hnjbMJ5LdBNbHM7TRWr3IGZJyS3xafu5
t/Yo7kWGN0D3oi/80ZJ4LWYC87AhV72/9CbCfTicvAccEHdIAS69JUmmEsWMBPLePdNVW8Ofe61e
u6EFszH4Xa7SP1WqSkT04T7TBzIQJg2PnX70xaSfaGmWtOnRW/cCpyMdt+3okkNlm5ZY6oh+QOvZ
KJk8HaW7o4ZZZRsdNNF+pe5n42eE9eTUfoZw7vnVvxNZ35lGddViohPoJ6n9AI8vNnD2hv0V8g0I
XCvMlxgY0pVmitcWI+rOBEJ4R0cLyxiyIUoKXT8TtbjIidm8y4KOh9agZz0QiudURBfPQZ67GDrn
PWMaIkYE+gfKfnlvzJ7BoLz2YrA22tTGK8Zlcwpq1GxUmE4PZJ6vKypjjoDKOQgJ1BvlF3lIdWWc
KgPBfdaDx6CKoMnkA/ngxj78m2uXp/v328hAqgfMgc0DlJzv/O02sgLHsqw22xpwdzgNFke7T7uj
CHLS24Q/e/ba+5r06C1eZORYiUKH9gXuCnejXdE3soGNRKZ/TKSCoBpXmyDCGym96sas+Dyj1Gz0
obTtkq8GuujWc2awk78s1QdQccyjSU0rOaeNl+Aoy+LuMESYrV30CdmRZf0QTE2/0Ut1S6rpt0tS
co/mVA0QZVGip12Nrb3jPWfDCdZkBL3OTOVMNhdVFlz8OnqYgvFI1bwWhd/hIhguRREwpcTS1HaL
yiUSvdLpbWkw8CwibKm5ve9z4vjh2iOQ0ujJZ/HMnMggmyOR33wKHYycX0yM/CoMnhzfGa7j/Owy
BqraZ+7ot858b+P6PZaPA/syzt34rgP7r4FSMg3IbxU/oc+srVPPM4luQCX5yBNBecog0SvSJ7up
mC/mFJGT7txyTZy5fafF0BPclg/at4kBhtykr9Ii69mziUA2Ua+JMsGoGZcne+zxcYag1fuJ7q9+
83Q8mx4DUM05N/3szdAw76GOQZ/KsQqz5U5gzoh09VTXtNttJ43xxNYwv0CnTeQZkb9Db6Hsr7mN
h6Z1kpPnogiIPX/PqUkUOkacknSsTh4MeZZSw6U2Gq9TqvdrMrXshKg2L2XbGuJol0ykrmiJT0pS
1my8yvplT8BwRMT8PYKyls+q7+BsTianBHe6tBqZ1EW0NqVyT5Honb2wG6agyWNdZ+8KgDIpcuNr
SgDN2nSL34Hn0Mi3Y+KSJt0lXIyzZldCgPHQH9OUEOmNdhwg1Tj8SpCwtYXYx2kCuWzAxxDXTOgR
/JrANwgT79RH1LMEjKnrrkaLUZSlcwlOIcO80Hs222WRzq270YiRgCFwrIgZQ88H80rwOZcjywNZ
nuOofTNavpkRoOZSZ81OSuy++rNtNpzE/Gq8ZGDlZIPsnaFbFTCgp4Q7aJF8azooIE7IL0CUh938
5HkgysmjYTQWl4cMHSiZeIvelWIjXDNeyELwm3GsLGiw4uDUPVrYpn4gYWHV2gYfm2JIaU6AO4aO
sTLXTW+76IF1pvhkyHF2g86R3TVz0IUvTV5rTSh7bKHFD9C7rwji4pxkkbZjGV/Iwzj519G9rWHq
z3PC2+Jm3FZFYb82+KEQYDnP6P/qkxcOqzzGQtV1EkHQaI0bzvxcGFl4JCDcO2X+OTLL36Ye6Cit
dlHQ3CWlT6sjy7WtSMfn0iHEqDNYOXLAWmxHm1YkLxEIm4UN2gSx7vBh6BQ9vTGj9ilyu06/GW79
FsTjcIuCoiI394TbV2wZOO1i9O1raUA+H7/mCnvnNFQwAFpmkdyMwkhx3rI1gn3EUn8bCIhbOMl4
Z1pZfNQTUE1V2r+lbS+gdXSK2GBJvMZUDqcm1PpT5sa/E8sKt5Pt7hHDuNtU61GqR/F5MHn+qRc8
Z7bizvP8desOpLf3rHKxTbQyXhFXaQvbR7NAmBoMDxdxZFGYZ4fEE1RbWAaHGi5yaaiVZSgd66pz
TjpMrnbvoRBuYPzLwFsbU/eih9qEdRH2d2ZEFysxH4yeAbRuaQhg6tmQ2hVHlMW33uVvtLylPi5E
RxM1dDdpgFIdSs1bMqH3J6f33ZkR1SJE2QOkfumE1MVj+stvUfm5Pyrj4TULbX2r6fE5jPH3snUz
CSN0eNLNCFFAtsxqTsSIymjCoeEhlQyd+zLPFdniWIHwU/P6elT0QSluXULfqUE+wxKND6U1z1nB
G0bj4GqVNKICl9UxpSkd5sIlbwXGAd7ve7MFfZyDQFFs0AtXiC+vI5o0G5lkpCg4/CaC4wXwoqph
6xt+SzDZYC7jichSwqcyOb7O1A1yUo5x5v122AYYAB7sAmKMFf02uZaIspzFXSbT5tpDrKVnFxfo
gqxDAS1IHnwn+yX0coslBNt7d7KMETllsKJTdJeH9VNXG/d2SPRpZX84UDrnpABslAidCZFH9uML
9ewY7a9R2q8VsjtVyqfcsPpDaJEC3k3vZJwQLAwCLLtCDTQ31nroYszu4h6JT7EIKOdGlRKZoWhG
W+1sSIVKESRNuI4dQC5s43ioZ5eF/5RZ+L/pBvrbvP4cdJJXJ7s3V/5Q0iIxZtSl3OWy+mUG9Xci
nSUd5rWZ00PS0CvqYXbC+A8Zr7I3nqzfChyUMSrepWX0DLaKmuR4ipxxTviwaKktws6iUdW8CCV0
rr86W9nCPavKLlc2ogmqEahU6gIYp10ZQz2QPYj3EVT/sFOFGW6bnCmfpmMVT+cEGG68NMELHYaE
XDpdgTtnepUTylM/RgpZDeIWhDZKexnS1jNfi6qPt844guiPEiJhWwme0q/WdTcUS1tm3bJVpJCL
fHwkyTyDFYjqo27LJx/FLorN8mqECGmi0KXX1xVrNY+ZtYh+8TAC0KR71Vm33M+uWoudsZJ3eHB+
jTFLV1phZkGNt7UKzM1Ob1xjRDgDDAVW6hX8XBfRBSGHI2g7k+ICzFz1oGd5hS/MOzpitAguwDAO
D1Jt8pxaIQx4cAyypXsrf00LLzsyLJkvR23ZpkYIVz3F5uqqt0Jvna0078Nq6C9hmsKuZIVmHBuA
F4CyJ17xm9ZLkTCXUn32FofmsGnd7kCCwQDBfZ2XwwNo90eL0/rGBIrl6CHS/AHuG/LyrFLlDug8
q2RsNSd2+oe4Ub/jBBNo7k31RgZMNBvWot5iuAcJDpWw0y1YqM5aT5RZXi2Vk3hbgmKNpZaLVyX7
cK3l0EbU0B5sY5SMasJDqI9nl/g/BheBvph7d0QaLrn2z0kb/ob7pq1aRFz05YhTKJg80h1ZNb17
DxOG7efOqLm8QqIPakPrV8rrtmOV7/F+fwGwtxdMA6jywv7D6ckhsMJvX9nlLpbJb/zMc+xTsCTm
tGDjNjleTPlXG7LSzrIwYeo3Vt3+ULdfjJN2nuJSZ2pvbTyeZA7eZTnw+4o7p7VeW7Ztepv5OaxQ
v9ohAYVIzYVviEUJS2xvGvVzARBHCAoHC9hSSrpE2zGrddHFaPK5zqNoPZ5R9xmnofZhBQbkAtjT
Z5EPZzk4x85lqOvoogFqDwvTnKjO88xbZpIZMEKEc9RK+hml4tV29ZYVgApGz5pd2iDtGKW7KTTQ
BVj/FmNjVleeeUuPnmVEq74Q1aub5ULObLAwgWecjvYYWgc5uvHB0SoElSVd8jjUqsepby+Pk5ft
yF2wrvGk1WeCfz6zJj1ojUF3qq3hqpba0cL5S/+65ASSdDsKnnjvUoih1I3TpWNrZA9pJWpAShow
seskaKytCOx4HRXGDbWuFjUHVduIbHvJIVqv9kAg4VHUsb/z6IdAvCIBxKokSBtpVfXBsftqbzff
bWWqgz52xD84yWfG1BGXSrjq9ILw+PkBse0LWW/QjHX5mPfBfUfOIzIegP+8bBZhYZiHtEF5TF3l
r1rH6A9yfqizhhQSMnYR/tiLRnb1wdDtYEn2O6WFiXKGdvVBn/PalI9TD4JotP75IzyhZG/F3bEs
4ngVohBdigC7mSURN0ZYf7bCnbZtFjAGIVVZkUu1yPTpI+BiwyBZDTtoUgZ7AY6GxlfYOPlTDmSD
Mtez6D8AsdEMe9jFfcHtVv+2vJp0TN+691W7bUVpEXtJAjPcERzrGggYGJZl4o2YeYkcMQs+CXLX
s/WQQN9sjK4/2vgoVomRP2pNhJ6gL9h1MXwhn1umKrw0XcR7QV7H5echHP3HiIC9irkmGTfDdtDK
/PLzMIn4pjLyrCl3Q9w4T05iuWekcgvi0XIzN49ElY47lQG30Uikxl8JHTa+uhZLVprJr84g84hx
0QGhRBpo2gNH99QgQWbw3lQv961m3gMFvJpgM1nTz1jmSF7Uxi+IH/wUPPFxHVPfT85KIZ7fTG50
CYYxXQ1eV620YR8kNOunMCI3Krpgp71zOOggmMTQOKVLOyPYwTTMXYzlFtHKgDnZrhjgr2VYnAwa
FGSPMOdjFRmad5S8R0wjjOZGtanSbNxMjr9jx1oGLmQCP0Ck5hGPvbDwZzik+TTEd2B+31uUIbpv
vIQxtQv5Woj1ZwrD3P8oWMQcymo3Mu4pEzeaMh7SWtwPQ36bPO/OmtPhHLP+VY3Re6QjQW7bTx3R
/rLDrl3l2gSOybuEPn0akqp2Lehp0lfBhnmS1KxSuJtppJy3CWQF5Bae4Z7N1LQT5i1okN7dUNSP
fo3CF2VVLvtf2VDYoHY6BG7lqTb0J7fWYVm0Fwe00cIsO+6OrtyAE3s1iU5e+SytK2QyzV07Ok++
ePXcYt/FPRw4ACWuc5a+E5IXzvE2ZOMdNSqavqr3HY50PrzhZlr+K77XVz0xng0PYmKNUh7EKVgg
WoPwJ20dVTOC84VrMLTLaT6gvsdt5+s3+p5IkHVjw5G844DI1ZOgECLLuHojQuLRchJ/2eXwN+LE
+Ar0+ldkat+M0V4NvwBv3Vq4KH2aOZVLWdc8WDV3rxwRqhnoqWfQOfkW+BbPkF28hV3rJ8NjRBsO
SUTBjG97Iu7UK42zUtUVPwjg2UC+V85rqflEB7fudRghHKmuB7mIIderMIH5UNDpGp89bdMqY93y
M/ZIKh2O18GVZO2H0hs2ulXtEH4Gx36U3IbEUsQppb3RaMNaMBQM6AEh9y0fYiiHppVieBMIiadI
5KdAki9IlN+HgJhbDWG7shICjJveAE+C80JL3H0PbR3YHa2FHAfZiqoKtyVHs4XXd945b228mzRq
ylr+ognkLWiKjog3rXc1s+W9IJHUg/Ehz6f3oYnR+ylsVWHbU9ZbD2CM0V20YUsdgPDTBnDJXW69
T0XKOjCV1lNZP5GmrR/cXsh1ILmDLFjJlsWEtpbhp1+61lPTMW1PrSWaTQcLDCH1Yevewl5c2qaD
VsS5uCvekgx5lSG0pzZlYdVkk5K2PeP/wrVbxQZli0PS11Rc8YrbpG3PpT+7di+rNU6LdV0ovBsm
U/404qQPQnDVVBrZ6dIqWaEqor+KdDmv0NAiKHvhjHgLXY6YZZ36Kl0tua9UgteUi8ckwBCVNRV3
K/pTfgQyA1aAdJeV3cOfmkwAA35RNLums7+l3hT7JrWPEdC2LaE98TYBxLPzGwxhoicED2xfuDPx
80bSRAsouQOsghl8WciHJgBCYrbdXR1Lf12G6VfT4H5/KkkghHiGCqsM1n3ZDSu3dipkwPU1SKot
L9/cOrxT2yhBMxqVLOl5NKeYm3q+ZkQlF0yt0z39pOF+KpkWGECx1xblaTt7/lnU5sac/emGoblW
miAVTqvRpXJ0MK2BXTWePv0U+6LRZPiQVblCHiYbkJ80zlMdRoOpkHf13V3Sgj7OphynRnVCKchh
AB2SkEl8jsm47lqSPr3+vqNavWgcF4Zeq085QNnOBSADg7rta67bLOjXHs6XRcLhclMHwbAzJuB3
vePukhaA5ATZf6ckWY5mGiZnPym/U99Ym7PeW/QsHSiZsfbU6dVvOSsAid0yWC9X7sgNjPS3J09t
bXXdS+FCwQ4DQowbJ1iFg7JXdpsBww3UY2h4+dpvxGtOaDrC8Pac181n1fJaw2DWI3MgpzVDP71I
wQWAx+Ggh4CjqAcb/mqw0yrjOjZ6dmuD/Be+upSAHJSFlT6mB7hWt1HzhgNz9pdIxfj4RjPbSThl
oCn36ZAeR4tpxJQb5bFzvHeRyWdBmi2bERlvKSyDdWyhc3AaosBdNby00MnXupeog+D8tOh07z7S
scG2QfYWQhLYuloNY5XNeaM1FU+/tsqlVnpb4E/moRflQyhsaCzc2OsxI1tA69IPzTQV73Hq7kxN
qD2ixmhhYFskR6Ej9w+gDKT5hyjQ6BrKk9dP9o4MKD/K1AWV7QaP4A/RgO1m3HTUzsLM/KND4uai
8yL/TFOkOY6Ff5Hp9KYqFHjJKosrfdtDEr0DZ4NYGUAjlJuh3AvBQM1kl8ccSXFtJma0tJL64Dmt
3GU6zirZiefakh5FUkwiKwjhceC1FbYIz/5vVV8GkoMPhVtDxEjXdjdfLRrue348SVxajeDaShDR
Gbu8sup7us4aRon1wATVC+kKNI7yNkrHBUA75Fmjxt7iraHYKITYORY3Zt1KtcVDvNHDwT9Ug2yv
taJriC2g2UTOCPJy1tZmcwwDDfYkErjZvekbOm+wLaqxXQQ9R9CEAwdJ9RzQIHQTQyF0cCA4Zth7
AUn6MZCOwbOchwjcFeOD6kEmSq4msJp1MdwZiGosGEobN/LqfZ2YIG3c6Cu1RPhOTitQ7AHYuA6e
SQ/wFLgNJxE4hAd6ih2ElON3UDce+XihQ0y2RjOqA78qc+PeqtH5W4G/0TscPx6TGlOyP3kmES2D
UnQqscJu8/RtjJDEFyNLh6lcNmPknB07CwL1ZQ9kjnetdzYRbsih74j4VLJmSl6iVi/0oy1Rv9WT
d1FwuhY/w5+4vRRJO61Tkkg3hsc5BWAE7iSkgPtdbm0HR1abH6NAEzM3QPLDwQ4/wJzksqkIQqZ5
dlCkqaFPMy+6P5DojLuTG7V9srT7MSutJf2z6KrLMt6Q0rCkSwfmRjOJ+PMqufMt7YzXm/PWhypK
89TV6miOUX/XNFdsH9c6Kd49GP0r2VLbl2zLeQRYpUOITLQbBGPmpJ6zBz49rIQynN0Q9m9/uOMi
3dzCSm0XPsGmIIJ2EHixPBqKgX1hEVYXwsvvCjEtqwgRWq1716bKvkNWh71O0YDf22w3TkMYsq9F
zq6L6naV6joHiU7DOvk76af2SjkPFFZr9KVT+YwB8e123gDqznPByw3YW4byWOnucGkzP92y2MGC
AUzmKBDhkR1aj2EzrHSJkAsNJyvxjG1EtQglqsAqp098ANlw8u1o2rvm+Nk7jEygH+oIfbTVyDK/
H5yKThP2mSPsDn/eobRLpEbaio3/kZuxflNPvGhg2oC2ctwTk+8a286jBM6be6uKmzdwp9hPAbYG
Y1FhFaw6WkChu+s0v72leXi0tWA7eG5zZzXDyR3QUym79tdOPOH6okvFzfjE4QhWwYde0/ALrbE/
6aoG4IQK3YF80innKxC4UyqbaJyS6IA9rgTGqgi5daYddFFa89SItVaKZJU6boaQGk5M5u8KDbd4
phhKFEiUL7n6bkTePIW2pJmVZCeodQD84Y/mpfblWVN8LhFK633KbeDApAW3zCZ0MvQS/0km64fO
t74GmYPjMvp6jdOezs3Qg6uY2BhkoieP8GAYJF2pe0jUM6d1L8KazcC8SUDVLVEkS4LKqSn0sN2p
HPqzeeT6QAhOyENfoL4dglFbQDHX1oVeHNrOq9Y0yLQ9zUoWz065hzp3iK3h8OcAj1+ETcMOTqYU
VRo4sGRXTC6vVCD3lOO4KvKU7gY/tYZwH6QtYLZ2Hep6eUxKFW9IWCKDGNJ77rWndLQzvI5edl9L
OKRjMhyzLPC2FgXIdoQdFBPttxVh8WJyvFtUbZEyMtfXFhJT1rzUXZq1/t5Af3yS9A4po+rfcZoz
tPZMKBi04aahZcMrKqZfSgZUXM0nbA+16QKLimrSthaS433kpdWmcwyx1YaCaYfVayuXqEciO5QD
TopGZhxP+T1qcQGpsBNnAODs8lxZJ7vtfyUA1wA4AydNQWfM8aNQLNhFKmy32G/2BBXepXgoV01p
g4aPGPrUMNZOPdNLDk7aPgZ8AXHLudal/kysUnqXBocu3weRrW3hCVyzSYBVUBRgY4CgWfb13Yg5
ddUYYloFWYgDVrfmZODUvi9TzbyIpl/mFe0Ao5HFxsN6ch2Sur+OONSIL5B3lTSJxFBM/u2ICPTe
cufmUmpc6/lBSweEn3nM3jH/kSEZoRoJuAt/IoYhCMdp3RAVvY6ods7RJC9xk/e3Zjd1DT04LzVu
xjwL8mMQhD9/1wkAB+MInIT5P8/WMYfHNI2Le70fQSjJ4ZHcFW0fGKJa+qssNNWLaTvqomb+aDhV
6sWwfQdFMc/656v5LKnxZEmRFIPrUkEsdqHv3wINKDfRkqum1l+sPkcFMjdHa6ISc1TEI0AuOdJ4
HzPrAe0EJwcrYWUrd2apxTeszKy0+nT8Gff/j+TvX0n+0Hr9C8lfmX9k8cdf1X58xx9qP9v4B8na
jnAdYaFZowHwT7Gfpf/DZ9QqPNNzf76EOumfWj+DL9Gf8Bn6CFp0Dj/uP7V/mvEPx+Hv0Lch55mF
Ku5/R/xnmmIWrv0/EZRnYIvBjQQg16AFRrgeasQ/C9tA+BleZyEryBwG16NNlHmWN9W7Cl2a+p7m
3emqbe7sFsXDzxd41szQgrK8tGaZwI/A3PvzBbvQR9pzgThJ4guurpJPXetU77D6UVbF2kKhIDxM
bu89ITrciDjX3hzgRRtM20DPiMl5Y/6SMep5s0NN7Koa+dzPX6fhuDcdNd0MK2SsDMOTZ5xurb6P
nxpde0/CIvgkA/Auze3oJcYyu1ESzW7WIYhwpzR4KjOK4n7EqNAY1lrQVS6YNq+nvEuvejcMp1SW
b9Jp10Y6Fu/EyhkrepAK0FRgr8sW0Qj5f9qSjm9D53Z07lLD7A+JCQfIprJ6LrSANPk2+bLr5NHy
cXplvPQDDWusYQ1tctRF7kEVaCJoXkawbqec/iH9hQ5Hlukb6dkshqOeJ+ZnYsx9DTNsb6SVyZ3s
WzJxrDy4GQpFnOWl4rOKwgtbR/WiyTjfeLWhDhXzuHtl5nDKwm3QOe4vyMmSxK1vAsDoAcVm9ITL
dbbdYgpyIQud0fMAbcFq++wV08vPvw2Dbg1eoP+wPfgkcaP392lCjaeFJruuOcQPcuwuRmaTf2aM
4cGs02GveqCHltdm6xwm8bZLgvF5KgywO+j2DpqXP3utHI++dLoVogzxoKdFt57A4twNMelPWgU0
shg0a0vEcM7ukKb7wPHHgyPVxAmQP/58gZXO2k668M+tlQyboocdWeNvJhCp4hycGDASEs2+NfA+
lkMvo+fSbNxFP3jy1e4B25N56Oh2/0LjW19iEmiuTmU76yJjcqQqDTp4PqWHWLPyExgKbSPsrrlv
Ub+vKt6qJz5b9trEEu9Z4z70Ven9DrQXbnH40o4ie8lw3M9udH/3oxO+kkKi2LZH58oBk+CvYl2a
UQYK3cGP1CXiiJA+OUwY+PcAnx1s4723seraJ/lhxJ7sK3mzKAmWaHIyTsShBFQz1h8KWxAmZOe7
17JVQmxGzJnvlEFDjRYdIRLC7tWnO5D71XjpG8cdykXYJU9CFrNLoBwfDEUdWdL7veAgYFuGz9g4
XM7l0Hab2B7bh9onsJcUKvGc9SRq1nZq/vLltG9sE1iv7+7c0uZg5qTtfRaE/ns9wsyrdC9+Smdl
cDmYBJHZTrUl8E0ciV0wDxyyk500OyIcOWuvR1A/F334P1yd2VLjwLZtv0gR6ptXjDvcYQM28KKA
olAvZapLSV9/h1z7nH3iPpQCGQMuW8pmrTnHRKeUAuOoGkf+aYvkCR9meIMHn63MCm+2E89X3Cy0
66XkGbq9KjQVffg12Cu8YvN/jbokon//KTPASyNvlMcuM61lqZzqAnHFWVhZZV9dISnc5471VVnW
ERMnEOeyfSePBZM2IUAsAFznQqLerEoLvvNUEgseud5CKis/m1pOLaMK9R1IQbHLgCeskT5Zz6Ht
x48Wq5gbjYfflsylv0U303c92g1T6W/T0WJHYE8EmRRSfwWbyl3i1P3RxWi4sXzCIKSN3MZuyuDZ
tfGx145EjChmon2gvpRnSVIe5HgArG9jfIN0HhqG/AwMAy+45/5xChrWrELcM4vQahuRArTuTRG/
+cL41HHQ7GmZtPQ4PQw2Yxyd4Vb7B5gcObeAOX5ONVDWGEsCCcy9R10ITdb/9w2DEsG/n0j1bPr3
E6aoPlrMyU9VyivvRf2dGFr6YXhRt4yizIct3GYfLilzlZ9EN8eKGQH0BlRH52UfWq08li7kfmiG
LV4tMW3vjyOpIO2TDKrV/bcN43AIoq8yDcqj7jf2SykiH43jMK4MxGkvGHKDvR1ZH/dvmvMzBKA1
SibB8f4E6Xv4P1ouFE20v6NHemhLF4mqge+ciOGtLqPX8o/Hhxrps2H3Es0op9ZQ78mf714I9Oq2
gxNcAx1BFuFl2s1BQMaNYmkrEcIhjzOmQNGZ1SmJkuxNUKhqbL9kGzOwhL//BAxVtiohEej3UwUj
3Bl0FIn1YD7bg7jdH+6UCNdZa9Mhn/9MQSED45gqDp0nYeVe73+N4ijlypILNS8LYyEj6tad7G4Y
irUL22b4ajJCfTY/XuTiOaM79OqBd+nD2iM3rAkO+NrYZutl8ewQCrWEx6ZTKUYea4a6eBtiMiYx
Xa6yIMo+Iv2kM1z96AVdErykzjOZn842Rpa4SodKvLV++9kBXv2Q0Xh5j8ehvXaV21zyDLoZmt4r
nQb7iOzxXI3OztHJJs20wXiGFw72QAWkPtAuekDDGF0j9u4khufGCYg0oQ2MDTzZV2he6mYlC7O8
jAHV4Ix0+o80Ta4UqiiyJ8P02urPlqanf0XPgOVVffZW+pVa6tqYoyGlVFbRnF+zGNLOvqkVC6cn
nK0p7M2EGRgUjNia6Aq/UL2QLC5dsJGIj7bYriE/Cdd5TSN4zFnYO9dO2AZ5ro737nh0gftej76k
5by3biP+UKU6xs0I3770nR32n0eKJQMAkX5iEmGaj6C+HxzMj1hgg+bTpyuNj0L7E89sZ0sNtGkm
DcwfU0Dj1QH5FO2wHetB2xa+3e6wDpSbCO3ZQQVUeqU92Ces4nJZqbK4VETskksceUAAbGjCfWvc
8vvMwcf72eTMg7bw/7AHJBmygkaDghspFIoTolKWKI5E8jAxoZo4hhaUZbKL45objeivv0AD6X+3
zV80VztAIN6PiYYAbWfzQ8TXqTT5vWM2nEtCXf+Mhf4yBUXwHbraG9mc7ber9ZB8ivCLfM+v0Rj7
r94x/hRREX2B8vg1smb4LAPuTDmYyWeZkljgCzXtBC66hcJM/pgMst0HvjOewlpSqM6m4VsG+tZx
6/rGQERYmMmKze0MAOVWeaLbhIE1k/GLKXWS6oO2umU2MkNsrOEXRLGjBXQ4IuBnLgP7WUJvxkKD
xswqGvPFKzrnE8Y8MjK7K6/syAlcI3vpYo+AHiO3BfnjpvGmtaCHhKyCMq9pngh2JSF7KMM9zCF/
VYjAOekwLWBRu9qFVhupPnUTXaKUasks7LXSpvs71OciUslPl6HeQoZTXxhxCfDK2JvHyumWfBL9
LZxKxZWf3nnp/U33C8BwtnGpyTa61Lbc3p9VZ122a3Q0pffTTqcfR4nTWd9PuT4KRLuDPN5PCSqT
vE+3vuw0RM2kwrBcIBVM9C8KTdGKCyhal25fvw9oSD1nRBJWOuPFMtPj/eHYpf6IU5dSBuuSdwDR
SOLybARdmR9bdDUHWcv+MSXP5SMzo23EKP8DY+MdzXt21d1eI4DNwTP+v09lsSOXoJz0bSyqlZqG
+KfVsJj2TaIxSLlyU2lM9NLpcipDJGDcn+JLf6WP1vSBg52RLtKnvScx3gxUI0H8ehCRgffcnxoN
yGdzgwqpqvmwIsIz1n3RZK8qn9F+kGS9MrimSQAvoKdYzLoyuBpwUJaBN4OtoEAsYMKVn3p8YP7O
P6ZiHDcaqODV/WE8AMzwwXiNojp7CsskWv57fGLh3PF3jFB6u660tX+/Br78lzUY3nmqMuoxDYJq
qmvlpxel5OogSzxNFdwjyDYtE4q1GoXmXiLXtDapHOtHGgLVld/G2tGE0wMuTlwRcIMKMdACm3AS
rgMbrwXBuQ1JL9FPo3vFIWGtsExaeyBcsIFm2Puse3FWIlvNm1ek9tHZDbKVFRrjExEkNSWmRD6P
mDmOOhHO9zNUlRVFdXffhV65D1DgbWtUySrLumOtuu7YIBc/psRcocGkRjQ/Hohm4dOnehZ50q9s
JQGO8dFf7oeKui8RX+VzaoNfSGo18faZJM9KVrrlUGcvfq+lL7O+y3Bl+Hw/Mxwbnp4EihVEZryK
iGpYDQV0Jl2QvGfIOLhhVM4XmbS0Xcg8eBsIqtKbKblWsXpBXTpuJoHW3Ok0/wOQkPlgCGM4hnWB
P0SrvosaqUeKH+ORllzIktToN93AKjehx6+rPP0oIq3dkHoHd5+g0w/PbN/zRGvPSQH3bfQCICzz
01LVMQ5AIlpD79zYstMu2owU7bXQ/fHldcpb8QfeJZLHONOf67arkBV05roKUZM7ZWdvQr3f3V8P
siZnqfLc24AZ6z9oId0f7ju72aC+yVHVpf4HrZkN/vbyTTYIE5o6oo1i1Ki15x2aoSfdtjbhBuHg
HyFBexNgCgMIqSOqNcBhcnOZsZ96sl5Bfowz4GhGPKY28c+hax2rIa4+Ea+diiQJXoLYC3c1tVoC
IEl1wb6Eesj2iZwIh54xx5bq4Nt5vWz8ul9qOrGovPxyVzvdEV+ve4JTZe2rNj8kNtsQ0ebubpBG
sANDxdRf9tWLmzI80n8ktAkAMwLy4FsQYvYeaE6+QEZoQ6j3k6UbxPUpl/G0VvTDTJvMDTzf3Ydj
g6eV9rtLj3Q78j1IKABHcj23jy7RUCEIa6hN3SWC+PBLgfOCWKjeKoBtSxUq95gY0TKwE8kFzxnm
zn7bung+gtRkf2ezV4cqg95XatsqCMwXI/liSI0PEGZdSn+R89GbfYqgVWk8HUxC4ZBX4CJVPHQp
oQcWqTKn3mpfyBcgdDTjnr4PsuZAdrghFAHvE/HZE2nQVId+gxlZIrXsq9cmEl69Bso1l9iqmaKt
ZenGn4EtB40SFMN90IPwj/Nd2qq3WEOKSdqEOExlv/cQgsfmmD7ZoYo5o89j5mSRT8IxGPrJa65s
e3xvRuCvkhZ54ptf9kA83/xFy2Tul4V1Emw6qf0kS0eF47dmEvdClK86lvS1Vl7pfVcxU5DNov7J
i9Swi2gKrHHVp89ViXZSou4ddZ1WFwloJ13Hn9a7LsgUYDND6T/psUp3eiK+UtJ1AFUE+XOJT+9f
3WmMyDSt+UOHQSBqZxVGN1ln2o9Msa0o0cOF8xGNas3KzdR4M3ykCQIY2P5+qtLhoawSNNVeFJ5E
WH3eH+6kM+EMjDQaI+3VzmEGGb5bXsKoi55yd1TZpjLdR89RAalXKb1LVuMuGGaEFyAB9kPc9/uc
Zfr+fvrfA8kufLcYvoHDJmvNq39ctMEwvVz9nI2uB7klPBhup58xi+vnCLnEU5hCVEh8Jz1Kq+A6
QeOMZNc7xMGnIM9ufz+xVNOvtBGgeh6U7llfuo5pne9fR2MmEbmx2BOjGZ/Nso7PmZHmC7eWTLK1
mx4bWGNHq3e8tXBygP5aczYNrXnps9LaB4ioF/C7ok8x+1hgGhXrFMnRAz4W59lRccZ4SUZgI51n
rMuU7hWYkybH4ZEV1YSC3oeu2dZEqrjDtP/3GHP2o4X8FodB1h50Ln5Ih7SXu9bDtqW8fWlJ74y4
NefWJV1cQ9YFsMA0o109hrfQdhrg0HGDazJ1Hj2/s66+hx7GC70cOLlP297C82+G5opWeH7V/OQl
BjRdsGq6UAldQQVvLkUNCdmaAgHjntNgDrcFF0PeVECQUps26h3KvqLkoegqdX3wGagxOaCY+9Tr
jzKh6YUVyQib2SUbmSfTqqAT+/Ebqcr5A6qwGVpEYNosKQ102VATNNDIkcud0xd78BqCDjsF3i4w
Fw70qmNmV9UJ9kh50qBObNNJfYlaO/ii2Q3RaK7YkXh0Uiu1b8JhWNKZ3UBLxKszdMbWmzS0XoN8
07RoX/r+uCfK2z0ArOHmi1O6tqnIULQAFumdaE9b9VDTXd7cz/57sOVQLiMwDKxGMXVgUOBQW+UO
xlKE/YPp0nTq4NROjTqSlA5c2AxOyRC/su1xD6PtkS6sec2jwZX2psSkP7FRQKAGjHRV0R99cAzB
ams+oF8RO3zXpF+1OBb7Nmkv7kQDHqB1uC7Krr1kEiccMaTrCrDsLtG8FhKV9NVSpWmzAK4PESJj
oTDohv1KDHu8oQCwtE2cLfeXKeZX55TFf2YlQnpBoBoApFLERx96G90GGy2+dBBnOlXk40Dh8Yil
26KD8bHNB3SfWAKPYYPxjVvI/DYwAAmPvV6s/eaOTRwnKBdiG3qSa1skIU2KM2gM8cl0pGnO4ObX
nA7sIkATjDOgYXJE07ECLpKdcJLDGS6aAw6FbGWHsfdY6SmMx340HnWaRDCXGNSKCF1D6Zqwb+bD
5EDXjEEgPTm0xVc5BYiVrIPpVjHjPUzD0BysHheqz30HPqOZDllC9KvPRhMVBKf3A4Bedgqw8TbG
/GS9RU+CumG6+TCOi9xtN5EBehCfPi97aMdtoxftW2/5uDBwvZPF6DRvGmr6pU/Xq8kRkmqxzSSC
TQIbDRHAj4r1wWqKvD2xffGn60OflqlWbkrD+qDnEB7vh0mQVypr87thAf1YSLN8G4YZA+v17Ex5
13Zy0MIFzbhr00/mn3ag6Cl7LDTYnsdCZi+xSXvYAVZLqpV3HIapuHZFtqOIIs/3M9kHAOf6CB25
i8up6k6W3x/qqqIWWNl/6eyH3MOts276QicDT2u2LSVQV2opIqoYEacRBS6gFzyFsd4TmSf7cSFM
A23NDGys4pWab07H76qCY5SBYW1QVY4p6wwciF89yWIHDOntzfyTBHp2k5MVHrs8/I0wse0qM/iV
jiSOK7PJpXLoHD+hdSCAqkUnblfPHsD+xLB24VBcawtvHiZGe5d061j6yJZ6gy1GaYz7WYnt4sI6
unP7lmCffoVi/7d21UiSNgo46SocBsGfYDAHOCFTfzUH4nB1/JX7+2lvm1fyBpqlXXG3bC3Ey7cy
Q+mDoPXgenrzIPgkDy1ayUOCB7IKTf6jvY0O9G4uuX8jCEGMAcJd3h8yMSngwAqclV4ipJ6quuHa
8ArAs5N2FiDh1mMKV1bvdBeQtktchi6aK/yV+q2M+uHZhTcUtVH9Fri01ZWjE24kQI3zuWcEXOVI
JeZDaqrmVGcwuu7fCBNEztUAg0e0MmeJlBskLI7YVxSmTyzoBsHJXbKPpywhwD2z12mB5swLm/Q2
JerXEQgZ7urxuqj2unQwx7r9fw7R/Jgon40RAm9aUU6Yd95+NdOMPgp3jnJt1Lic8gSD1ZT/TgKw
lxOkBkkrBkk1RmtvNC9OT5HmTI/EgKirRXAW+1PW/d4IWAagKGwLg/0U433W7fG9JQ8YfsxVW2Rv
KbaHdeYR0UPXWX+cIlpNutJ+67Y2dm351y6oTISwDxbI5Ojh+yJcdQg8dng8g12ttyRyUlq4PwRJ
ey2paC1GwmKXHS7YZDH2dL2Qi9EJ0yNWF4TNP/qeCzILQcXWBCz4dj8d/NeoT8wnOnnJizS6d1D/
yRftNbHA7OwfzF6kzwovkp/qu3AaXuqhCtd1Bz3nfrCpZXb4l7JbPiGlsBWFNfIzg6ciiPwL0RJy
b4z6+yRc4NqGh/Hf4RZBDNO8RiJqPqvwy2z+2ReBtAOyejHTTxkbHaJnx36ZBufEVnhjWSL4QkGH
QgvXpIbCe+0FILCD1iMCmHmEKJJhOt4Pbmz4+6n2HhpFPjPpJuNOjvS9vLhzn7Fz1zABwbEVpq/I
IlHTa5iAU/ZCJLWKwWw3mkwwsTyKVMDZ03VnA/yJClvwVjhp96KB3JWWXl3NOlRw6+Qptaha0+P/
cBoLbnmRzoGBbXn1B0rnFuK9Bxq55dV1qEe7Jttq2yTJsbAsZAYqhHCtkReyK4dhkZeWOni0/VY1
ph7EupF807tu4zEXne9nXPaX2h0aLFsWDGhCTRjisWUMiJblo5FhWwflT44K/q2lOwTlgfKO2KVE
1iOQRf0nox3pHfW1CWmNNp24uf1NOKiPciOtD4XlyIMczfLQrO5f3x+tU2PtqiRFtWhHhMzDX+uT
LuPng5ytebYgWI3/KUkIiO9w6KGbMDaBF0CH1EP7Xcy69MZBUG+1GL96M6RMnFXJcuIdWokAaaXf
Tl+Qg+OlHSDa0EOBZy+coJ1o5b4LMHpUUbuiMJLsCj1eijFD4Vza9VlPqnJVjzZRk3mAF8CPXqs6
BF2gdnVRJ6fIhb4dOhxqy1oj0Xd3NrmMLawn+MGefupbuAw1FulotpKvoEZECzos7sJrXMrVhVvd
ggGyRqMHxWoM8JOUTQz5OP93nJiBZDMN4I77fidroVAUDt1Lbgnjwcsq/Q83HjGMQf6ryZGBmYgI
L6FUZzU0OGM+9ycH6MArZBbjHgi5Lr1HQULKibKsewqznEWi7q3ronh34ib4QNVl4t+i0UlhunoV
sb4nT+db+EG/iYuB4OKJdo1RVtdWJ1AgaPqLO7tfo502uPEulywNZZMQmpJHebQ1xFSSy+2XO6rV
3wW9yA11QodcECdpnlrTf25dWUCi+J+DAUK9oayvmxPpoe3/PYj5tAnHvWzhd9j4kEHeOT4kMqD3
Oksbv/aSTT3UzgslA/OpYqMFykuzX1J4vBu9Jx7Ft8avxjLqv85s9Z1plQ+D768aoeo/Fuw8Esc0
45qEZNlRP9OfhGkdss4Mz+RLdrgnkAcXbpCQUYf4IydBDhde9jUIRnVp6OOyoWS+HfP2lRHA+jQp
BczWA7nvKZxfpJ99dm1ofvoO92KaGcnBH7zpPNb6Lws8qm2qeXPhk2VeP356CWz7Im7aj2gmq8fd
IN6pFyLsS638xtgWLWJtTK9hW9QLN/ZJbxvDfCOi4ssmlfTHIP+ta6rmU8tJeDKi1jhiHzSfaHEP
q4lNyKtK+O+DsEm+JQxZK4hW5jTWt9EJ5WYKTMSrY1URT7hr87H6IgJoxtRiCSwYysmexObTZekG
0vqIldjIX/p0oisHtK6fmnGbB2RQDR5Wmbj1b0GtGTunwrarT4m+JuKmWdzLg1mAzWNmwjtLdAM+
Tp9kfGY7BH/ZS8Z97VXaIcP+hIGHZkZTsvA0iOMWntNfU2prj+ZACH0gDXc9aubSKEh3B2tpXzAA
G9tK9+qVSM3uHcjOiiK02BnU1hZNZTt73c2cvTQhj3eON765iXqsR1N7H6d02AhKlkvaSdp7M9Xf
/gBoR2cR92xN7uf9YVb71tLlc97YbRZ98N9YpjLRkbYkDt58PVsAotRgUAfjYujp+dRtH17tGK/9
/FvpuxTbuKyz5f1vUgGh+SgJkQywApxD+1fXSQ/LBQHfLPzWZTIkj6VqrHXgk7k8S2QQ7a0n+rML
GsvNYWLz9RRk+S+lAoYLUy8+ikGfN8RfYIK7k52Z2pJtSLtT6OIe0sT2l6FwtsJnoYfDzw3acU8J
WOKaR01iOJShBkrL20QkEg1pmcIYIViJizta1wGd6UwQyzzG/pOdu/lCOfhwzMjWXuLmD+EW9oZK
uY+bzc4/NMuFTpKp9Jmdm3ooDSIRaGsX27nEkwzhtDYT+M9Uy6sfsy+ZQIH3PLbIXyHWh+cyto5i
LBwYMY37OLjHsh6pe9qkMncA84BH440W9TbqwxMZovu8m8Klk4uJIF/RnqJ21BfSTj4rUfS4oOUa
JZ156TohNmQmQ72N7G4VQpB5nBD4n0IMxYyVZooUftwC/msv90OqrIashAC0uQd3bOwtcWxbLn6M
Z3JnyE48pAaXWzpZP2yT6X2WcqNCHHXxYCFMl9pNi1udzCR8hC2qv5W2deAxH/O0U+sm9O29+k7S
qXhSjF5aQuGg8c9s+kqMFpXLG0QIsxUbxRq9yC30DOfSkYh+CScNewcX7SblA71MA3ggYXQSDIyx
j6Ps9/6wPz/f1P/QiHoxlHqcYgS/DhWjJYurhAZj+ddqASOj2NqkkfGmDGeZFWAr7SD8cczuHMkJ
AoMI2sdBzUYfpzcBwkjSa4cqPRCOM5Ke6yFE7DLjOhEwwgaRl+pOzaEqMAXpZfxVOrw23Hj1so0S
Qrgzk2Rm5tillZT2wZkP968YnXCEY3FkW0B43tAI8zGa9PYYZyOpCSwaFhRM2Y0H+nrotN8CyQuM
jvTLTyntZ4a5SgYmOmXEqCTFQC+o4r2LQqBUkWiOdaAP1HPDrcjL4dHmAiE0Vh4n00zJ5vMepIUm
PQd+txTdkL2E/bOCQ092GjR1vTCfY2rHtyxYuTbMgaQW08n1xQ+W/A/FGvKpGHu1ZdtTLwJ/pt32
+6ifvDVNQmisGW5or4Ly7zy3sFrhXoHCj6iRNbNDmIU+lAQU72s7q78mhzwymzTOjlRTNdJBc0r4
CjJmmyk9/6XHHs1yLGBbGIBSV41c1GVSXRtA19AZEnFs4uGdIOE267xFprz4Fe+usXCJht37XTGT
Lr2SrLhwutYC93BHjs57PWRQPpwo39q4ylZsKZgCgauDw3L3UEHTBzLzylyyhtKeyxjo8QOqZQq6
JJdGxBVQManfaf98lWW/EeySgBjBnoIgVz1Lg7Q2+6BCj1iMfnzSWkGaCtjlR8NTF3YS/jbK8v6c
zIcceZpXVqTC+CxD68qNg4e2qg+lNdwSv4HttAk0cjkHz3jVtcw/FxqhSyoyxlXvB8D9bXz/ltk/
h/Qw1qELSITeFc5u5Z9tamBn4cIy5Pr4pEciHyJSCc8qitMzOzD2EcoVD4Xi85gUuvaQPa7X2faK
Z+iExbqnkWL/oxukcJ8H6y2zrGbX9KIEFq4bS52/+3g/hVdvPUtKzy2LUacZ28dZjsDg0k42lNUq
WFnmy2hLfQX4BkpJRiooRp9zt6G35DzoZpRtTNvzD3NAEjzm/ByJGZBqJTW7lS4796kc1rU1w6aE
C0mw1RXYbYh0UmX0pjwJkUIzj5M9/Miwz59oHU0k8viKIA6nPrsWtHVDtvxQpBGBCB7qPFSQ7VXP
AK9MAmAITwRdzd7+7HUz8DWoG0IDxAYmuSKuBktbjPmYFzJpoLOItRR0M8pBiZNuZ/IsHFsu6SK4
j/fT+3O71EOotU098otEoeRZswIX3RdJc7lKH2MjLh88i/STqs0aXFq1Wk20kPBQ6sdS+OHRHqcF
OsX87ErC3lXvnuguDQcQeYdUFEhZiKim4vdnEKm7zXEKHb0abp1XGecY3+vZr1x7p9C9d/Wwd+9v
ScxYtdVt+aU3fNZ9xY4Xr0qyaSPsejRX0G3x6QnCNFCUp9fG78ZdrEy1oZiC6anNNHpzHOCylPt2
qI8qqcM9os+NtLO/fQnKIByg+3pB5c4jXoVBeFWn4dG3cgNrjz0+hFVUneOiSE7xBL7L18vzP6dC
+BcuQbt2q3Qnsqzdd5BpehtoHjsQaA1Z5ZzLQZf8qmSRhn+NPuqfXT9Axhny5lupatCmz4PQSAoR
ottzMrOYG63zt3cqep1997XpsEyA5c5SF7WDsbFZ2cz8k3eyjbhLvXKNHC88e9iD8DNV5drudRNV
4jYorGlPvsceKzSJn+OonhTgq2XjhH/czEaWBwkBq8QhGUz3nKU+HWezwfiVJd75/pg0Q3ALfrOu
e9t68Ormu9Ol+XS/VyfHmeOlsDjcT8351i3kmookmbIdmvmSz6cPkudesUNpqz7YjPNIUPTcBD37
youjBuKWwLRHUtBZfcmRQ2pVUH3mof0TYSz/8ocA/G6n/oBkOZLdWfx18Ny0SRX+WmTFEHJixggA
Kf9YFYJR+90PhZ8+OOa5FnrDwwYx8rocEQ9mJFf1iEUK2IZmECY/ZZK+BKPTfTMYYq1y3E9DlZhL
Rqf6YD4jRMSp7Vs29ZiVQ19crVAjz9vP/ddUK6AnWa16SQaK5inX0AW2AndZAoKoEq6+nEZlnggz
qFdoBRThAbPepYjbA4FV/tqXmDCCAk2ASQzWTiNAa8uWTD4F8Brp9Tkg9oN+2IX6pDZ1Kqe97dnG
uoUeerDH0F+5TuYeHcTIKyTr2ili1cDF75dnV6GvtMtAXVpSOplEM++ldhJr4amqfAtKnOhl0hgo
iJFam7aevWspMxj6Q+MjoAv3IGRbfvUKZSAGo+8wKs96LYefoaWrp/vlb+9mK7eNYvpbOYV3UdBt
TvxNGri87/G05F1hKipCcARAkDDolfrSKWX/S/7Tk9UM9k9fiWcx1smfLNNuQPW6L3emP9at7n24
mOt4CTHSFI3qsIdZ+EotPaeWreOXQ3HEx8luHwBt/uiJ3rzUVFQf29hvzrDjmmU7Dvkz7spkhTFD
O5opUVQtMpSDg8d6rdVzFdrWmo3GYLIDrVBtsS2aNIUK5FJdbuMcrPLdwN/dTEQd7SHDaWtF4PRh
stCjjZpTH2Vcdih/u+GUlmw2Ytysz5mwkmVH6McF63IPsrCWL00M2ao1DfPVsvKWtDwtuRYS/Evj
xuPNsoFxMd7GH92snvJQfn4KOX3rOY7dqk1fpYVESzQkrdrV+FfRjxWxoLzshaS8eW6K9mq8/Xvf
CSNinYBeFKEU1wOregjjAyMl9U0IwH3ut3+tyDrEdoJe3fReE1cm34r7itSy/nPUaA3KUQXv9kTR
qzK89mZHpvaQeUH41gmgYIbQhlc1UnFv9LF4MfsMw2mfBmcTE9kSxLb+3ECtXZagTU4dnKVVB1Th
qOM5WDdgVw66JKOmSsNkL3O2StDrkl3D5LOlVZ8+Yfx1nih5F9sxiZydRIW0qQpU1rVM1VrSDzrU
2mSx4rKSU8BwvFLkRT6jeJbLQrjqTE/fJFoCTXCgGqg/U5a/orCb6ErB64UNkS4oGGhXm13ng/St
/t30ycOSTh99jlzWkW9MX2mU38CFln9cbTpVDbRFW5rg7h39V5/KZYjpA+1ZObOXqiqlv7z49/YH
LmWncBbDGcz2XuuhUmNmVFaY/LKt2HWuan7qNjhj1je/Kzv88NBef9UaeSxjbKiP2oTgpvwmotqD
ZgJ3uboWAcrGVon0DV4F0AJQNS8OWo9HBh+cnzWZUPFADifTzrC0FVIEzyc1rM+zpz7W4l2ftvGu
S8z/fOW0LbVdEMcEY/7PY/ev3MYvqof/PruZv/1/vvPfpxNFiCvtv8/8//5MQ5FmNdnG+d9v/O/P
3Z93Pw0L4lvpEBEtkWXxTpZjtMNo8Z+D979fFSkJ7lCPEEwKJuXBqo55R/kJZsnOord8ynWj2UfK
Xt3P0Be7JLi0RbnL/WkPpK47TUhyj/nIjibwTnlXYVZIuba7dPSINkuQMwtcu3MlJ1rfH/STPYFE
7IWJBntq4/AnZhVLhkyq5Uc5gBmkqP1Q1nrBtFqJc+5nFtNyxSa9FhvXAgnm5Jp3tgkTHVAYL83W
QXPCBi0uxZvule5eCYwi91NEhO4R5tTrvaYLyb/Zc2WHx8Kvb3BT/LfM9sDmDOoH/GVKoPzU7Fp4
n9tWKvBktaxvvsA6oqPDbo2s2BpRp7/LnrQb28SMrXR30yjuK7fMyL4bCXKxamk9MXUszdgZfwsY
XLTQGwuFnDAxA2DRm5YY6h/cNvaQcjJ+0/p8H5BjNyQ4t3669uRQ71ympKN8JuYOozD5aw/N/Pyq
7unWeG+oqOAosHrcGGyG2Di2u75JfyJEC3aHPJeUgQ4fAM4TTUGT8WXAKngws2XoxHJhlEWC4Co/
QvYJjvY87JtjVG6qmsGGtSZxtRGBur2XaMvEBJ5Q9QZtZ5E5iwrGhAaKC1kGdBkyloYOomjdj+nS
hAfxZOUzELTvSSYbGgT65TGB2r/qnG9D64+Zil6iPAa4Owa4NqmB6XFB2D0Cv6VhnB3qB5fE+y5Z
xywFGVlL6n3G5f+xdybLdSNblv2VtJwjDA7A3QGzyhrc/l72nUhqAmMjoe97fFvN6sdqgYr3nqSI
lConaTUoCzMaRQZvgwvAj5+z99oBnCZmccHjrPJ8zaT9Ef0V6CAlQy604omOEx20Ia82zQjU06Zc
jfoJg1OZz8RUxIAjscGLtCzWQQ88JIya80noJ+U3ck+4d5ZYLr0lZid1rofz3hv0tkIVvcrHtAIe
VwbbvMvyQ0KXppvC7Kyfq+xMuI9lEpcniQoWrhYcvXECLlA5rc1evAec50/zIV4CUzJa+J1syevz
mBYD8qOKanhMIpacQaJ9S4hitKvhczkmODar/kkMpF4kDzpSw5d0BkgdNsPnZG7aXQCVYx3i2gEH
Du4spN9Lcka/ncfhzi7vzEZ4V3hI5t0ggRlkIJ+VCSOz6DIHjMRRBd3nfB7ooDf2fVp+9SPns25h
5dh6Vvsq705oT7fJnB/LriseHbvvN5lZgEerplskNIIgs3JrqAa5Wpc8t3Xt4pImUsHsKk4zQAKZ
DjKuR4JAAimL1y7ROxuPZibn7JYLpDkZzuLQuDdn334cibEb0IVqhiOvjiIOwp2K4LIMUfTYJkNk
FED1qxV4W5itzVM6wIn123w/RFZ3GCI0jD40zb6d3c9BBZcbnMy8wVierfzcNG8VrPaSRC0vlu1L
AQV1VaIkvnbYyJ67OUVD50/6SLNFbEfTOJmlYzzYtWkglPar3dAgjy3VaqToobMCv8rsmivAiP0x
wmPzAH398uN3EXmr67yuygsYa/l119JgrOr7ggjv5yJlj1XpXt7YdYIt3murjTUBUM+zep/AqCUd
kIJLpm8I2ObPqU0Ye5eQQz/47vNsdMfQYZhWJpHzMKm3ABU/+zC5i/lk8DdRfVg0a75y9p+FQvhv
Ltr/JkhbCryKBYAUrWpZcNuw/OT2anpbipOmMwpag219rb3oalZUJ96cPIwEDr4GefbqNa78HIyU
+TKlAeY6UI2yAW45aprs9PHdIFG9u2SD0aJffvOvLz/9Pz/93Xd/8vEQ//q1qJNgj+DzotVVwOYZ
OBzNFPKrly+D04HJ/de/P76zu6A4fXwHCW2y2m3igr3wYA5kGOer6WTZwZma4KZXdjqd+gXEkpBk
sCFYvIagA8Wu7araXLd9C8LJDMJ1f1untnlm+vCWJlmCcUlpSk13TjpTU6sZql0wRXwF4Fudyrh9
gx3dQnwpAJbUC9BXdnUNRnD5NjcEyUfLdz//ppPyb/7/73767VtrMu5KS1Q7X/fjifDj8RS4xFWa
vKWyc7jPqr48fXxHGDKv529+9q//hbJ3y/avOpTLsWlqsH3zVDWrLkU8YfasFRRGE1Q1WcBWtZcv
3/5temYNEjKuT0aaLLyeCXiMEwyvTPqq04AsPV2Jj2Pz8YNcWGyvbJIuA/8o8qClH2g3JzeW4caM
w4xLOjk6A1bzcOhwrfDgH082T0uA9wxXVfutvPg4PcoF3ffxXUHNRqjRirDp8oxPYJP3ib1r0Ml6
DteJlvG3o/RxqMRyqNqbgUYeCxLRSp4gWLHYhslIspZTzKcZuB3KKw3lR0/TGjZQe3IbTckBPgcm
lwf6wBi2ukluRsh3a024BgwLpm1Wz9xNIYM6gEllF1SlZ0VjDdtIMwOLYtM7FXrv6pFOaWjCKAOy
hFOHLx/ftWPOpjGYANxzqw2DoTsREeikJDvz7ccP22DyD1Vxo0k3dVB5v2PdxFTa9a+dNKKtMCpN
EUGUjldk2cGqNJp8tzyMjje/2LF+nk3xAKERBVYxROeTkaRbk5Sc597WO4ly7g2+a8NMPx5vxSIc
GNUhMF21FWGib2qbxldN7i/pAwwEoZ8pCU4TRw7a4oHgvsiJpydbpMd5zLJNORnmOWgS9v4GYVGc
toDmq8y/SNhTkD5gB28dAoPWd16kIMWXzuMqMVRw0WURFOeBGXqUjmToJRq3EtlIzH2JKHeajSuz
+rlyQZEkhlVdeNgFrgQUy/WM3yAYqvE5LYON+4HOdHvvCuvgvo5ACeko2iLoawC7DJ+SGEfK6PiH
dKovWoT460HH1Vst4cMw9vOIZqDesTClIObZmllPNNhyxn6ctsz53W+BFv+fEvALSoD+NSXgf/+v
96Z7f8l/4AQsf/ONE2DLPzzFtG4hAtgm9nhSeIYvTfsf/245fwhp29J1JPmmlpL8zT84AdYflqDE
8PgjJFdMmf/JCbD/cDCAas9zbMDsWqj/UkaQLX+MStFoSPBReJ6tXVuaiCeWAJPv4m/cKdUdk3V6
J61qr/PUH9O7To3Mhpw5MJutZYzji25w1l0jQEFUaoYhiXsJ+OxxjyexzXasmGH1YrSJ+YSJaSDX
l4lQdpspuxbnzLyWTp6c6hLoUAnSq8AZGV308cRUm7s4mZuFg/gCElyWok/fZokQ6l0hK7c3SIHC
6aXM4qmu1w4y4QHDfUytholNi3xA4VgjVQ12oND6fnyVYeboTx7QvO4urBFQm6usbVT2LFIHLigz
sXIQcAfTidaTHSvN8GaOxIR+Hm61ukAiinbZH31C+poRi9mbnqmm91GQIRlMCgutdHGyrelY6vI+
1A7A2caqsmHnoOkK3mtqoOmQ040vv5ZGAvY4DBlW0Y3O6VuuZ7nYP5EGi4JmkzXa1Y4wT+6yXewm
/i73ZZ3sklg100oj5c3OwgkjzdpHDlTWzITLNNngBCdaxDM9qj6EhC4Ce0uLNF77jCuLTyQy9smL
gmDE06WeHo6CXuq8rSUN24eR9MDwPElKx9/17M/Vxk51a53hamK+ZpT0CTZuOKbWtaV9wgsjPVr1
NYom0CUt/dbmydVWOF0Sje6GV1bghsk7slYCTQs0PECDYhcqkcl2aD76KVXjumLNGdZTXMAtnKMJ
nimzpDpG4EU1ubVTWS+rl+HGuzm3MmIgySNHJUvKYviJAZCGrQkFsr0Zu2Zy9i7iGroe0NZQS/hZ
/8y+zeo2aW85XysaumdtFINhdMa+rPAUVQDqkiyhKzmIOn6zQOCZ6d4MdW3D7JEluoDMGuU7mOvJ
I+UisSqcWQ6m5afRjHpMI8lgJvEG0hhB66uuJ9LkAgyrZiyZtXToyDOyqzGGm+mpOd+NykkhSkx4
nao3Pwyx0dNzztPkMS5Jftj7qZaF2DOWT849lDAOuoQ5So9lnWEL4M9jgNAMLmdXMj7XTS0uwkD6
DEuwWprAc0SL12plpxhmQvamlmTv6k3Ilam3R/D28Cbl0KaHmf1+DqgVjdy8B+6ATHEbCPoe+qb1
cbDDaaohyzRcUYi+4rCvwQn2szDIkJ1d5kA7qiAdTJiNsZedEEMmZEk78wAzGLs6n1wU9kQPcTE6
jXHWBNKa8mPA68qLHVzc0DE3bCP96IaURdP3V24nK4wDoGg1vjN4WfJp0lk9PzQVu5BVEgiGO4Oy
i27fVGMDdS4Hx1VyKXtwOKlgZmoer0zJQpczkEzcJJicEuSaw1XaFAVWT+nSE8Ytk7eQLVWI7kuP
xmysazna4l1PFdjkIpG4gypy+khuYMoh6yPbLCO+5/5tDc9NEEn/MR3MRZGExQPEFbOcy2Q2o+o5
GvCJn3J4izSu/HTWV3UM8GurUIKZa/SLibzSWqJErbpwqc17trbnyZCF+a0Fb4PUkTlifLVy7HiC
48SE1LxLXbe4UgBJGUQmNGAtP2ImNLWKrv3cLzA3zWzB3RXKVNE+4BPGbIDUf0a42uulydbCXnw1
g8B7N9DHoqhmPrEI5iAiHGbuepdygoyMHFYSRInDeY43rs3UBcEIG2BKUtPL77izuOmzYu/hE2ab
eMZ1ZyC6Wqmx4y6cIdntVlbhqPo+F03VnRCz0NbxVSHdddQFkfvsdbYtdp3FETmluaIjOkQT4dKE
Po/Mz+rMKTcoT5vwTfDKk5VURnplxWWlttzPkQJlVlMegjYmlQPp8HiUDbho3x6uB8/pXyYsPM7K
hRHClHlKDcpzwO3yIRTads/qSMwZu0nTbMyXzglHgttDD65ykqWBuyELLI33AHua6H5qi/TYpWZy
pF/i64Obdta0duCyfcKgmAcnAFqIVNDLOPmBONky2ighgzdS4rAH0U8xnEu0bfTwZ92TH+N3eVAd
FPZAJsS4hyBIDk3z1WrbBmtywqV6LRqzMwh8SPL5DKSnaT7ZfPYKczBt/zOwDNlrmA2IM2ZtjgNr
peCP18nEabTFj4ng0JvQTa0x4JNr0RuFX1/3DAOHa8Gz8/pSEhP2bWgucTypZm9hBkrWa/hpmdoY
Q6yjdVnlRsD6M9MbMxvulygKzSrewR0x9Bm6iQawn/BKby11xZK/SvzRwdInCIpZadcY/VvPLuW0
d5ji05wwaiM/Wq2o5cZzwAjvRNSAG65IIIMOT/803n7HXrr+xi36N7pQ1wW9vuY//p2K5zuakbYd
HCQOMRu2qR0HD88S4/ddndIg3xe1O7+igh+S4Iv1sZ7zSKzt0beFvjTNsLvj1VEB9B5ShPH1vxWR
tRTZb/hYaPSFbfM//8efRfcSNfnDPwiTiNrppvtST7dfmi5tvw+l/L/95Z/hlfdTSXjlW9ERUMGj
Bahdf6hTF2rVLwhYf6lrl///z7rW/QPPqAtkUEopNPFI/6xrxR98Uo7p/qOyJfPuz7rWoq41mVqb
GABxiwlNNcoopA35vP/gniCIyaMkVXQbebx/vO8/zw4O2X+a6riwrf7FvtI2YY48keUoTW2LZ2Zh
Y313tjCbrzI7RpyEpNL7xAQMt4Hrw/r658H4m1NyeZAfn0QT+uPp5avjINH+8UkQaxruzCWGAoH7
rodiZqsZsWzmBeJbhMnw/l98PjYKHnJyU9lKS+/n53O9UAE9SUDT6QBmnc4RZTBLfVucVJuhaJKn
Xz+f+DH/jaPosKq4JpsTx3KxOi17h++Oomm0PpoCVkEd0EpiAHvRC3HkY4fnWWcNAE+LG3kWy62H
bnvlwQFY/folLAlzPxxiXsGyM5GCTqdy3J9eAZJoAXAFgTwi1R1ucW9TpGAdJbkGv4nVXIIYf3om
x10WC8ezXFOKn2hpVjOMBRUdKj01UKmWpGU0pUUyi4BTHxernFiRX7+3v5w+juKYkvNKuxg59M/n
qOsL8FSjR5yIm+xtp3t2LTGtK4Vr1UIR9Jsj+ZcrYnk2yQ6U2bt22XH++FmCnJxkVTB7AnAPetjQ
6pNN+l3zm6f5mw9Mso+U2lPAX3hjPz6NPTmN6Tf0nL2R4ViZS9xdDEoxrGfJb1aEH6NFP85ORRCG
S8Amu2CEhz8+VYGtwUtyoVY1bss66nDN20hT/cXHtahe9SZDsO8aJDX8+oP7m1Plhyf+6brHgmFM
Kk55YpactdU0NyqxdnkIpSWkrJyZvP3mGX9e/LgQlaDgdrSpHGnJ5UL97kK0S7vsbcPxqHE7HG0e
cPOyNx6Ilr/0lR+tCzwPAQ78X7/PvzlllKDFsNwDULrbPz1rn8Rc0GzTV0AL84sibtR9gD3Q+M2b
+93T/NSBSFXuLy5o+Ci4e85irZwXp8Ec/psL/K9nppZKORpZMZ0Ty/vp3eDCG5exl7diD0OPzrT7
llBhE9DzarS6Ztj8+uD99exkTeQ/S7IMOX+5uqdiRl6YO3KVT0nnrXLLk8EazRspcITgxRRkY3DE
i40GN+iar1Vreb95wx/X2o+3tB9fwvISvztrHGIqQ49lcmUjvl4PU/eIhCsmaUw6R7dLGcGnwYs1
4K734n0rxvtOgR32a+cZej8jG/Anvzko1l9XFI8LF5WmdiyHLtZyon/3knDIW0ZvoYWmfb7kwFjm
E4pYomKyqN3nfg3woyMdpOyi5kyZcbHtxiy5aDLki3SjOhIcYgcTHs3uxAADkYSAfZI6AhtiCnff
Jn1zlnuGUf3mFP3rFb+8bFcq+mTClUuw9/cvO4q6spXtKIHCJudo0TBuTjWhFck+rBMkjmN0++uz
hwWWh/zxw+MYOexMlKTPRx3z41Pm0stM0dn3lY99IF21XpbO3bowpGe/j1GVu8g4/UIBQ7cbKz6y
PUowgxRe1NuEy05svisE1UVcvrDTDwNxcsC/tZfzABYIn0KcoCtSINVcRLFy2ZrH3zbqiVVL44b7
39wSkKWw8jZbxf1utHHfhb5EJ9xqfaQJuGz//ThLJw20eOkPFCXKXWbqhjuNJA+OyHeMTUpSgQ1S
QBj4I8rZrR0bqfzSgugMf9TObT6qNDM3tdvRI9+D3hfzqZzTVI63cwOrItrMNGGCalUk2MzcfWR3
vopXqP/dhY3y0Srhdrw0Tlqo4b1JwHUQ1gd8krnzNmLBDEoEhmHJmT/5vvuldIIawZ8qsZ2BAP/o
2BAYuPRvkgGl0k36rbNTfOvztB9NH6VKFa0jn0YFRLOPphANCid5GFqCUSDIWWAlVxGCeH1yx9aU
7yB1eKuOayaQAkiKDDVCEkgwXrgCQB3a71Zqtg6ex0hU+L2rIdDmlxADQ3JZYM+NHjObuI1HqWAg
7JgPB1Wwwu4bN8c0A/P2XnRlgtd8zOzKfBpTBEfs+8aqAvHgmmWOgsWPh3pxSdWDKy+M0bDp8ShI
o9nnUDpGezSwgTlv9dgB7MTok3qc4AkBnLjXgiGYW7bPGJqSJ+HQigWNTIgNUjx3cVrS/usRbYpo
9PTjiNISx+tEiXRvEfGIVwDMV5EPaBPCSQJtjowEIbwueUsV8u2QmXvh9KMPFADkAhgdck/aHD55
5xPpk47cQApAqRH3poT+nEUOUYxM8kzRwI5v/dHUZPbhm5yssxb1grmluE/yR8OyNLjv3iTXbcsW
BZNuV4yp3PpzTD9jhZH9CbBguIo99mk7T3S6OIRW2RCv1dBHPgtCBk+IMbscw2gcwWIgdW8aguC+
7c3Gh0EUej4tPfy/A3lAbjVU794s46xd4ZMJki9umLtdzWkZu8WLF3ZTgPkrUt0LlFYXab0QSBUQ
G1RxatN1NOZyF0boGYk0S53mdTb7fDiO5lT5UJVirc9kYLb6JXBEgOR7AsiIOjAWxCE3KRJFbKR5
h9/dILaVMIOirqlT/YFUNU84yn6WYUg/hmxEAnon2ieTKrHUUexHxefIwKiTHXHEO5SL3NHsKQrX
YRRG+SbVwwxJL1Ot4cr0CW9OgsR7HeBQCM07K69QtttnjPCXzlIUM/601kT2mmh6xrI0g2dd965/
boWGaO8crMM4XoWNruxLbvcx7lncco281LEZLM64ZM5MfBkD3Uu/oYk00e87y3VjV9dhlPbZm1UZ
/rHAGhEdyDovHNgyA1iQVU0CaU8EXld0fYkGMS3AcRpqmkf6/l4B9g5tR1Mujt6gJqkSxc5U9Z/H
MO6KK26/XqnXua16shubJCZYNfeDxqfT3gxmfy/ABuxbzFb1jYa7S4hoMoS8k7gyrPk982USGWt6
H7V7JSE8dZ8NHNztvMno08T3c1DVg7+esxJY1KYHrRjGhyITITGVNdo9fB1eN1mPOnDN+jZuJ3gl
q9IEeXjpYEUMnzixLWfPvsT9gpePnRiCQizX5yMftx9/w3//pxvmv1ZHLDceainqTGWKnxdmgCxj
23u+pPU4msc06Upk5EZGaGf7u53I3z8VSylDMah+aln5vqsBpmpSInFzwEl2BQAjcQAso8Hburz3
518vo8si+fMiKk1g2tgDKMV+fldYwBYdKRXQQCwnUiudHOMkVLtfP8vfVQfao70McctWH52Q79/Q
OFMteZQNK6MjkTax30rYeRi98CIU1eIh0r/5sH7eOdLe4OSkEBZ62c79XI7otkaEWs821qI2Lcj0
KFoua7sKSy5ykXeD0V6H3y7vj3f63zX+/X+xA+Zwev6z6bP04v7snF2+ZHTOaN1A+H/5t91LU/zQ
OFv+7FsjzPrDMSUfA2eYVux9LcrsbwNeQ/4hmeIKZrV8WLZwbT7If0x45R9sQiS/pXekpfndhNfj
AQWdsGUDTdtTM5L9qfP1y04Yk4ofrgL2IIs10MZWyouzbFcv5+93F1xssRwy2kLd4L2NEQo3F2v0
TkEBWINm6nf2BydYI5QLCvM8R4fUCfHgUnKuGjscqTPRzC4+sU2FWtRs+wtPRf4RrfHZICxoUFFH
y8Jp3p0kepX2kmHg1jjytMWU1gi8ldcjg6g8hnG6/nj0U1fbr5aXoQUiRHvVNZbYBLJ7RGJOGSkq
tfb9JWLWC4zrsQ8f7LwFn7zIAF07f59iTIjS1sQNk3DToPvsLYnQaD7TuhWwF9E8FjXlEFHM9wlj
b6STbC/VojTUhKBhiwWBC3IXr/Lkn+GHlxixL8t7UaYkdIwWgM2hZkUcEMRjYAB3hUk3917HYQnL
bT3k86Mc99G4Fql2d9U8eAcXgZYZPjpYVraKxZ/EpU+R4l2SEFFEFo4Hu7kKG3ERZPlwqka/vLBy
/zZ2ux2x4PIyKhDj94lKjyr5VApnLfpIPPRhBK8hrXCbJT5mQ4MgRDCRZz54cKjDdbsy6Tevu9S+
7IZxOHPpRs5Q7C8is1t3enpuBN5fD7FNQsETFqO3Jw3gaCZUsVXRu3vV1Mz47AsVEilT+yuKckhZ
Ob09m6mBiR8LECYSOVyyM2WFULgy4xLeWkdaWdhFxXmi8y/EDCNAdG33YPot8XFpqQ5D8FW5k7nT
qjtYZnhfzndZ3k6nIORgRAa8SatJH2Fwzpu6ObQ9bpTeJ2GwJa2blu4rKxU0eONYBvj2q4gbG6cD
kkyHujZVhyiW72NTnLciKzda2/fdZBJ5Z5ev0WBOh7jPqFipjDaV0V9TaNVE+MEDy+s8pYzvnVXh
kI4WD95XH29q5trrAITlBo+qYNtDeumcl9Y672pvA7vomZ7ultlzcwr9+8nCgC/mUu3qkHDsikCk
VcMEicS6LnlSFRyDRq7J1kKKluaftJUdZHMoIn9ckTgc3hTtfDGmxnaqEScukAmk1PWTPVjBIoF4
LjOyxIrQfWPgMq+mAFNCrPNVWLqP6DHPRT8BbHDAsTpDt5Z5/pJ7TXZM7Oxk54Tcx0VUXYVlvyOn
9aslkaB2ctT7gdJ1XTZVi4UODmIZ7YhKHHFwkL9u9/mu8ADSe27B67bjjRoIaofsvXHs9HawGvyk
Ao+mqJdxZL0vB+CrlR+v8Ztu064yT2Srd4y6i2cZV89DliIEz8MHcrwQe46kqfSy8Sns0zv84BOo
R/NR+AKZfvKl69E46bl5IXuMpbQ/GTMK9iokI6Cy95NTPfYGbs5mSMxVA3+AwINmF+RJfchmB8WB
bphCAzPMvRx6qX1l4GXbl7K+xkQT7dlkoKVNO4dLKahBe+u1qcxxSyb2iFohJMa26C6NgsBwS0qo
3xiNIuCndXZfa78nWW9fZCksiuVLw9ByC4jzmTAo6EXa3+YG9V7JMrzS5kQ0r99bwBQVs3uPPKUe
zSchuPPOGYKbOZPmqXdCZMVeaq0ZAR10ld9X3LQ3dRrupqF76fyi20aQTA229yIJYYE0sBZSD2Fw
hIZ8nNDmVvF5Z08NTmR52SgxnJwLP0CvYltZx0S/7HEN8VPm/BdtGFfrUUU3cTiddyxHJ3uhbhDR
25wy+xiHjBvnwSZo1Gn7sxZODxjJE+QRd4ObJlslHSrRPkIlKa022OGWfmprDF3tlPOK6qZbV0le
rcugbE8dH1KJLpTNA65PMdSPNtvyIynGxGPl0M8G2vjMfq4NkXTXNfDSjWcRoU4q+8ZqwMuOFo9c
t817J8r7EsLppi5sHzLF8Dqgu1g7Ji/QGtfRbL7MrvmJDcKVbKbqVDnkNMeFvDCVJigydx/DiBSo
eugZTLgg9w3T39oGp+uYdM66tpXYN13+mWWt33ZlT7hjkntbS3F6Q/38kkN72nFpzTdQcVMCpkoi
/JoVsN5pPwXteRkQKg726CsEBFLAcJmcCrJQTwVC6F2a+w8hhN9zIbN+6zvteYs6htgECUcaHAtR
1IVtIQhi8HGkJ39K8vprHHSCBG1yhjxd1JvIm4YVs/xh2zb5F6U0LL0lL8OT3d5Uz0IMwQEUk1yV
TVkBoJa0ovEqOF3mIo6F4eQlA3dSq0WvSlpBP9pvA8TJg7TTK8hj5MCgMVtNro+VlDCDrCXsPE6+
YOa/KTJpnax8ujXgBs9GdcrnOt8HIwrPeAmZ6m3P2edQLIx+5paZuY+2IdU6sQ6RqEdOgpNZ1lfs
awiMHS22/gEXa5i2WyI2cO6hQ0Fk30KraONgq2zk8nP+CCkysHpo5wBHWte+HqDJYz5NJAyOzgJz
BUJ8akS5Av+9pcy5pwHyGY6hk0C+StU8EPh7rgiHwY7dHsm10Ftw/fSI6vbc1eaRDQIDbWc+S6xl
AU+Jb3GRHlGesL89GN50mRpyr/hcMYHRxrG6iQjVsn2DTnSX0s8/U8i0cWwnxXpY5GwV5rq2jj7R
MRF7MMtspiFr0BTItmou9lkWjusmbe2tEc/XPVjqg1TOBTXi5woRFQA3mlqcORXMGxOsXWtDsemL
apO6S+K2Ygc+chnrqct2Ftf6djHZkD1VrFRVz/uwD99SjxmLgw4JJLK1C+sTfUsDxMoTnclhm1QE
RLeTi6Lc34WDfQPtNds6eediOis2E9SSizLp9Xma5JelNM4V+X6o3mj81N2zkYtPWd/Mq3GI7VUr
GGf4jnOZKfgA4H3XdUEqWQKmhjNnH86wtBp9PWiu165+GMzxKEL4DQP5xEPkttuCXGMG85mUT+SE
gl7C/G7Czl/3JUB/SIiXRmZtOyu1DjOnEJ7La1pWnFwhQXaqJZYkqpv3So5ngrOw8fRdof0XoVoW
qOJ8HPaJB9GokvsBhyyiHuY9gZTGqgT3sG6mW7fK6msv4VY3cQQtGMobS9oVPIsk3DvRvTXF4dpn
T7yTnUOmfF8RM2ArJMt1c6fpi21MjPtzPUznKmvtZUWWtHyJuIwTHN3xRGfJEzWxl1aOKYYpTVuO
b1URF2u0Qq8dUfGjIrByHoS4xP9PJkvSeCzhQ78TPcQOmSuiReNxGzc5b9boaCeYz2Kqw62qs1uH
sd3BmEHqEQ9NLZuM696unG1lUeci4w8vFYKag1vLN7KcinN3QTmLMb7A/OmNa+wuFaC4+LxgOnX5
8SWiStI2cIe552aR4PXaZIQCEZYHCVq1Niy34MyqpvlkQIK+nAo7JxkoIFybdo/h3Bdd9MmORnEd
36I6gfEgYK2AfthO0bORoEKJagJUXAzZkyMORMmTOl34zVZgEt4KL2TiwGKeVPYOXMutndot9s8e
0VZE7rurnwg/MfdIKc9lE68LYH4bNHmaIbMyoSZCxyGZurqiaNoVqb4vskRuCu4MYsASgEQ03wBE
drFeznqbaOgWU2faa8uKuHqNrjnBeavXhZu1a5s+Ifwm6ArzgeEyuYnCgpxGqAoQYh9P3DzS1VaE
1EQ96+uaFAZoufFM79ABG256/hrDbnfNuLWjEtnUDnWG0YsrI/M2A7YrgGV2Wh68wnrP8bauspZZ
RW+t4QZZK2AyhKYgdcPBvWcABrTVd/nBI9IfAB2WYOcUOpvQsI5i5jIolftGwZFttfTrfVhQ+I0H
z0tPSQj9YkSFiws0/uy7Dap0XkRN+cvEkH8Q/JmrBuFjR61JCw46Y72Q1MwjelexMcigDoHIrFOp
eZNQA9gFDU9VM21oZAZrMJfvTJfvRj/aOKTFMvmginYnsS1G69bp8zvfhyiQeROQAclNPDFoUI7m
oe+CM7DXoIbqiIOo+WSUvEPGQIHb6jvmDvSYickKdHFLaBQWlITQw46m6jDuB6g4WQ14KKb22/W1
yrexFx5jIwAUOx4zwnJOU4Xsq/FB4UWD3AKmeug64HiAEo52TGgr/cmzkKNAEMldwbyiDfubxCLh
kVBQBI9Vn64W2Hecp69J5CsShdKekjy7Enxyocpua12CCHSsOyszPw+hDe680OsJjKRBrbocsPxg
ZnxI43wd0doEuQxrX1YHQq/uwTRTsxFhuokM78ZvgnMGKI/1mGOB8a7jmVLHomMaJZfcwmB0sn6g
jg24lP0r3GbJRsbF42RmZ8lkKS4I8DAUCSdCoVRmlSvQUTSh2aFAkcoQaSEzTF3Izca0tkx/7Udg
thJ24SsmR7cdVYoVWVsg6x2iweFzZHNIJk4rssgIJ4zrs3IauY8CeKH1vGoaiJqGySx9eqjylOgL
/ykcgi+e9uFG+psqyreelfhr1gcwifXDIr82YvoGi7q0paRozOCGe9Stwd6IhatCjtxf1mXZUFYC
3mrjcwSMMchc1oTAX6z0X+ao2QuoaUydX40kww/p8z5nq+5XIEIvTN8zt70LDqJyOUWTT0b53J+j
hLsAhnEWOn6F9BYxpMR3Mr8m2r6jCwnCKKXcd54YQOFV70ANI3UW3ggWcGfGHiGpeSNXvppgEnXh
JXfDuxaHNpLgvSjVS8de0BMPJLG8dwU+yNgeEW1HzUEEl/PkMs8FfLppo/Q0jxXeSFrP8ew8aHf6
zBSFvkYBWx5pUCecO41Hhlv312mMLqVrEhNuvzGYegDDuM5biwzUaQHeY6dcz8wemBfNV54xW+fE
c5P0906nOtvbc4uzsya+vBsJhEf6tTI4mbOuv8MH68h+hWL0lilLR2pbibk2+2w6JJnH/an/ko6w
wbsz0yHmUg0duLbxGsr8Z+7U3LZdeRcxotiWRS5WsKBX2hjPyHPPiYZub8OR1bzNDgybqhUKbyzP
dXmRZLGBf3aI1uEMlaSAIeQUF3rAwelN1qExpi0R7AAgOL5pDHgqtvrbiKzWtZWcQt0/c8vVB4Bj
507xfzg6j+VKkSiIfhEReLMFnteTt70hZPGugCrg6+cwG82ie7rVelB1TeZJ4mv7fInGlSFC4CeA
bEHXJr2/7jh4L05317TzmbnZt7GUVxxjdaiP5r9gNB5tgPJBalwqZVP+Gj7laq1O5Bu9CYzkaVEx
3Jka/DbuP9NO4iKZjo22/M1p/jKn/skQgBW2bj6E2BJu36HrLC35FEmsu/Nj5pKXa/mJh6YSRu8Y
igBxLB/GLeTi/CzT2JLpE37w/Kj09dPAGkF4qnW3zN+CnMMb+sxwDv54orvLaA6xM33UHiR+4GPH
0le3QrpcEnA0IrbfNEGO/TIFkrZultd2YtDbpDWx39iN3mDMtAvD7MUw0r0rDKjbgIPDyi/eSRJt
bwtB2nqlD5Fb4bjUbJTh5phPBJ0776oLatynBSsgAyCIlVn3NvCs2AwaccqSgIXvkF/XxbsPjPxh
07L4SqijbT7YrcSGPs9in0pL3CkIy2PKsCzR6ORXPqnZEo/tUGhHjZO7N73Xsvk2pDp6mXeY+uFc
jdMVQwDi56Ww9u3QHDE2wAXtOPSzBKbcJOwI3+vvCv6ZZFvfig3nV2LN3Ok+oyeK44V4NxfutqrW
C1TBAQ2BNsXMNWDdpf2FpSGdznJfbz72uX/qxfQ1rskUUl78Ca2+up13m+sYStnkvq0Q4wp/eZSp
e4+w9K4dTTS7W5AgXRN2XbwtCuoDDjmvVN9Nql7sQl6MaXsnnMmKJCgUyo0waIl9MPVfc2lf3ZR1
ZCJuEpc4iW5snwyXalc61qOvv7eNY++7NIjNSdePLSkjidX0d00jKI4qAYCXdsFmY3R0q+GMlloc
2Tx2O0fSmtYATS/Q49O7bR2AjMSxv/T2UeNp4fgemkujldQHReMxQgyc+zVPhzOGyGoP1MDkmREX
0Q7ZLaIhoK4Vf6Xvp8UzsVtOTEd626cDJOJJ/niF1xGrLGWUcdd3WndqDL35IvQCpM98u8CPPaoG
fbRkW429oH0cpjQ7NY23HqbcxZyT/TJgvAEitKzNVzmKeJyGPF4M97GYYB64t90Y/LExuWjjfMaX
DNkkg4QT6Ht0dw3hfhdmME9jSUyGcvKbIF3OFTq8mQZcJ4xtSsWfoSyfo6eNgmSaY8czfloDYOyC
mR+vUxmhHdri5zlyDLGbMPCE/Ux6COZivNz/WNTyxzCxbTOcyqmpHghiK0+d9ui7lyYxvrwRFrCu
y2NZBgCuFaEyGoq6ULjysVnhymgl+PsaHjqO6pNjTaC06dShge6Y0TAhcPVNqP5A5Dhw5tqyQ7ua
P1qjAIdQSgMrBOPDyVTdkcfzbnCjrC/rs57ckDftn1jQ7ovWEke3TU98F31kSoM5nSTuUAcPippC
xuay8GBUPUM27oEx2Ha75K2dqhTAUedV0I4hEBnzwrSLhJ44z8W2EEVstKRZclxg9ZJ7Di6xU/Oj
mZdvA5CVaF6ZuTsD00NlvUxzAFU/S+/WbuWVWQn1ANjV5+Z4SMR0IUkJmJUuoVLV5KT7biZCV+Eq
wka1Dfs64jxPbsZeus06bkSLIl6ytw9nQ/KjVNl9DwqLoG3apbwrj4y//+zMu3d1h0u/UHclQW1M
L+76fKjfrVplpFkSaqT543B10/VkJNVhJr++N+oPBFRenBWRtlmwaz29mquUB99Wd5pDwlGB0IWd
Rn7yClBsRsJMJ008tMHb1GxdOoh1M2GurGAxphPOxudBrs+YM9kk2Qtw4OZzqy5E1RNKldTUP9D4
eaGtr7UllSDQjDsDqxE/pGnvEE4a8/7AcB5gxplu+9z41ScxFf6d34weViLduCY4MC4+bOfQsZxv
Zun2o8WwpE+ApvFr6evcBR8TwttsXwV99+i5vN4OSoFozSpY/oDxiAWw02NXd84RgLAx90zLv/SG
gbdWPszSWR6gy5ykU32Svf2Oumx9Ddxzb22xXDL/5/uiiJUIkltgXH+2GDLoszzJvl6dALiusd0O
YD4srqW6+m2RZJwNZG7EzzPAmfyDKKb81zeny5To5cckfBXzonUXpp0bdeQJpiWfAPbA/ei7HcFj
MN/btfMx1KR3E+zxeDHXB0efFiZ3y3CgY6S3b5zfvFH6WQPRH5X6wG9HHEikjngvNgtyu9mpE7t1
DolTHWqzXaqwbbIytlZKVY/g8bNt1t4xYVADSR7nAmw8wsdrg+KsMXhzdQAXs9SYhOc4xxdTEOKx
6QL6kQOEEFtWBlFiw/Lz+yetc2HP2jSLMmW/gVt35Vcrns6QKY8ZInEnB2Ax/pmT9o8t/kOBYw58
C/luQMhCD++dj2Nisuu7AjRWHOSgfqquqmNbEPwrhlf03pdNkGiUbCJaK6oQAJvIP6D9ehghJ5Nk
07R+RNb4Qx7b+6AVsUe+T9hlwRz3DB9BcbAisJQ6OfnmTiHVtKmf68GudtY8Q5unHXvs9elTLf5b
XnYiJKwrNF2mCZk3I7rICX/CvxNLhxuSyAYvxp9y58MQOjsHynkwmvgNQ/YFHALQE3ZrNmDtgvnJ
j4kRDLMiLDQCRfHE69ymxHERexa3mgVU0ppJQkf6E+ZpKx4G+WFP6/KB4mOmkz/KtbtNMgD/PSen
6KfiTiFxklCTEI3ZN/hR/woWi81ABobdNi37EoPT0PPBxAtCHQ3/wWCox5avPYrOtuDbbT1msu5K
s6T9hqnCqHc69EgasN2Xt1nTvGe8AUc7cF4SXybXtVa/W27HAU8KPBK0t2g8zFj63b5ZM/+gzAak
CBz1Ff95ScrUBLFlxA4FA1OLJ9f5G6egOsqN3tdus28/0Xf5YovIKcY2yqz+yl3UIFEs0VMW/OhX
n/UoZvQHZU0e4VOCfR1aRxVcbbx3J0YYD9MawGHfsCsk9hJEhtMl1IiSxWunTdtdcqhy1z6knU0a
rd+f9cr6qrcTIQECTY5hEMGYtWkg0ltA8eKBYN8xWmfGUmjrYk9674JzhihMaodMnScp/wy3fkKZ
hGh7RrhAvG+8joOMp8F4SYfcQeIz3DoJ0w4FBCGsiRGIaBq/l46PoEOMBHOcNh22YuJpIqpGu96X
hjyk0nicCuawaGTIfrU23CwjgHnu7ugkC3trcrkRavSgozWicusZjqpFHqzWoMJVLOZK57mq0o7v
lJRG2IXkrDQK8PcA27mYxI48Wit2IF+Ykv9mzBzdwf6Vx5EtUtsmAQsc+Z2AgHIIWYxZeX0XREmA
oq9+oeAtvMiBEQewGGKUO9ZO6tj+Sei+dw2vvHKcXitfzyJt5VpCgEZZRLEXUqh8Z6O53dxjdcEc
d+hmqreU0pYBeRbniM4P8MZ/qL7YJAgL5FS9nkeNdGZUUniyhiJ21t56GleulMJfSRWtphcD8+xN
uyZ046gAE11ca2DmOPunXZlYP6vFN+dCWjsrZjVuQWxdJY6JlbexHH/52aL/zOZ0X7PSOmIu/EaW
eT9VbrDbiBgnkp72JguvvrSGr7luODA9OT6z2Hru0COErsVtMGXt9tzyM7Ytp99BIXqyM59/dz2B
OZL11h2ATMm74U7l56XLhkgkIAW9Le4FYAiH6toyHkW7C2mEOffEG77DPQt4fipvxPYU5DV5BL1p
g6vevkx9voHok5/Z6VkkUAPZPZNNyxJfyFA/y2ohKS4lQ0nSbjkeYHc6kBar7b7SCSM2O/3WJkbb
uDcXotacbqC007G5VdLw9gOYRFzSkHU4m5ZokP8wkskLJSVfaIkvAdC63egRj4qc9wq2NkVgx9EB
tVVFnese0fsEkZclnx0ZG6E7ORMrs4Wn3HceVhhDIaDMJARTXkeM+gLwa1m7x8f2JdESnodCUdKN
oB8d91eV6/to6UWkGu2vm3EqBDZQ236a4qnWNqTrvoNhc1iI9zkFrY5snHi8G/I/3hCu+Y+FblGL
NvJNkO67J7TeTZZIDkN94GMwCaAELpLsdOcBP+CfBZsHiD9IfMtj1znzPtuii0DO5VfwVMujcES7
13o2qpbKr8RQbI54jnl/JtF4JdkvK9tvBHXOzQio48rU+8NkQ9JNHStP1S0U0OzcPEXRmGSyend8
86owzoDoYtKpUjPG2sxcmLrgtuSuSXWLhp78CS03yN/tWqSabf02YiKKFu66XWYlaViMt81qVbtK
5d+ia+YzbKQQnFxz7pNp7xpzc/TYN4LkJmUKHw/DRsL+zssPlD7ogMQkH3srw45oVac+9cOuzdjE
+t5JCIM4cngn8UgtHlK7TrRgZnnXBOVfkwH7XfXpYfTLt7SE/FeAhwrNxRyPKCR0ldQHYtSowSfG
e8FA0Gixrc9hC6qd5bEfN5EpTFuDPgCERjtaZqdZkdmLy5JUpmEd3tgg8HRaHyIn2WyFehRn4B0j
QdbS2HggS0gGhkaj7pZulHctVupo1Lk3Ggy3/NaOVsf0N85Vsx4C/dnwjBVOS0pGGD8Xc+5jjVUQ
SG61R8bP7AJSSj/M2VVGOaS4GzTmwU3vE/YzdfAaLQatDoKXeLaUHeXD5hAwdG46VpVoZ9HLaHob
Enhl3pCg00vnXOSnrYI9TxU6DAmeaWcQ24xl133SM20bknJRDCSqzN3Is+nX3U5P2FzU3r/VMee9
XTE/aTC17rv2Xnpl8fT/FwFKLTTZCzspfM41K270erTxTVubA8Dcp2v1I7c8j56fc5ipeXwwK0iw
jq4E81rI+rYqWUcOt2WJ6brYQtJtNrYs2oy9oeCVTax5xwYwHohOCH4wuszaCfam11cPhd7L234I
YhJOymvrZads5X/uC1tB/EIvONps4oJ/neEl+873OxaWWf3w/xdNZ09nnGFx6xd/dZlR5YCF0d+x
ENEuZkNwoq7l0I8m4sWrvCXlQRFQCKXlvgXAf0Ilgmc4E8YhC5ZDNaELspzgLtiiUHOrBtwGrC9q
0qmKOPq7xxSVbMGL+ZC66rm02RKCwNQw/ovyyZb6o5rpHa1yxohnvRqrgQZnm6ZZwMVv3by68anE
3JFbx6vk9IJwZtcW4iNflH+pZqeLkdCfvXLLwbL7Wxfy2qFtoQ2MPAsCb/kO17kemtjrD2uHVjVg
4Kij0T7qitWuPfo1TfSEmAdOnkEgxQPO4zLykWEcTEPqIUBPmWo5E6Lgu4SOf3Z0w2H40rOjsvms
JkH/VNY68qtlZiRgJD7CjfE79xufA1jrHtBDHiB7uLfFuvk+/EEeeHDWR7YZJEJYHs13EBIC00Vq
RhKzsnSIJp0/Gv6Xb2zpvVVh7Uw7/er4hm4mhO/XrDIf5cw6CY30BeSTFZu5Ye8da4TLn3lROy90
C6W1PM5CaacKNilQjfsZGtBdb1BYdTpplrAV+NZ9ZECbI5KQXwLsZgYEVT5QJnI/FgHEwnx25zh1
dw4/m2nK7mem+kFj7AfPIBvCcZeteihZiTJ16tL+Cc61eBH9fS/FOXdnf89M+GM2BiucBfFrOQvl
k5cvLA42egPRvrulSQ+66WhHD+4Cx3kKli8oH21Y5fFSlO5u6M9j65dXTjYCdOw0aidX4grQXzuX
LUqrVWtULTzygLqbGMeNWQ/g+kgCDVEEIKKa2mGfpGrEUOAyn6dbCWt6eEnyFNOcCEryAVLW5sEj
Zaft5I2RexkDLJqVxrb6A2UFyiJlvPdr+9lmyxLbuDqioBv8ix/kG/fO+tKLXsSVWREzSluoAvbk
w1K8AftUgLytCB9RFfv2mISNpz1PukMcBfppqIzF+0hO+F6x22T9FenA8ACR0NfiK3oqYXPNi/M1
eOqVDB1/lxksc0xvHiPbdEOnZG6EXDwPM9v7qzfkA3drmFRJE9NRRWC1vFNStF6cNiSwmGt7JJ38
YmVFsccsUoeGhyJQzNlBNtqj4XXMjE2ftzTpmUQ7koJ0PdUb4bLK7uxaTYQo8nygUg/hKFjX2gNZ
UerWrl7ZgfgV2EkDHwVu0G4bY+o+hSeoOn/9tXxzwOHokrCkXHi1YmdYitEHtjeGRwwSqP5CyC7G
3kGvXq+QG0sDpac5invwOWZUzu27sTjBIdX2qW4nF9tN+0hDuh9rukcYBlUu4NVyB2qObThBPsgh
52nX6NplhvqwHwxe9Cma6y67ZF11a7TlK+YaO3SSDFiutevtWhxXPjHKW4ALaB2vOdDGik1sJ1Dz
KEFWpD3xkOBQ8CLPbh/KpqUuzO6bwuEDW4s3g4gNp26/ctdkdOeQ7EjJ5FnJVwUQ4agQVwCv55aS
ojePIPk/KeFf3HmZ75ZUXrvGiH0jp791YdnquvHKHoJIjHJv0kg828FrjcklJk1c4SeoKKia1Q7Z
ErOwKMyjjfCFdZiL1LE6ZbmVMs5i+E5uT8B6zWDyx4+P2nHS+pS00Lbf+fUi9zBZeGK3P24J/JPQ
h/qx4qUjr9mG502yTkagp5jIZkGuEHk4gaBYp/KYl8zpEnqhXVOr9g6QJctfiW5vsmBEK3jVLiPA
cbIPo2HeiXRoI9adTczQCQkPsZ9FDnFyLBlWBOhWU0/wl5O6k4tHslxeBwF/g9Cgab9ZD6hbCDsJ
TCBNoNyk7fR7C5QzOkvVsp42eY8Ld6+TvpuPSXaTspYmkfGROtBCBVOQQxaktOqozyNPOp9RoMr+
5LfmLb+BVgxU2snPA0Y443udjFnc+tXEBhc4I99aWeZnMXqv+GHWXcEwNGpKvlil80kdTgszVKfS
HPaBsn8I32mPRp7wykKo9NM5clwihNV2d4rT0rK/NX2Z7quaBDIzi+dAe2Gu8OnloLWDGsaGvVB+
8e1niMZsyqexgK+eunz4SDEOs7GlWHdIB7DUknZWHHmp3nwJikSQix231lI8B95yoIS6+Il8biq+
s3kGxmn58DGVS6HIG8iFyj4fJSdHo0K+ilaXfDlDMjNAoQknf3R2HVrwSxakD2KS4lKZlNE18V1x
QGpebLS2gSf1tbSZLQQmi4VFEJFT8v70NPO80HeL5pWEkbBI1z78fGav0y7BWSuqf2vXW2HXMczP
FbrfGh7qMQEAFOHzmHfD2DgRz+7On235rSB7zY2dx7pIUHl9ZH36PhR434AMI5IqGsZFRc3Dyr1C
jAG/2Rk/7LqqLwjoYlDCJFeYhFg75CYpe/UiO1Dprk8rHmtjYI6VuF64Zq4T29SCMEvA16KTaeKJ
1f6uXc0nLIonqzHbo1/WSSgb+Eo0zPsm9+UxnXwtojhS3Ev9Xq89Ec+rfZ8KOKGIuVWPjSwzcuJR
c9N9ybEZMtSK5WTPITCuBKMXUeeDQBbK9cTEn0ldBesZistuhs0QgdkEi+U+Z6PzPgL6nWDqASpK
BqSlzVflslzkzZT1GX3V81DOFz2DrzkQs4fqyaOyrjisJ14T5v3EE7l+9Tqj+IvZRaId86n+qvoA
3OJfW6eX3iVXWKRb4teQRa7GtLAeAzsy10weMV4yDt3WQWucBMFTothKTwXIKXtmv6B8FgPr6GON
rWBcVpa45OtMeDt8yxo0XNgxzbnTSUOpoZ8OKeUnm6IE+YXGBZH39wT1vuDg5d9fNDfUNYyroCTF
xsvQod0UGVIDSIHFfvInlm+aVl1W3tSwo5GrzIAaHqpNZT2uXXLb5XkTkvyDwDlFYTX77q9NKHyc
6zCbxJwbu77QmUW2GVr1UT+MKfJzYh4ZV+wNqxchSUNpXMNT42yp08PK+7x49f8D3BiRbhppePwi
qfpyh8j8MfDLfhd0mmQFCPxm8VRkuRnluySHdZy76aFpiGUfV9bSDhNg1wHS0/G2Mmn5c5f0j5E8
lQHqdpSHxV6qJjS6L2kW7tkWDuDUrNqxOiLtmojNBWaFlRpWpA3jTzk1fgiPmkBeB4HNYEUYze5s
Vvfgv4nTqYuEMw0NtTNRi3teexUzcefNp2mtKhJOYce9W51rlSP983kMe/aC0I1zoriL7MPNDbxB
hdoFql9iE+0VE7Jxh08MChUuZyqIjr08vWItXmaZxGDxSJHMlr3jqttg8ZYjtV08GcI7+CN0tqq9
S1yXCBzSvTg9kvMy425ofJTIHnv6hE3UVNno0AJ6ZWVs63xav2XCnEHGGejPn3EuYZUXJrbMB3Ji
yTbL5HpArxzZ06zOZFDYtCG0+CxpGbAGpEXV0xnqyRj6iX0olPMk+hr6dMKdIVwsqgbx2Xz8odEa
J+LUCBWl8KaA8Telx6kdSRzVGxuIU82OOs/QQmXuGY3hY6LXLw7Vv7HkdxpFe15+gtB7mzLWrIab
PzF6WWPZF4RsyO12XPwL1pch8laJoHB1OYT9t6kyHleAVnqtHVNLAApzl3skZLFr8eZqDubnBAGR
7BLE0eULYe/zvqTq/AQV+y+z1X0zcZLnLZeWEiwiGteNm9vUNO8bw1FRMqI4lV7VRxzaE14QjXcz
0C4poxTf2hToTnNYOAjMuv5JenGcJctyemstM8nCcisUvcYnmjGcADWL6OrN7QhRansC7ZCezPoD
JfGhEVYaOpo4Bf5662eZB+5vvRJ69j0N7RD5SPHlFuhhKUR0E69Xdna4ASyCYhafGmwaR5uibSr2
8IH/ytX8hf1BQDybQ7tNMVAswS8vGjg2DMTWmj+t7XhkNDJGpayQUDpf2WJ/L/P6QB31mqUdycFo
EMr0fV150X3Y4Fmbk47tnHyX+RFHx4SoqCfE3c2Sh9SbXsXM43Idu+FFz6oHg1Sx0rxhbv9ous5X
oAxEKsUa+lr/nAsGLiwWiKH68TwsrduUn3DCK5grhSHSfc3d+gBfCwwiCZ4OK5BVOyPwvmvZN81a
kB1d3IqqToJYz0+t6d7kVdnxWYOqnX9pisu4ICCUAjyDTS5Y3rl9RMlIjudPBtaasSNPCWeuWzAT
SbM0zsz6hGqXfOYaQIo+1RmK6sC4dTL3HSEpi5/ABhOLes/BkdqaGsB+BzR37t8jfTB2EHl/WZY9
56pJb3q57L3KhdpX5E8OBvOo1wS3uvyVJf2CMOZX/PWnxOjvLS7cvY9SgQjAOAV7RmS4eenlHAf+
8CobRpmShSYgHFSI2OFvGnchTI23uDLzfZXZJ9zgb21BEhvxIoxuNjWpeS5KMNDq3gr6JSwcpuOB
iZ1Ejxpu893AkGIV/U4tGfd0nkL3nauLj1osEIzuWa7Bbas7csdxo5D1x798YIObeGvNSeN5wDQx
PNW9f3TU0l6W2UhOPvepX5hvrpj0Q07Ghd0qDdNIvsMxm0fKNIjSTio/ttGH3Rs1qTJLf2pqJz9Y
o6nvm9S+NRPWcvNiVHHgEbaVQOmPtRU1qT0xZ2a/Vbhld8aNeZi1+1W3gmfWfBWyZPGTmDpO2ia7
B3AWnJNSiLsOdzGNHm0VIHH8CwOKKuYfjgLKMeb2G+ERA7Z+Z4rsXJJsrdADFv6/YYas1Fq6sdcz
Q3BykEqZ2f9y4V0ax3uiyBiPsqtDv3w2FpfsniI/Nsa7YoAZCwdTm2ZDhiplXUaOb+gvRYu0A14l
PKV1T/FX7D2tuaIeveNB2oJhs0M36U848hmLjh9l4o4xf9ZBNf5VZ0Lq9ouP0TohOcvtr3YASr02
sU1/DL33pVjNCN2t9sJiOjNOFlBg/CqJZM9v5oKlSXddDLuOwR+84RFTTAqs+vL/F3xOhIkB3Yza
kW6mKCizYApGM9xxkb451nA0DeqXYD53hfNvnFt+Taue/bXagTCWtAEDeevLW1laJV41pKss2NgS
USSxbkaJbBHzXIg7u6HtS6SfMoYASprXNEuLfi3IDhCNjpLNYSuWZUfIA1ZomN15dssa+e30k1jz
wRUHkmSogMBmhDlj5ghxGjyQ6UKzi6C+cX5aNvjYA8JFyyEQbupqwKq+CVCvN82zJnNxcNP0SUoH
8nygfiy7YhZNX8Nh/NOa3kenNqLtekvdvmdgwaaYbbhhVI8BSwRROJ9sxmPqkaOWoYEVxhNZJEy5
h7oiYno8Vyq4yVNcFyRlPnW9GeHF2bZ2JCms08D72/NYIrpOaPxA8iFNDVhvkY0UBejYDt2A01BV
tPubkc4UrNs7okPWfG33zWh92kv1KAuPtEHQHuj+ll3quzd+Ul1bIjY6ke4XZ90Rj1iGA5CEaCO+
hIPDwNVE7gi44MDYDDdC8oH/6hZ94g1BjpHvehFvfFqQqj12N37Ljjnt0jcyC941P3+l7e00/UDS
KNlJw/O49mTdyGel20fBZIVYwwrlr9FyXrsbUF+UR100N42tAcBN2Kv0DkWPOJc18kC3cl48IFfK
+JLo1iXKlajLv3Xd+zeyMUBqqB3pHg9WxYxUJ/U0thZCVQbzVlTFZ54vxV4rlaT+KGmNTYuJKhsE
p1/suySrvzUtG+JlfVsJ5A17fX2sM4SVLtQG3YS8bfJzn41qY+BqMNItDkBQJB7KNaQUeBLyAoXi
EFxzc0iZqlTruTAZJrecQVMt3kcADXFn0fFVm1Avs51ICNqQcsQvId1t4zJ7OzbyXzw/R9OcXiYZ
vE3SL6lhiRFZZXLW7XfBHtR0NUqZrtlrIDzQaS9oC7zlqntGPATiJhU09rJs0EI3Afs3tAi20T3k
SJuJ6mQ849cyZNP3SmozcTcEhboXW4A1Fjzn7Wqwx2rwj6E0lYlgPcSWnot/OQ0ZGoPiKWjb97Hr
r86IhnQr/Nqu/SmscTeN7t32qCcTqB0cKBX9jPHG9Qil99OXiNdRxYdTENzneX6f+eYnJc016So9
1InRzvlmx8KtUaiO70Wg+F9UQy7JTc/lgjRUI5WGIyJTAzI/1vhN0gAdkBxfCWeR4Sv2T+VXf7Hu
UmmTGXqk4/yeXfWB5jibUKbPfQB3ptOvpTB8OheO0xKlAz40Vr+CFVX/Qd7sdxmgvR7IblVtu0cv
ce8P5lNWzC8CeR1Th9s6KSPg0oowJBWn80Vhk+GhYHKZgg5L487hxLe0Qt/b9frqKPrtdH5ac4Jz
CxOfRoUmG0zoulNIdlt7oDFa5gSY2/joBdAowDkEIavTfd1NkvZJR6MOt6bOuEuH9NbWYSBrwjy6
+CqoZH5SCLqUBpSItVacrDp9cEj2mRmJaa58kR2qNSCPL2MnSBifPze/Z1ti3+pmy2Pz+EX69RgF
Ik3QIcH+CZb1XRNcCfmK8UIPCHunAYxH148SnIRDvXmEZ5QqxS/kG445BBKISQ41bqehJIuSk9zZ
uTjnCgwlWDvraFlT+lL3yBNyEpQFZP+MEEK3XEUKBSpr9FUPNnY9zQTp4npIlhwkl/lm/FJECY/u
m+G0lILF/JE0YpdQJ7sUZdT0Iaxjom7a8lg3/VPTdCdv4+mkjcCnnGWflWJ+RgA1C4mzM49vk8se
WZBpKrtH25TnTiDWpJmeFb+t3EEhnmNgWxVXjfaZWN5HwlQsNnXrA3focXamjlw3eVOt1qeRyX9u
hoeHld3nGqTXgABA3CKsLn19IQx1kNi98+faEvWNb7NkT3x18ETzmqxUcf6fG2jMjn3CFLeyPdOt
u3FabqxJx/qAknARrwUZmeQ+vY7ueuwIvkktXcWkC69hEmS3DT9FYkqjwZFP81zeMJA/EVT7p8t8
Dbk6kd3iwVfZ0ZuLW6fCCla0yaWBuTpPuMOLLL3tvfyYLHnItPFqVsYT9dhvoLXPNbpYgMde6Cbj
EZMDyhO+12zSSLvUfvu0fNJGG5GV+ero8kNJYC511x88fUyPenYVJbnL2z1jCXnXWwaKVxq7wmQe
rjnOk8egmCWXEdmGcfnfOZqn/V+m1RKNR/7ImOKPs9qtpb5jQfONV6RkPjYVO83syv1KVZ2bMHqn
7dGmvvpJeTMgzehh0+A5XwukSZ5E822MGIIXNkXA24JtWN8m1pcx+030P46FYHU/yoSa94n4wh57
o3kkU44WaBXKfZDTGhW7FvllttMDZd6MDvKOIViPxFgopAylFir2WqXDcasXLn87Op2gCv7pLNcG
/Z9cef4tuzxb8LDzYfoi4PbPNq2TOSFzxrEdJS3Ml3m3pr+pmbsf+FVILXa1R17iq8NRdS4rg0bY
SbaRquJCYfkympR0y/BhC1RLQyMxyyOOZscSQfeIOFrXCN8VzTfGCVd0GcXK8sYTDwVmWt41TxxN
Uf6advEpoULHyJFzn8QZeoah7iwGD4RD8xednRxq2jQdbWd9tlN77zc/icovZfFWjHey4vP0VffF
EfWC0vXNZ5Y3JfIprdUf9CnCBulrBgcJbZp61cHNC+0yiep+9fuPIJgOXpcQKWb3H1mO2EJ1LLyb
0V2wIRPu7DDLhKH1mc1vyVr+sm3KL6OsUVruCqtfLxaYZ/59jR7b6BV3o4ZZ3/r06GqdSj0bWXHf
Ql2O+l3S33BVBXuCNMBMsSwgk2jXCnpvLgQERNDNyorcxLwF45cjcpthMoWW27+K7ZlxTYS+RY7q
OgmO1qJOpSJUg0BVoz+XbXb16vykDyAeYDMd9enfOi83PbHoSQbkCcrWTqnyRxu8ffsfc+exHDmT
Ztknwm/QDmxmERFASDKomcwNjBJaOACHevo5yL+su6rGesx609YbWmaSSRUA/BP3nmvHgbnamJVf
IpBh47Cx/XwmNUVgtDKmDm99CVuToi0bXItBI/OiuqHi8CnGtpa2/AxLBxuWJLMtJvBqm8GADmyD
wL0OIbKxmKTkOktyNvUSDXVEcY3NVWUIiLymEUfIC9nmRtSpd3RyctAywAicfD7RLrOxheNIXTs6
eyLWLXurSTCHbkKomqjjyzj6VyXSq5yRmPr1NyAxuYVzFDClw+HI7mkLYX/a27n9wjqSOT9x19T7
7mc/cn23eIX7bo0ZKyfMy9ZYsMpH8AbuYwhimzF1bvlsWxFDbZms45CKZtaiPeQltre2R1lrG4Rk
lxJV6swEMStqLmXidA6zia81K4pN0XaCqduAUE8lh9FVUNF0csE1qFNB67WfpRvfm9yeGFyS/MTc
KTStMWxYj1Kbccpk9knDNrSRWMWx7Vt3bXGwJc/IaPhJc+dViyw2PT9kI5pB+dJgBt6WhcGkx1dc
AGtugNGADhlRQLui38K202jj+m1MmgJDc+8XfPqWMQTaItv6HZf5u3RN9GnesJ+dN3dll5XEDPHQ
5rOQLWwVxWPjyBfZ5kZgyuq5q2NUE8JDzy18vFn0YFYLgGFg9E7w50ProkYrF57O9buiTissDiqi
xBDYmA92pPlhVGkneBMPY9UPROOhRasj4FXrgGVMvINbcafybN6XSjeDkc0BuJIbtT4CyyqjcrWt
T9ckRYLB11ddZgeKzHw/MirYOA0T0QKbQgguUmxMVrT8hG+tGbNunnN/X2fzc89A89hZ2u20eNem
7z6l7z0tNQ4wAnCabVXjIxgWFINKOa/sfE1a6eU5wbX2gMRBVaTulvGvIjJxYizJHrpJwJDZYJRI
xJghn+uc7wQBGfZ3oREoOBn5HhqbDOmX8LpRabVRSQfV5/px7Mdm34Ll9SIUfV4pnJBzmvCdtgi7
hlWeR1xqMC5sFtOcg81id2ywTZsgIwW6K19tUTFZnZNPRH+B18vXP6Sg/ylY0j/Twv/PzWP49AcY
/ln/AyD+NzL8P/76v4Qn7kDg+q9pSjCV0o8Uyvb3H8T58YsQnPV//AOk5PxluhalqEmL41gWXLC/
OUqG8ZewhBB4W/QV4bqCr/+BUdIMl3gd2yU3woZc5oGJ/g+iuGZ6vA9itg8hgVBh4fx3OEr/ClGC
cm5Z9vpVTIoZg2Xxv0GUYp84Dy8yqcqKG1QXKCs2MDjfqRwDy+OcyM3o+E+/m7u/MWX/TLz/V8oX
X9Fb6VG+41imayOL+DdW6jSPcZtE1g/VPs1jkeNVt6hHZ/tp5tb5/38t01/5+f+JSvt/vtq/U9mW
Ak8WHkAMeAoWXNi1Ue6HrTfTVnWlROnj66hCkgRlGGJUOah9Qj7GhIkQH9cV56Ce33iJKIyzqqeh
2FljLxR2uU7Nx5q0Wx8BZlzawRwls/kkEmeMnwaSOwjE5bXrzoTxKBJww0R6Vo93Ja1tMBgsvJd2
0YNisq38scLQ0qQ3gy6TayYGaT/1o6Nl7U2tsyl9Qp+DqPYtMe1BYsRP7VIfzl0PYvui+k6mdHU4
eqziy4orE7RFJOvKfptiV+uczeC5U3WjiWhCrWiy99jieZuLMGU7jlphFNTWVK+YTRkbTHb2OAMA
WstGrvC7rG3Np8jrIfiwWi7053HwBa4EqZdqoyPWFNuELNj8sHgCeR0pRTQVVBQ+gMpeIzW1ZRfD
9obO2PyQiEKQfNMKRuGETxwbcCprrFW9PvxMbCT8IxFB1jt4BMx5U1VVKOftKJU7nFl4BTtF2DE7
AEtV4dxYzS9ioNVbljhcRxtLGWUWWjO1/yYuy9y9kQP8H4wPq3re1eJ4YPQk++5FM3zIImEEixOP
B70dbFL1rSuDcMVNGVuU5htrqrDk+373Flv1UywNmYZRBwTxRRF1km/ReKj00LAinW51kpDFE5I6
xuZxXxnfWhQB6kiW1Yqb8OvhXJ+s1d4Wx1i0dpaXucl+ykWSXzh/c+fGc3W13I6pKsWHx2hm+GpH
lBTf8B3K5FFvSGeGUyRR2m2zqul0l64CLT3GGgRi7DlzIoMonq9Kzwx5GNq1Jcxkge2HE0GXeCAW
1Rg7GCWGdm81hK5vBKYQdZngIaBFA8anBRDgqubcdkVs477B10JxB8QMNA3uSJe5h66j86ARl8J9
HBQS+l2q6r56HFNO6F0UoyU7ZZrbd/tKS2P7U5ii7X8n7WJRgHaOIW8rMRv173mC3pmygrAV4dwi
L4X2LOPazI9xzKs1YWHm+zl3ymZ4fmh7RJMfi85VGnSQjBBEKzjLd3B+zfHRIgSsPOoY97TyYPTk
VXHlLkY3h/gAS2y0S4KCvdv0jICr7SytNP2WcmBDtnGNVmNmr1HPavCPURV7yC6XbpAv7jwWMZo/
r87f7NHGvRdnGazeXZGYlY6QZPQzec1L7kOKl8FILkhN2dlQXVoMLpTF4u2IxNpbrsBny11nlCQF
GTNyhA3ZKmZxRIJu+A8Jo4iBYEwpzOVCtsKEUTsZNJ+aPhWHTLi+DNzcIWRPYWvdKAjBdEKQzyjm
5FQa3lurGE8cm9HBU9+k/BYo8sYRepRyZKOIKczinsxC347jsG8rl07RwyPf0H/qC4GvzMfc00g+
ancuHeIBV1FbZpwGun4d3uyQqze2SAMTnbyxxSPm0L7CLEIIdtgLXbGYqqfFP5QWTj20VdKSSOta
5F5FluJojochKT69SENJioupiQbsbdbU7PrGlNOOnBrNfTIL5l3BKAu81FhyZLU3lpwdCh1xU373
edF1V4qcXFw6tyMPidDIqqlYkdutsTawrU9yODx+hzGT0zSdBsPHnDueYeQApfaHRvrXvnVYVO5y
Zh3udfA0y11jknGhJqlWIbL1HYthSI7DhXZUpO1BZ8X10bC70rYpUjRtm5FLhsgmZfkGeGrIo43Z
NEa2A0ZgDywX/FTty3EYAPRbpah/azn1WrDmLvlhI6STn1MbgtBPW49GdfWbUjcuuOex9OuWp57j
unabU8aiNHluyWG07+VMbM9lImOreOXUdmOsM7WV3y5A1sUTglS7PDRmVBtPcbIoMHbusrCei3QG
h2EXsQxHwUMExc3/aPH3v5GUuZZW/3Vt95iWH+8f4/e/FHfrf/lHXIz1F7Ubj29huxZhg2v98Xd1
Z1L2EVpr6ZAzzb/LtP+s7py/XHiWrFN93hi6QY3U1X/yYmA5/4XeV8C1ZDKyFoX/LUymZXn/yqXl
wKDk5AIxXeIrPAJD/63eQi9uY17lyWhD6ghcu1FHkjnSW9S1kOfyw1wxocbONWOd4zHTTTzDZqbk
By2am43JEDPyEa54ba+ukSmKEAOjvJrM1cMps8prpFJUKXn32rN8BjOEagGglk2gZzgl82PnTvE2
i8ppC63gtewne2M1xEw5ZB+upv1j5qyC8uU6YM1+YLnGmqBcipuise71xfe3vuqyY5yOK/UkHUnO
Dl2rc4O+UDolKv8yACUfoU30PJJpZyX2k85md12xOTJF0lzzpbzY5CJrfbKKE6zlqABcomtvXqtC
7x6nvP1UlvkMeLw5KleZe2R3oeNkjMNLg51yVJq3Db6EAKHpdppgHqkCWY6adPbzu6mMYkIGWbwv
6TQxJkufATl55Y9XRu9Sm7Pf/qZwG3q41gLCaJ76Np/Xjdhwsh2MBsbUHlTCLAsT3XOUaxPUn9xm
5Sx+Rjeuf5uA1Pm2iXsH6+mf6xGrhj6gLLKGWR2dCuv2xCADS5PTQO9pBiN7sD1ER/2aJ63ywQ6n
uuhCEzk4ADKcfK2u73FqpzdsE7BeKQDtvBynxSi/Y+aifHgJ3NIvSoh8GhDLShp7Xc+fZW3beyYd
Peg7hFYkCFXh2DXftTnqR/BZBT53LztGkiurbBE6iXiOH32DupkobucRS8Glkz7qTWTLT6OY1Ko8
Ec8MP4+Waj8YysrXuWBQsIK9A11G9d4DqlKWgjl2s2BLjROoH/MrhyNsb4k/OmshVrT5U9rhguwA
qeR+Qtmrda+OzqapWiMkuxqtQvoW15rxCOOmDFC7smSyFxmYQ+4eKeqhaxT3sd2eTbsAxsJds6ul
YIAd94g50981mNZ9V5UnODxihzqKTh8hBnDOdAuO8Le7GIwI4CRy7IiI87k4OgVzJ7OYsF+rGi00
y62onutLydFBHC4hi944NmFp7vsmLbepxUs2+Si5Os35nmDoofCt65fM85HCR/ZXtQzVYZoUd1sh
QoVINSHN987mb8DVYIC1PAN2i4GBou+ld41Eh3A1uXeborvl/kmeorq/T0b795QyrVMlGw5UiDE4
+3LXIjbBoGB0QSnyJ+CF2cFP9RM/Qsl+8loN0atcFxvShXrTF3YWAAkjQjpyqCbtiGmlWV9mV5eH
uqkOWdro93jnd3DXMxY/Pc6e9iT7npYl7h656eD4RDwY7BzZwlA5F4rxc+xyNZLA7eM+6H9GHUZS
f5mMUr9kC6j/AWwetBgsSkA5/DQZ9pnttftReufUTAcqVP+O9fjqjRpkKMr+fWLG09jpi0a/Es7o
CzbOBPdWat2JIIoM4YVbcdUjxPKgAoC2gDiBU+fVdstrOVG6iVRYIamqWKUYsm2jscRrx2uZxrn9
NtjyLJHJpaKyn9y+uGWZdFpGN9oNjYesukcGLNvbwh4+Yhl9xAtSWEyxD30WPekl7JIxSq9gDT9t
Nej4pXR5kYpfpA55zif9RubsLPQZHQbacKyifhkfgOcOm0ExBo1s87VBA7e4eb0H8aX3iKVF3j5M
VcQmm26kYO67EWMWdvqM8BYn3J6EiyxTZ/5HgsYWpMBT3WtlSNZFuXea/Nr5OMD6xMvuDMTqB68q
bnIe5Ns8nnZUJ6dkMD+lS/+Vtd9Rmj9m4m5wsIlWbEfzGSHFxKKPGaH8mXX4vSYX+c6Y1LwpTJyv
IBtASDBK5GG5xmk2z1o9sPnFmmPi3qSdAWPa+wUszMwmgpRWxDCaPWAXNBNa/KgLdPzs49bn+N4n
FTsxpn2GVl1bqqM/szfOR0xxJtJMGrkaQwvmTUjp1Lv1KitGrZvPzP6bIT8bhXocYmM8WORen8jo
CEGT19eYR9SuqTOcEbd0Ry+L69zG+KB3k13vdNlLRHfzbuy7ALLeFGY61MkkfZMaGviSeeQRSRFZ
9BOpwHNjn7uGis2DQ9cP5Ae2s7D3WpmRpyY1qMVHheGRYzl/N3jm1MLaV1y4E7vI50Zm98wJQkxQ
TRBF6xzRBKvQtmxz8nF8S+b8vaw0N3AT4yYFG7ur/etIUiAGZWdte+mjhCT0u0J43NhIKRoXHHA8
vRAFvEEgZZx8bv9ZNnjTmvHbKJH9xW77mAx6Q5SOAqgTscP88yef6BofmyDTi+Fl0JgGRKtWZ8y8
H7IWbslrlZembw4mjypQO/01QemKjgX/jErYHVsj8GDU7kPg1667KYvma9AgeuiZpRE0iYssjdhy
lINxclFoUiuwU16bDOISzIUAhII44nz0OAV1/7Y1NS8ECVRtSn0pw9iBDZ172QdsQFJM6QlLVDJl
/e0o/G4AkVE1GIGXepDz6vEnz5pnfXRJPq6aN1vT7zxM1q4B2GP1aQVqLC9DX52F6lnVDtavVR/l
2+gYI8wfHjmiiEKWJbBpjNWAWcBF0LsTWFq51FGJxh4HFcK+Q9ap9tpIqKdqAszh6vB3ZstmXxch
vsndAXEhT+u5nq9jieewr827djLasP9YAPWhHgKT0U7iWwjYsLHneMSrMDcS9WMzJeNR9jkiK2Db
PHAOwm1/2WI/DD5oI2n5u77LTvo4ZCdbyTN8De+IQB8vOYty2d06pWeE0XhKUl7q2XBDP2I3Z/b5
IcrwJGL5KPviV10DBSDKgVfSqt4MP+dE6Ebtpviyp/lNUziqRG2+R/AoA6PWr3YyIPcAAgz0ULxB
zukPqR5D9bx1xioHOMJGygcYRbM07TsymTYRe8C8y/s7R5NfjLEwQBMb5THPF15/Zm9NDxOn8yFC
uMWDDNV35KOQK11UMpXC+5YxRJJ+NIfzXoelwjSB5YtHzicXn8yCCspgnHI2DVb1zatTZwnx35XH
AyN9Br0S31TmDnFHh02LdaRcT2NjtXdEpoWUnHUjtcLOSCxacjaYG1ES55AqN8LRXEVHnac+3tpN
jCmNyWmVXqrHolmNChipf7Ok/eQodrZJ88g8SgYiTd5ZLTz0ozJ3Y95cRoI2Nul076b2vda6Xwvd
NWiu7+pOawECmAUE4cWGXt8st1lsWZea3XTvIAfQLYAXDkeC579ni8DIaTaBWpovLx6+ouc5sym7
nW2l+zJ0tOg+cT6h3eAYMhPsWO8zixIJ3shFDhEzdzogq7kraQ4q1eXnakKspNnY4ejeg6GEvW3G
xFrMddBQbO3EZE0IVcwnwn8VXgRxxXfcXm+qDBNpC3fOZ1CGphCu7QSV25NlwMSlwAdcXbXMBt7b
e5+lw8gpcj6acgCw6KZ9KL1LrqEoEbENkblulxMKW4gBpMQOnkP0K7A8p8X7MQI85oJIQx2hpe/k
UPDnaI9aZS9dFiyT67lBVChE/QNCmCjdR6AcgJHimTDVB3YkoHu29YY+ENdSSgVKUNG2HzBfINcJ
WZJiLmC3FnsCU1Zi+LjpbpGp+TtvcRglVe7Jkn7yKNOyhBy9Wg2bbZl75sbSK9gzefroD7AILVY1
EFHhpTj685Q50cG2mZouo1KBZdzZSQ50rh0/l8qH3UItLkfHDXgwQx5kaFPU1h3WxZve0F+0Wnsj
7ACuP062Td/lb0QTHB0jurrOK73EggCuvMYpLN/IgIke47904eShpWKCjwUPWoVdnF1z3BW+bl4i
s/gNOuGrazt817nIoSdiyG7d8cgYMzSNWtsTuvAaM3MkDUjrw5i0LDWPd7qDy6/KXia2mwxjG4tP
mcSKrSojbiKa3p3O/04HjVkfDBVHe5QJZLG4TOotevkIFWp3a3SLsakily8UN8Yhdpcv/LPWoVft
nTOX3zhf+YEK8OdaDMJ8BOant8ta6BTPTivJQ5zSmJhz8Jf4X+hTZPLFhlzsRqOOd8t6mqRYS5Ki
fEdwA82rgdrJteZsp260GeJ5JH5p814k9UOj8+L1XPXHQZQvo9LGnd+WH1PuHLNBYYDVuBrQEm21
1PlJSgAmlaO0TbWokxosZHo8Hyz4fI9DW912CWpHYx2pxjnxxXb8S2mEEojU744yx5LhQJDJna6/
hx/6XhjPbQvaLXIYPcEeIFHHf8Ajw5ZfFPaub7nWs37odvR7jz4i5H0CUv+MhJNjsEqc0NQNKjhR
792ahxAVTnpIgYYxZtYAJ5GjdNQKBx9dNNxb7tg/qaF/lfDZgNzx3UMV2MQFfhTGzod45hKurXFb
ED8URquU0hXNAfRc/ysZuoiLQP0i92M6cD4CNRhOlcRZg8R7YuC7NZk2BsiSYKVkArNbei80H5qJ
sq7NsMZH285uKDF2WFP8VndRsSu1Vsf8U+7qtuY3aIr3Udkftmd/WJN3WGD8hI6fjJTJ43LM7Yk1
w4PW4opTGk0gWMnl3BTRSzd55zmmrHM897HGsj1Jaz42EfKkIhZrjJtl7iKO0hsIel4Q1z2doStp
vKyKEXwDsSuq6VKBmm68uvvUlXWqWkpgN4ru+opBiDnbHSJYsM1Wu00dst4KZGuXapQnIs7toKwB
SuAtabd9fZCIFRqjx1tGnuSW+Fl+EnBuAImoX2P9sWhJzSGb7NjHtF++jZbLN49gadk4uJV9jlzz
s7KlccgAqSCFhr3cLzEGnEQdouQUecLboEqGy1aNN3Mdw7v1rA7z1XOkouQsDDiPGUPmNOveqP6M
A2OQt8aDPlHYtrPX23h59jorCZq06PZUDxSDlrrpC2BrNdpR051el6F7rEwosUxQTbyeY3ZFa3v2
YlOnbBHOTzvBY44ogFMwL7ES0KFyrNUZHemszi0wM47wCWiKM1JSD9q1ynT9QtztXjoZMmuj+RR1
AJwIhQ4v5F5/o2jvDhlsJrxNndo5nX3rS0QSM5K2FHvwvnKRfmZ44Utb3sXRMKOaiN1TD90nG0qC
8XrPOEXh3Ov+iRHY6oyFuqjxGz79/UYHvNGI+rslg14TFRaBPiJkWONmEeNDlZA+4vUVuE9rQvfY
QUhJJqMPNUeAvGhEcvVcCQSiaI+5N9tHwokpXrrsEa3d5ypjxXtkf0dje646HcES9uCgCifPqYly
GbNg9l8G23QCQ6XYUhbKUkgRbaHuRFz+UNXpwE480k4WHmYqe0rM2cD+Zt8pd7hdWmNtjBCnDANC
aJWj5io4JhldzG7+YPj3Y5JjE6Nh3HQ6Gm3Jfsokw24wXTjYzcnkoiqnGGUszWKKvdJGRr5LUSwD
xsBFHK3KVrAFJRFZDjkgslyAPFag3zuQJ4J7zqiJZtBn87MrZBGW5fTUs1rbznpCXE11KBqxZvIB
C3bEynbFuxbQsw83uUGvmmKh3fdO4cILcP0dIWe4wSz91hFWfVIdrh0z1bl2oNFWfUPmWZ7kqFce
lJafqGYMIEioPvXhA71Rs+XU0lADUuXhXcg4cI9+yxHe9MOXhBywIL3a5xjoDql89m31ss5GjyoS
UzA2HIcL/WdW55CmpgbNnsLhms0WMVpJtmmSzNtjZgCTqi2YGYktYUOcDBskJW3AEu7HL8tb3Wjm
Y6mOGhrUkAL5bNnLj4eTTYsA6bF0oJTaosNcsDt3AhE87fdkXv0xmrbkEXx0dR421vQb2sOXayDx
JQ/7BIXul5+BA2un7JtWfL6fa/SxBeqPuuTPVRSa3fg0UNedRwtzzYjtCZkW9v7VPhw1ON87HXMI
Wjp8omN8mm23WJNREz7UAQ4gl8+4qBB+1zY9RNHUNC95j3XlBZl8e0lJlw88sNhVwkvEemOHHc3H
FQsA2LA71IHWVzPI/mwwEUAarNr5jDZHD9DexFydVXP686YisqAbpnKHQdjbYKd9QW3fhT020tOf
N61RY6D880fTJN2iWP9/LBtyE/NvBHZUGQ4ZlpWmuKFbJI/4IPe+b/QnRUsSypkiqCsFix73i7Ez
kZCjvOlYEr/kEW5ifSzOTYoLCEsQkCGsV4HOOeQA0fW0KQpA2t8hHExworEQbTxjT+oMAFp6G/Jh
XXanYgqNpH6UXsEPrExwaszAYfpAlZ3Q9+m+f1sbCb0JU5kWXAcHrYkhGqNpkI71gly/5LJGqGQn
NcQ0zziOAwa9yGAbBDMRHwB+bM+0d+5KY4xH3LwSX89xLN8KngogNCYbgRaHXObnHrZXNoNGFaMq
HVjnEe8I7L/D6iKAhUf+b4V39NQIvTqb7O3mvn5wAm4x8qlaGwPdKFDdXpxqCNglUpMXbr3XNVWi
OKpVSMiSUNYRKULQObPat0tzaeBCHicICDl813NVrrQRZYcia44Rc9+trvQXG972TQxyZ1+xbtjU
WGsQimMIl16ASQF2JWV5qLW9u5EkZe+abIm3LSuvjRa5ah/dSUeLT+Qa7bsRaB4KNRDLDJgcZhC8
stYFZsZrkfXYr3kxmRPaVWBVuXHqq/qzY7KN1ImBVxyZEAdJBOXMxfsnhl0jxbR3YoKWamQDYTVf
p0QfXmAwbx0F5VZsp5nTGbUpTcpWeMZBZCt/tFdbX8f2AE8T+YI1Iu6zoZ9kpvZMDuVTVkUMixl8
4pm5bESfwF9kqXFLlpGFRzsCrmf2GkoLfo7R025KeNndmtGdFNWjYZYqcGaGtWnL1kNrSDGIDQw/
mbBek9oIitKUL7jqNqTWwmjLlvvck/KQ+6DyNWxyXC0v6USShg6t+TdL19AqSFIgbfDar4aoajIs
vEgtuw7NtcIlpwjF2La1as+6JeT1jWoKHD/DS83rgkFQLUlDO5jM+Dft7GNycbs7azJhfMc1uJaZ
wJQO/3zu4cWI81BfsA2M2UhkSa+/iGz8ZeJ+GWAxcyLB4nEJHYsWfoUthgAaITqvXLb3697/kvYV
9PjuqgDEbPASeIfEmA9aXVUBpdl3l46Y8YvkJYuYW9ndMVubCpWU7+Us7ovUT4OM88eWV4xM3S7W
seVP2ZlLA4E6FDBRJUuQepgh2bMfE08zNjXbE29ydD4VuLbnZR3Cug3XfmkCLQPMfxhG/VIbHKNm
kkY7NKq3GTZa4lnUtjDqMGuRDoMpXhAe4uAuv4CxWrs5T958DyBj6TKDV/CNqpqBTtK9uGYnD+SY
vDOdfkqtdtdW8ALRakAxlGjiNenBcBXdZ19VnzENAekjTrgszNZUIYitgUKU9U0ZNuZNVy+AICkM
dqmvs2euGcoaDI1TnHa7fMz35byaEjusZreLZTGxdnJxqOaITs47urE23jZ69JB3FaxqhcilRGKC
aZ5EBlwaQ8HTOYpkdrTn6K3Vb1x3yX+N5ISe/Yn4k4QB5LUl+4dGkFuIwV0V5HHOy2mW2T2sUoPc
e+03TRv3e1Pm7Y2l+4c/70zXj1DELdyZhP/8+YA//95LEMlTYaI84gMwfGf32gpEwSxVkwGTNjg2
kjZ17v+88esXCsaDIY3kV9SB0KcadB4Iu5ThnDMc72I3OjlRLfc5ydT3ueiQgaqiOkbWOAepUXzp
U9ddikQ8DzyLD/XovCFMaIKhS7Wg8G+9CN8kZb2+SfuMZiEBfKbdEKlePlWLmVxz3b7J+K0/JS5r
F10fb+2IkTekjdyHdYOhi/7LxeRcxvykg3MgCZwQA6NXT8RMML8y9/qiqb2z5uq5dfft/HABjk8g
p+4Kp8FngLDnWOKrIxaH20OzFK7fzOnfMREdvcb6JoCHzKLZO8aZUwXLRJ0ZGxzxY5PKvVeLz0G6
y7XO9H2ijeZ10Fm9loO5sjG06Kby0uQ6Vsxnh2XG6OpYXrAA0Eym7FiOlbrIJjlUNhB10dIY5axQ
mTOCr3ClL2/EiLAtriN715pWyKTTPS251EBOwJaLa1HtHRgrZB318EWItuELPyYzOLzWLsGC5Cxo
9WUBmxUWtS4Oi4i7Z3S7tw0J0Tua9weG3UHSMpxHEDNsVGn9oh8TN5rtf+A3WsJKkXzh4KTr+bS3
vclpQCiC+QlB0wCd8dss6g0TxSmwf7EF6yHBqxpsQeHd5RH2br3mi6u8TYB8EJzO9tjA4eYVg7gF
Ek5QypSmLDhQoZcMNg38kAHRwGErdPlgVfOzaUfzLeWQsVV6/FWsyUe4n9O9bkOxymftqq8K9tbI
PgrkIaFLUtS+pFW/7fWOlEANk4yHf29nwNLa0h3kmxRxERIT3AKx/IZlAGlNRl9zF1O+mp56dLWl
3//NY/EBZLDFZO/J/c6mpgwqcv1OymzxdbAEN5Z2DpQcGGJGRNp0nnVdolu5WPcGIrTAdyLmaYtp
HnuDBZmwlneaLeusTTNx0A1HGCdFUiTT7g6HfXnTKQHTtP32FK+ETlQyKYKIVmoRs3oCVlRTjrPI
wre6cvtda6gDPc9vnJr8GUid/QlU9Y+Opqg5spQPtLniCigI0DB7Qr9wSTVY1XcJa5qZ06vJtFBz
E1Lc7PGhnpmoI2enByH/wWnMo2gYZ0ZZZZHpw61h5e2AFky7ayUpAIJpnwmw/WRxhDoWayECYUjF
k9Vl7FYDoU26E4xZuMEjPXP17s29cViQzYA3gbNUR998hwvrB6hSGVdNVDGLJSaFvU2jbavUhZU3
krlEnrcgy/i4iBUS6gXNor3XonuonEbbs1ISe+E4p66osKfCPz3mQCdl0wADHLBcZKb5G8W1l7v5
Vh/MT1M37+i0D0PhNde40X5oNL01/XDnwLIkZodV5Zx8+QnRkDrauNJ7bjwLImRVu+EAcWoHcWTZ
tH16xvt8yVvwwH1sv5Gd9TKhRCr98lXrAXd29fRkjsmw7aEIqGhG52f1HG4ZmvKoB9ZLrli+FX0e
xEv1I7jid4wVnT0UdoNKIWKuj8VDfsfEh/G9lfdorEhsSu1PFHbldUbbh6wdc0vkMzIQ0bbriM3r
Roi7keXfjmW3Hw3KvVL73SskDrF10VeyAw8SEgGZO2E9dS+9L+Ga+fvBKPGamTIobMiQMsv8XTF2
BZ42OlFKMGoTwPgdrnxk+4FpzbcqLuCADNqOpEJyoOo0sNP0otj+RKNh7mumMVA0ZuL2kAq0ADor
e7lpWPHtdGfoN0mnQtH9oM5fAmEZe8SRaMY68SBBhe66Nlf0POxS8UfanGjx0PzotYLO7DUvDIFi
2Cjetzm8CqQ6O/o7GBqcg37fbxWxP392+oY5kng4PlisujdwGoMsAnnasNBKm11kAAsaoEpsABwi
ra4sKvAFC83CY41IQp19V+lIWggNXo2pYVCuCy7FOJuOZhvfzW5UgcBzog3r8IFsU4aonX+J0wGG
FeNOAvpM/D9MkAYjvREwz/Ve4116mu07vwr6eE7uiB2/UV7+i3DxB75YSnlBjgHGkM1oqxo7i4dy
FevZjIFIqnvFMDiUbsp7vyefhgXFKuD0/8vdmWy3jXRb+lW07qjuAC70zeDmWmZPUZIlUVLannBB
IhMA0ZFoCJCjeo0a16gG9RT/m9ST3A+UmClQSsu2om5m5SC90hIdCAYiTpxmn723kjHebfs2zJO2
hlgmwi6wbBinBhFhJ1PUc7Wy4oGyti7Apq0HNGlRsiJtGZIO6kGWhrAnNJQq1JdrKGJ6uxJFvky9
Akt7RkPF1KTjciD59i1gI/xZGzUAvVTH0vpXOZAoj68pJW9Jcth0THc2NaU3J6RB31aXI1X31pQy
6RMFbrLAzussuSRjvgltnBofl0LauVxsdDhGcD5qewVoFCkY4KHj2oThdKtfG47x1Q7pBF0OZyqq
Tw2nMyoXfj2piRksG9hDbNIaW0rQ8Obzio5Z5PkqUqG78i5yUAGlLu88FGmVDOQC01mpSxrC4Neh
rxp625VuDyyPQ2ZnGnDeTQJSRI8aasTibLVM5Z6yoYfM2UbncA7eO4VtDVermunR2Fpurc8remg6
1q7qFUDl+cq33DPI0Zk1N18RbEYrLiwIBJqUr1edpXYWDmxLUa9LCzk8WEtSDYpakrA2kRnlZBDA
iMIENzXo2csyZ8FgWiH1iVZ9oTR8HNDTxkhLWEgZdCvJ08kdbeZY8RGyBru7xAiNPmwJX5HIyLsk
MIzuDmnisa8U1pCQ5LTOAWLUWd2dZRTd1CoF7LSCuIWc9yTe1BTNYCwBgvTFjICaFDY4iZk1yXP9
jrY7JHVK/q+q4eWVgihGYCeJe2tkmXhTIHCDHTY6Q93gsyRJFa8e+Q8Ir7ejtb1FU2eX170ibkrr
Xl4jULoNwV9xu8ws+HebhBy9SerKkIaE5ugBxQitgjJ3NKegzE9dbLsuNrDrr42OacBFRTkxWfvm
0CqROlFjE4c8NZAT0BpO/R2dN2pUniVwLIEbh2VdBqQTztK+CeSro8XbuVGHF2zsXrFdyjflbO0m
SxhgQLQMCxlSQS1HzsODpQpmQqiwCl/7tdbY8Qi9DGex1Ee2JKY1FP02Lb7fhYmNMm8xLZEw7RCs
0IxPqlOOzUEp27OObsIZZS2zcqBlZMpsOb6KHXWibVSFwrVyp0SYrkKfnZVylNKBF0J7E5b1yAgh
PjXpL+VYABgg99JFtucutKr8lL0PlVZIJ128411WDe9sjEwWGebTGN1bUAu53F3Z6W+KR77MghOJ
7OOgCsz7nMLBsDQU4GBm/RuEQcGogITAsyV3vYqrgVNAuLFylgARWbGZZA1za0psBOYKBvGLnDr1
7nZ9uV3SKoIqSw7aI/uam4D+KOtSNguSaEjLao88nTFqSAbjeHNNVgVLwP3cWa2rK5VYrJ9b2bKv
qzBzRHo03BUxfac1TGSkBS682ra6nkHmsJTDh6Z5rETVp7dalfgJSKVJGgbVKquknzsbmpRVnHIi
tpvY2u1Od2vlWsKmjXbO9axWJ3YQwjZKXVUq0ysuG266lXcTK6k53OoJ2ZttNalpXz9XojTFRJgF
bY/cAfXutNrVuwE6TzAc1eEYPoesA5BtheLEZFtO6ZiRSKw3Uj5FUPZADVfUjsuhJqfQe1foRpHd
NDoqWt0OudO+vbmETFL9lK7XV0G2VHtJZl/RHOblyVerwGOpiowjBdUh8TXd3FZa900SWl1N/7VK
9BChAPrv1yVdBBS6SKBkkAljWlGQQxkqQ3iIlnZpbjgaBargM87qegqr7QAUQD6wyKGNNyjPJNAd
6PdUlMHZ+fLnPAH3hYPVKwm6iF43F2DTBluFTNQsU+/QHexJUXZu1LIObe59AjiqJ8/ir1o6Q7pE
CS6tNL1yOA5+ggOwUbfRJ9P2IdfJZ2PTbFREvD5+Bz7HbJZdgIQb098CJY55pfsRtX3LgXTDpBea
bnZrIG0zCd55g1KNEtRDuyujD1x5FCxL05IGVSjNFaiD8EWC9amnFL1KX/9aAqbtbTTkpZWiRnhE
opcBhcgaxP0ZaqRhz86jBb0XCuneEom2fcrCHEub1WcnANKnNoLjkLHbmnqTbFGIjWc0oke2f18t
zW3XLylDrLn0B4aHEI0aTwIbon4juoyVHCrPDQSyvK/ZaczVsaMtolOjDDjYyYtlHICIWNPHHypy
BswugPPrxrJoMEeH0zadXyMtOvPqFC0rf7GEV8DPNcjQDfOaFNWVkdvDcKcMoIKjiFrDkgi5jNwx
cuoExLDnSMrfreqJ5azQyvZSExACLfP5Suv6IR2325l1gdjWmjJHZ+ugCE6yCbKX8B68fODLD7pF
f6ycVaOEJvc+LXEGjeuk1VMJ3rEN9FhoNi+2mg+L6krCOqPJg16M3yu3NV9R2o2kKDqFi1buJQkZ
WT0HaxLDAD3cFDZYZM9EmiiWurC+kVkisWcWdBZL5PpgOCZtkiFJ6v1Gd9QXeCbOSxkt0DxauYXT
VOQK8oOw4xZ9GkdcpA/GJHbx3GykKQL5Ol059nll7L6kah2OLJq5gxl6otSvezWEzj19hmQG/jBw
rGWf7Dbgow2gDQWaFOifq1swMsAxoyVmkHqjRsvCpsh2E/rjsEoVG2Ljw5laVxOCqdNNSdpdQxWk
A0s0v5oVE88uIdmb2UhbIThlqJU+0KvsaivNjBF43L4qGZsh5PxflhZpfTTqnP5a2zz4GmCGOjj3
ynDWX4Uq0l7xKQ00MOzVyvlyBfl2SNM/VHXkiNbeUPM0MFFmP0u+bLlkxoENMiDe0ZeOHgdKruUp
MsKoA2TxyFRnD2oJ+88ySeb0rgAnddZQgsNptTRKbxjZzkWpqGXH1lEFhajy8zrxmkYHaTKDDL2n
kFDOy03VTbiM+3MYpf2+JGdfUq84lzfb7ack2kHcSiWrk9PbAaxYHduQd2kRpIPmTvZPaTm7M6Az
6JfaZpHJPiXKOD1f5fkDlfXrDM0UWSf3lkQJsSGN4Us6YyVdzT/FEHst8xpOrfVqrDs3ThSSE4Pg
Ef6lhgfSh6yOAssABC7Q4Xx1GljDwIfMJ5vdJzsPXIIGK+UsuAIreq4kdJJHS/Llfk32H6z1Zlb7
XX9pjRTNuosjMqzg+tZeloy1fHUhgUiB5DCGuJ7EH619SAbCa1MmV9AtQzGpJgOoy4B8qjXHC550
Op+N3toM55ADAFusYEj1LIeO6h1aDWb6K4IkaY9N8utqVRRc77SI76Bzh1/D75aR73p51nfMDXgX
iI1yDWEAsoZfUhtfJNKhRlLV5U2IhMbA1ADx7LyHDNNomDtvGKSRTAskSniURa/lehMM85WsQ7sk
ffYz78728bglWc/GSbi6V6TtuWJ55O6JnPJgo+NrTzTHmpDzqjv6KtrAI0EmH9/wdoOQZF/Zpl8S
JwOUWgUGZ1yeJATN41zdfYlk6luOvZ7RmecMsyxOR9DR3jqZNuYAcsFt8NFnVgVHMQS1WD9aX9aI
pSsePpWpA79bLzW2HmosHV8DcJNuzSu/qDUKKsRLG7A0vXqzPcfM91knNngJKWsjG7tcwSIOvMQx
UGJWQgRA1OSqrGfWAHMw2pJNGMXr4CbYXFomApCwKgenVp0DnqjKaxT9cBQqaaRgzCjgUFwNcuca
8YqpRKCw/2/laZ+UrYq+yZIOUnR7iAmgpTNWKBH6p9CzOyjZ5rSLre9CSZuN8sa39Gh3j33nbleF
l9LyDtJDk+5HBw1q4Cuz/IrYMOmu1tHnFUrwI0K4c8dHwmIdDo010SpkDNPcU246YYDvEuTypPbz
MXX8G1WBN2VTLX/D6f+M4Mc0szHDebG+rdAVMrLtbWhw6hsCTGeN6glFgRGy1xouxgZc1gysQWnS
p9WcTlyoG2sWn5lLqE4o8qDo0VdnnnNalXiNUmkBstniQCUKWysAA6j46k1qoYZC0eS3nU4ifr3W
uTkC5Ke2KBUMwm040AhpJ2i5kEgLqTev7XJeRyaikhaMUOp4aaoUnZYeUSGwrh3I+yL3AKHSkIhG
ynLXw9+hTDfK9FwnLieVq1OqqVbSQvKouGf0zOFed0lWrlH9WdNmqljx2dIM7jKq2V0rtumIUdLr
AiIJau4JIKAt/TG2BZNtsaFlK77Ulxmic758tkvze71WeWdefLnSS3+sFF+sEHY6Ghbu/HXddNSa
tPsbxWgWwQCwnW0/LdHnAY54Ua+c9TCmFl0hF0sCxZdgfKi0i03jGzeZZjlcduVQJ6lUDOPN8gvY
7rikOLGt1Fsdhe1uDT9LU/MaGdQ+hsYsWZTkiuyQZA89dnnfCFlNan5DqoCDlSldglsjo7edl6qq
jDdRepngUkRUAcdLZTOYdR3L30wzjeyX5hXQkVZ3m3pT9wtFhYUT9dFuDj3yOcI/1HvrAqYdqQSI
i22Kuex7hJLAZNfAV0IthQjVKD9nMGQB71j+Fnk5mhoZqYFd/KD4UjowiVG11cC3qlnPLMrbpVld
SyhrIMllxr3Kwm44xlmWeQ7YA31M680D7AzoCyeUkkNkQYD3IQ1fWSR/w9NI8qGlnA2oRvZLHYq5
mvc4SBHOMlVAjKvEsc6T9DZR/Umpxego4coPYHxKejMDug2v8Ut3q19p2PDIz98ATMuHs+USXas4
78VgZGb0wgSRqXbWlJxo+oWTDbEWzeTVwWoxxsnyx3UQnvIdi1HNA6rlWbaSw74h4eugkmOBYoXI
OtqYo1g2yHDJpgv/kwTY0PNH2xBO5SBZDa3aW53qtpOwCeEPSbzdhRXC4LQhQRzDCnBmWuQt4Bzo
2xH83w6JNfrXeUW+39lhY+NovYA/CTCHvb50FGd27kxh+9euiZFPJVAzayjw8QEKmLDWtKawNSFz
0mcjZ4f8wzJ0Gq5FWAUNNTrDq6GvNSgvNZ2U64z+LBhHZYr1il+TarjS8rgcRsU6hEoX+MbMl9YA
QDMdyQd5sNkVg50JWXoFpmdGnqiWi6kD1SdyHP2YOgT/2X0d1Z2uZTjUM9IdkoY5PJ1Kfa6sJYI7
8yttUSD4Leu29pcomu0iglH2+9Ko57UtIViA291J12QOkdfmLkSpAhii1t1GI9BXFUXmjdVDilvn
fvrVtjlvkY1PbwLRjDYTB2XJ3aaABxf6kE0162bQynDVrE99vViD+6Vj35EvVQX5JU+jkGPnStqv
SO939n+EMTHHzmJSQbS7XXrqhmqnBCFfEt8BoCC/WasROHs8mspZLUmcNERka+l01pCo6/ijvVhB
1VoD60ivErzQdG6dOVmNaIUjhZQ2SS0qdGj5QCrpW1Y7s2I7WZIz74UyXiU8TGwq8BlIOV3A6jIw
V9WZuiwRMt/s3MBO4UIOKUsuN182AGLxoCm764F8UUjpqQlfA0s3u9rKKloLZgW7bhpMTGei5c4M
yr38s5MD+21st+RV8MKSukFPnPt1q1ywX6dxxGHLJUQ5g4GaEj8pUggIjoYKGv3LMRB+LuRNfWZv
EWvaKfIw3SgkO2cVDOmFtKLzSUn6Jqxj4Lw6y9KajVZsuY4DN/fY31Z3M/DFhKqsNk47YCW6zLu7
/Eucwy80K0j8hjjkG3popBxRXQrqqEdBWD6IUTem4GkAwNLzyVZHe8Ohu6MkwNB1WMrk0LiSNZLW
9rL8RCdm1Acguu6mDqRAnjo7zwzIKXZjW6usvhMjkBVa5KJsE/Wm2qK+mEX1hHLvGY1bm35uwwPr
6+FY97Z3qgULoy1XSOMUWcM5BFSK5PSQaJ6oHzg6KJZ11s2j7JO/RHUumV1XEljdcinNNYf8O/j4
btzoT8SUfGw5rXqyHZ3vglSDbyvLOqlRXEHqMJmBdrMjyhGVEw8kz7kATBJ21y6QVjR+UpV+lCyH
koENEseIN0JZwCJAFq/T+EMYroNQywhaS6uLvNXZdtZkcLebcVEo91BllGccHmxfeJX7pD1yHXqF
XXq+8bTPVZk7Y/A5l36crUYe6keVRjegF3yl3DKoqjW+OtKWpWpI6ChI3Fao+/XDVUT/EwC7qNy6
pEk71a7Iic0qAlDvMoys4NSDXBWuBmBUCryd8e46oajrFRgPdNrgXy3ToQcWUFM3nyiYD2Eil4ey
CRtYFtvjMDVd/J0CX4BAtVxbXw066ztRRPbEW9FGsM0j9XL/B7zT19uskLoFwMQOPPMWvSlRQQ8P
wNMEOBndVHE8su2G8G82Anse9WjNhqIeITQoNspz4kquXdhq0SICQOXPMhiBc1R5oMnF9UCvsyJX
jkPci5dkBlaWRU3DZNfbaW/fk9y0S3uL9IlUBS6c5+Q5R3/95cJFDW99zKbz/F/8MlykcNUs8m9+
SDAnz9N36LmF29/T41yVi2x7vcjJoj1+Bb5h89vLFDXKG3RAiqDY/uiH9kvzpwM9EfPcbFeL//i3
h7SEUJIZeEGaPG/rVgxnv+qPi/77lPZT+dYIkcuMyzlDa8oHW1do3VZhntAMuHQglvKefimZH1S6
sWVbsfiMpjrO4+OeLdCfLcG3v93jWn77M9+a/+IP1iLtuBd+P6MfWQH9g4JgrqnZsqkYKhTSrTVw
PoBApwGWXwGVM2Xn8Xl/oyXQ37sCkvrBthwLRTPdNA1DpRG5tQSq9oEmVRlSJx3EPOQA9ONDP/B3
WoJ3ngL4qRTDgN9AV3XTVoEntBfgg2lBl+DItg4EnrX42y0Ae/OdSwAT7AeIH+AOR1BVNg396BxA
DkHthdOh2rr1tzMDJoarxYjxo1ZANTnntm4Qhtim2Rz19g5wPlgWv4P+y4EN7O+2/xX9cUf+/D2g
Wh9ABdmYe8MwFKKW9vdX7A+8exsWNA1SOLjQ/nY7gDm/cwtg6W1DNTRMvaGAUpS11hZgBaCW0A1H
MS0d+jv5By6C7zCVvzsWlOmj+d6lCBb5a07Fn33gcJ2+/P3TVdqw/OmWqSi/s+/tP9r4GI9Pf7xW
m7//0nI59qb+2S8Ppv/5P3/6ii8f/uq0Dj8cBYvMzR787f4Lb58m2nh8//FvHdfP3KDt73DM/5jH
C8fodwvwrWG721VW5odxmjVpnKj3jjp0d+7JtMiC1WGsZmRFhjrxvUOPM7e9CArcO+8eNM/cRXQY
Zz9XRcDiMtd1a1AVb+q9cz1Ns/nREqgClmBSVm5QHKa3XwJNwLBni3uXWm57XAE77BPNn61B95RO
e0f41Sjhuw7DFVFM1hrVEbALpm45D04+Zu4xxaiMjX7vbpgSorqHYZq3pqoCDtltEhSL+X7OJ0BB
MrdYtGyEqmLu3zv1Xxd5cdJxk/Aw1H76hoBF+bKIF63dAR7t8JCf3x0U+93kZLQIPL9orYauyiKM
5k2Z3J+Mcx4ybw3f+KAgGwR8g4/35cl5mbf2y9PoAjbNn83f0izDxJV0LMN2Glehiau/vXleuz5/
D7FeXqrtAPrHf/80m2b/aQ4kNN/lEWBrEr7FC28Ar/OPL/dL+rBwkzc+0/IuHnM7z0b4r3EvaPlz
8yNLYn7rKLJFv8umfvwtCx5aO87SX2y2p7X83iETzPRDcTQsfK8v7pUfHPd4ART1nSOyqulqcdjt
+0tVNvQXJ/nHpnmRZoV/8jFeHC+sChfzO8f+WOZF5kZHG8Eixjl8iYP9/LE5TxtyxNfmrJFte+Fm
PB/7rzMFpDa+yxCUf2QjXxz057NvVo7I4vmP+nzT4hDYHKKAlv06/PBbPjxZ4cxrvzKbCPgPG/Jz
ocF1mR8fiCYIfO+wNyX6H9vDOPs7X/uWoXmeXThamj9dSoEXwuOhOryG/QSeXmTb0LeM+It98I3P
/kUGv+sm7rxll7UXZ/zZzv5O0zzMFouk8WCev19HwK45X9TBQ/p8VMV8YTd+fL5TQuri5JK4O1uc
MO2T82BdLkj6P3+SKgt40pNLPS1e+NJNxvq9h6rLANjt1yysivV+ceE+W6nvvci7bhbc3+PNHGb7
eJ2hYGnb8uFnh9vhxfivHdVv2EKBB1jZ37j/vAP8MSKyblt9Adv0YzJPs6xlFwRcJXu3oj1XRcCu
7ywiD3qjw+bb3yUvHKBnW/E7jVgHSYnA3ZuD0SLbQZm7CZLWkqhvXliPuedv3dpM3j1Kvb10N39i
8rDuc1Jb0337fn17ur1FErtZK1YXEVSPM5ahfV00BNeLxjHavmJNvvMV9nO4XtuLQFj37mG7u8WD
f3K9WJX3UfBwGK/Zd02+/b2THtDtcrQW1puh8ttvbuBm6eK1xMLLYOHHt9uAdOxDK8KxBRzsYXDP
bXaUjHMEvMAh2IUkb7ufzrdux+/cb8NFRkKy5dU2pfH37ojGnWqvblNsfe+oXVS6ivbhUGQB447K
BNPTWgRUk94/3/HDCxuhKAI2w7hwo/ZsFQGrcLrIjjaYogpwgE/JPZ6723ZeUxFxEZ25kGO27guq
fe9/a5DD+OWxh6K8TH78uM2ZRunGDY+nLGCNzwLMe7FI8mJxVGnTBZj3s7JexPdpmXmHxd170LoA
E3+eogG+ab9DQ4BZO08T9yjqauS+3muAzhvbfhhmvwimgLd3sSj8RfYyfW4JcIvJuVVu21aIuJoB
Bh5d+IqIPP8lGcKGgbS1xCKi8OuUW6598FRZgK1oTvTieGBFwAae7q1mFiSt1IEqIviYro7K8aqI
kvF04xLXZfPnr05VRSxxtZi3Lw/QTYen/LyjjTxYsXs8dYfB9mGYiCvvNmwQDy3nEpXDw2N+fs5P
qZhJkHhoiR7G20/7ZWnix6+nO5yrB/ZdlwimNbghwMhhkbmgFl7W3tAigpvpIjuuUFsCVvsRYXJy
e3FysSj3Saqv6dFLFWFKKZwuTtLf8JHaCSpDEYGOGHy5/sTQ4WJOWLls312OKcJtvE4fQjdqmWwL
ZWJTBLxlkubpprVhoNwE2vmmb/7XZe3Upvb2D0za/eb53KB50d6lAgzDR6zwvcvebG1/AW7rxwww
RfvOF+CxgvvwIne+yP2WiRSwEOdbt8lUtYYVMWG/PH5pAgL8DgqPi+D5XDUBc+26xBnz9jsTEdJN
s+DkDMBOy/6JuDIpq7UTrCLirRGtGyeT5o/px+vnS6w0YNX3xjBjEuUJDKettUCCWcjIx6MKOBan
7qptGhQRQLHJNvOgYzo6GTTJvH8ZHmEOkzRbtJdYE7DEj3CEV8YWsDEmYF9D/+WSCDjXZ26aHxZ2
HzZrQoLxBzd9cUQMAauMr+qlR1gSZa+r/s7sPvmDebBpQxKVb6KVvjONy8Du9vhMN90U77UWF4vV
UThuCXh1l27mkht9LbeviECAXJJle7GRRaThL0H1B6sVwV1rP6N48v6lnhLWuSvMxmGofWCnCPCE
bnw3OM7XqKqA3XHjLoOXK62qArbIjRtUbbuPqO1hZX4+hG5API1beLw7VBEW6XZ3v3hlOUQkSu+C
RZG47ZhfhKmDZD8rV08H8bC8exNNo6SA9Z6UiZuj8/baEyy6NQ+P/Pk3Ol2B8o62r9kSTWm6ZN5t
A8+D+ZwYve/mxWGwZoUee3D+fHQsxHcBTad+gGIpeZdHCPXzR4AMbQSZDz/6+UXa3w/uyaTMguj/
/o//mYfu1j25DuZey9gAuIFoQ0DW+QYVl0w6AyffHp/WY00EFG+6wJcPy9feOWBtS7UE7CsEX+bp
yX8/uSF5wg6O3cNbaN69QwuhIQI7P3GhMgla6ARFBtpuiajCXrpSFEgPfuBKkCM/n//TMwS8ahLV
3isjCzAdZ4gS+kfOx+PSvHm9/HXpnwYj/g/M/kQeoO3WCRAQcHxsvOzWoAIsHSqeOY5Da1hFxLg4
Da0MlQgnp8Plm8zbaZQ3N/fbwJmu786fn0kRtYcDdqhJVVOuPOk2MVLrIQJs7n7Qk//Wu+7+e2to
AZuN1NIiQ2i5Na6AfQFFH1KB3PWPkVZzORgCkgi/42L3XSjJq9AtER1nXXe1OLlbZPPWRf12o9Pb
m7C3DMAMFK3NbQqojPbRhGz5YSLCXNjl3SLFxEUnw5LormU+TAHbpJ8FxVFCSESNql/4QbpqW2YR
zs8NJ3xIMrY9si3AXxi69+1DaAtwFYbUJlqv7O0K0dsb+OVGUERABsabNNtiPo+iCUXEJTVZJNvW
OrzSCPbjdeGz4P749ldEJM+JD9LCb10iFPcOlvTngx3me7QKDa/GezNh53SdeG7+0K7QKLoA4wA8
Li3aoZIipOZOVrBqGWDFELC+BJNHgwo4wufcog/HkC0ha0vMS3TdtmSKiJvoPN01JpK+m8Pu2idO
RMDALwIc7taoIqz6ftSjhRCB/360lBIsvrnbDjNftkj+uPm5xp1vN3ypIupgT52dL7p89xxM7zUW
JCgWRzg2KJkOL/TnTdu0afhyT84Wx0gURYD3PQUkd1T1UEWgOKbl/CiTK+Kuu0nb8YeqCXAup//6
X+nJTRr/63/vu2gus3/9n+QhaHdCq5qAtYZzIDiq16gNB957N96Nm+yOjR2cgO8f+NZ7cQpFVOaJ
gENK6CcDN285AqqIQjoERMGRC6uKKONNKxe93CMArGoKON9fX/jcqogc+dcgvnfvq9Y9pYognnk0
oi8P+NvQ5b8uRbfnW/gH5uheJZcw3m4B/uvexGOH73tfxfP5Nzfr/xOqApoeg137/Aiw1t2UOiR1
mDbPiAgT1Y9Opm60cWmKPdj+xjm1BNyRQ1IlCzyFVqD5ksLkxx09cE/zhs3l+YQphRz++vNe0wUL
nLle2ZoxLInvH/mSvEO7MqS83ZX3fMP2n4g0/qtayp+63v+/OHMfs/K+/cre/8I+st5shL1313Gz
e1zTw6DN+RCwJahqlEHUPh0iQBzNbDnO7dMhIK/RpPrgaGQbt4YWAbKDGNwlJHylsC0CC9d1tzT1
vFYDFgG46B7tPRGJE6Rig+TI2Itw7w7jvl4mEIEvo5/3mHVFRL/XgGEffIkbZQ53SdmOs0TkDkZQ
Q7ZzVSLgB6cclqPXiP7MwY78/D31tBznLurKyYu8koiyUtOFkzcphFYFBabc90/+kg71Im2cmXYg
J4I7dVqcTIKiyPdm+2KxCdqmSgRQiUeclQ/t5Jgqoj/mhia+YO7O93O/Se/do7SFiE7oBtX2uDhd
Nmaav2YUVREkHazSXQBvAtxDhL/7QvCjaXiBiBSRcu+QuQ1yn0dCE/aqpVdFHIrb6TefIMAn6NCO
HBwBO0W44l3cZUDQh8O792BEJIqnbtvxUi0B1u2RsqoPUR99hmX7BIvIQj+Oj5sEPCFaxNvnq4LQ
7+GvP2+e2fyNaW43o2qyI6IA/TR2G2KiNRT+b837r4smmvD9H9nr9hqX5NtN3X/di3jkonxvTEdF
/I/sc5s5/i+i+vuYec2M2qV9EYjeDt0dR9QhIpptO1mTFz4c2MYai6hJdOk5aGWeRNTIuyjnHcM7
RODJ+w/48u2ckwi6w0fPuMHmHAE93k40vw30GLhR2GTzX/OaGo2UP07Fz/GRDlEUO9rDQvpFKGyT
fWptDUUENVbTnUOOpHWBKo1aynsX4nKRlYdRmtOhiMD+3Gbl8WRR/zk85udv+ztKuDsoNdv5obfh
Hj95Dbz2z9qyIc0nHqKFm/3ynwAAAP//</cx:binary>
              </cx:geoCache>
            </cx:geography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2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49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85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3175">
        <a:solidFill>
          <a:schemeClr val="bg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765550" y="0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37C6BEA6-27C0-4C25-A540-6F4FEF9937A0}" type="datetimeFigureOut">
              <a:rPr lang="de-DE"/>
              <a:pPr>
                <a:defRPr/>
              </a:pPr>
              <a:t>22.05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56725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765550" y="9356725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F9F4C2DE-2863-4428-B48D-4D2349C28FB8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765550" y="0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DC8969D8-038D-4ECC-AF25-86B284CDBD42}" type="datetimeFigureOut">
              <a:rPr lang="de-DE"/>
              <a:pPr>
                <a:defRPr/>
              </a:pPr>
              <a:t>22.05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1275" y="739775"/>
            <a:ext cx="6565900" cy="3694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896" tIns="44948" rIns="89896" bIns="44948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65163" y="4679950"/>
            <a:ext cx="5318125" cy="4430713"/>
          </a:xfrm>
          <a:prstGeom prst="rect">
            <a:avLst/>
          </a:prstGeom>
        </p:spPr>
        <p:txBody>
          <a:bodyPr vert="horz" lIns="89896" tIns="44948" rIns="89896" bIns="44948" rtlCol="0">
            <a:normAutofit/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56725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765550" y="9356725"/>
            <a:ext cx="2881313" cy="492125"/>
          </a:xfrm>
          <a:prstGeom prst="rect">
            <a:avLst/>
          </a:prstGeom>
        </p:spPr>
        <p:txBody>
          <a:bodyPr vert="horz" lIns="89896" tIns="44948" rIns="89896" bIns="4494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5ADF4B6A-45C1-449D-88A5-6892688F4B8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88900" y="746125"/>
            <a:ext cx="6621463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ADF4B6A-45C1-449D-88A5-6892688F4B85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94771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59181" indent="-259181" defTabSz="6911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ysClr val="windowText" lastClr="000000"/>
                </a:solidFill>
                <a:latin typeface="DIN Next LT Pro"/>
              </a:rPr>
              <a:t>By 2020, the number of cars is expected to increase to more than 1.3 billion, particularly in the Asian region, the private ownership of vehicles will increase substantially.</a:t>
            </a:r>
          </a:p>
          <a:p>
            <a:pPr defTabSz="691149" fontAlgn="auto">
              <a:spcBef>
                <a:spcPts val="0"/>
              </a:spcBef>
              <a:spcAft>
                <a:spcPts val="0"/>
              </a:spcAft>
            </a:pPr>
            <a:endParaRPr lang="en-US" kern="0" dirty="0">
              <a:solidFill>
                <a:sysClr val="windowText" lastClr="000000"/>
              </a:solidFill>
              <a:latin typeface="DIN Next LT Pro"/>
            </a:endParaRPr>
          </a:p>
          <a:p>
            <a:pPr marL="259181" indent="-259181" defTabSz="691149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ysClr val="windowText" lastClr="000000"/>
                </a:solidFill>
                <a:latin typeface="DIN Next LT Pro"/>
              </a:rPr>
              <a:t>By 2025, the world stock of vehicles is expected to increase to more than 1.5 billion.</a:t>
            </a:r>
          </a:p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ADF4B6A-45C1-449D-88A5-6892688F4B85}" type="slidenum">
              <a:rPr lang="de-DE" smtClean="0"/>
              <a:pPr>
                <a:defRPr/>
              </a:pPr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23745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3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928670"/>
            <a:ext cx="10972800" cy="6334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1714488"/>
            <a:ext cx="10972800" cy="4442472"/>
          </a:xfrm>
        </p:spPr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defRPr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7871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4417" y="1772816"/>
            <a:ext cx="575733" cy="360040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791745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9840417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807969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824160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1391478" y="2637334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1391478" y="3285406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1391478" y="3933478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391478" y="4581550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91745" y="2636912"/>
            <a:ext cx="1728225" cy="359618"/>
          </a:xfr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5807969" y="2636912"/>
            <a:ext cx="1728225" cy="35961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7824193" y="2636912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3265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AA73224C-92F3-4EF7-B811-61AE38E676EB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429002" y="6484939"/>
            <a:ext cx="2570989" cy="230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1" name="Rechteck 10"/>
          <p:cNvSpPr/>
          <p:nvPr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6672065" y="6525344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Datei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E727657-8A3E-4065-8D2F-9E42AA0EB3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700" y="3466038"/>
            <a:ext cx="2094230" cy="519486"/>
          </a:xfrm>
          <a:prstGeom prst="rect">
            <a:avLst/>
          </a:prstGeom>
        </p:spPr>
      </p:pic>
      <p:sp>
        <p:nvSpPr>
          <p:cNvPr id="15" name="Gefaltete Ecke 3">
            <a:extLst>
              <a:ext uri="{FF2B5EF4-FFF2-40B4-BE49-F238E27FC236}">
                <a16:creationId xmlns:a16="http://schemas.microsoft.com/office/drawing/2014/main" id="{DB86B062-4684-42A1-939E-04699D6319BC}"/>
              </a:ext>
            </a:extLst>
          </p:cNvPr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6" name="Picture 14">
            <a:extLst>
              <a:ext uri="{FF2B5EF4-FFF2-40B4-BE49-F238E27FC236}">
                <a16:creationId xmlns:a16="http://schemas.microsoft.com/office/drawing/2014/main" id="{8B99944E-D464-4C5A-9526-F649E112B33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C0DD8CEF-086C-40C9-B06E-8FA377220636}"/>
              </a:ext>
            </a:extLst>
          </p:cNvPr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07C34B9D-4B42-4AF9-B2BA-0FEA0DE5B75D}"/>
              </a:ext>
            </a:extLst>
          </p:cNvPr>
          <p:cNvSpPr/>
          <p:nvPr userDrawn="1"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FFF9B00-0668-4483-AED2-385842412367}"/>
              </a:ext>
            </a:extLst>
          </p:cNvPr>
          <p:cNvSpPr txBox="1"/>
          <p:nvPr userDrawn="1"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416A7C1-EE23-466B-BA60-547AC5BFF98C}"/>
              </a:ext>
            </a:extLst>
          </p:cNvPr>
          <p:cNvSpPr txBox="1"/>
          <p:nvPr userDrawn="1"/>
        </p:nvSpPr>
        <p:spPr>
          <a:xfrm>
            <a:off x="3071848" y="6484938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0F0AE012-9C8D-4D10-BB3E-4C3F77A05451}"/>
              </a:ext>
            </a:extLst>
          </p:cNvPr>
          <p:cNvSpPr txBox="1"/>
          <p:nvPr userDrawn="1"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349484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461" y="1214422"/>
            <a:ext cx="10972800" cy="9144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"/>
          </p:nvPr>
        </p:nvSpPr>
        <p:spPr>
          <a:xfrm>
            <a:off x="609600" y="2360478"/>
            <a:ext cx="5388864" cy="37964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"/>
          </p:nvPr>
        </p:nvSpPr>
        <p:spPr>
          <a:xfrm>
            <a:off x="6176264" y="2357430"/>
            <a:ext cx="5388864" cy="37964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037154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276335"/>
            <a:ext cx="5386917" cy="685800"/>
          </a:xfrm>
          <a:noFill/>
          <a:ln>
            <a:noFill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2">
                    <a:lumMod val="7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3"/>
          </p:nvPr>
        </p:nvSpPr>
        <p:spPr>
          <a:xfrm>
            <a:off x="6197601" y="1285860"/>
            <a:ext cx="5389033" cy="685800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>
                    <a:lumMod val="7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2"/>
          </p:nvPr>
        </p:nvSpPr>
        <p:spPr>
          <a:xfrm>
            <a:off x="609600" y="2500306"/>
            <a:ext cx="5384800" cy="36718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4"/>
          </p:nvPr>
        </p:nvSpPr>
        <p:spPr>
          <a:xfrm>
            <a:off x="6197600" y="2500306"/>
            <a:ext cx="5384800" cy="36718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833554"/>
      </p:ext>
    </p:extLst>
  </p:cSld>
  <p:clrMapOvr>
    <a:masterClrMapping/>
  </p:clrMapOvr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392" y="620688"/>
            <a:ext cx="11016120" cy="565159"/>
          </a:xfr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lIns="274320" anchor="ctr"/>
          <a:lstStyle>
            <a:lvl1pPr algn="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9600" y="1905000"/>
            <a:ext cx="109728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0" y="1219200"/>
            <a:ext cx="10972800" cy="533400"/>
          </a:xfrm>
        </p:spPr>
        <p:txBody>
          <a:bodyPr anchor="ctr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48948330"/>
      </p:ext>
    </p:extLst>
  </p:cSld>
  <p:clrMapOvr>
    <a:masterClrMapping/>
  </p:clrMapOvr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009505"/>
      </p:ext>
    </p:extLst>
  </p:cSld>
  <p:clrMapOvr>
    <a:masterClrMapping/>
  </p:clrMapOvr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623392" y="2428868"/>
            <a:ext cx="10959008" cy="3590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1977144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909051703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735" y="116632"/>
            <a:ext cx="10972800" cy="6334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809269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9E2A8603-B4A7-4247-AAB8-DCCE3965E74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88" r="-1638"/>
          <a:stretch/>
        </p:blipFill>
        <p:spPr bwMode="auto">
          <a:xfrm>
            <a:off x="0" y="0"/>
            <a:ext cx="12301870" cy="5681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6867" name="Rectangle 3"/>
          <p:cNvSpPr>
            <a:spLocks noChangeArrowheads="1"/>
          </p:cNvSpPr>
          <p:nvPr/>
        </p:nvSpPr>
        <p:spPr bwMode="auto">
          <a:xfrm>
            <a:off x="0" y="3886200"/>
            <a:ext cx="12192000" cy="2971800"/>
          </a:xfrm>
          <a:prstGeom prst="rect">
            <a:avLst/>
          </a:prstGeom>
          <a:solidFill>
            <a:srgbClr val="E3E4E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69" name="Rectangle 5"/>
          <p:cNvSpPr>
            <a:spLocks noChangeArrowheads="1"/>
          </p:cNvSpPr>
          <p:nvPr/>
        </p:nvSpPr>
        <p:spPr bwMode="auto">
          <a:xfrm>
            <a:off x="4017480" y="3881438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70" name="Rectangle 6"/>
          <p:cNvSpPr>
            <a:spLocks noChangeArrowheads="1"/>
          </p:cNvSpPr>
          <p:nvPr/>
        </p:nvSpPr>
        <p:spPr bwMode="auto">
          <a:xfrm>
            <a:off x="4017480" y="3100391"/>
            <a:ext cx="8174567" cy="782637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7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4318000" y="3103563"/>
            <a:ext cx="7874000" cy="774700"/>
          </a:xfrm>
        </p:spPr>
        <p:txBody>
          <a:bodyPr lIns="91388" tIns="45696" rIns="91388" bIns="45696" anchor="ctr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76872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18000" y="3881438"/>
            <a:ext cx="7874000" cy="1365250"/>
          </a:xfrm>
        </p:spPr>
        <p:txBody>
          <a:bodyPr lIns="91388" tIns="45696" rIns="91388" bIns="45696" anchor="ctr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19ADF5CE-D897-421C-BC56-F65F8B50D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85135" y="5911850"/>
            <a:ext cx="2483108" cy="615950"/>
          </a:xfrm>
          <a:prstGeom prst="rect">
            <a:avLst/>
          </a:prstGeom>
          <a:noFill/>
        </p:spPr>
      </p:pic>
      <p:pic>
        <p:nvPicPr>
          <p:cNvPr id="9" name="Picture 27" descr="Werkstattsysteme_Motiv_klein">
            <a:extLst>
              <a:ext uri="{FF2B5EF4-FFF2-40B4-BE49-F238E27FC236}">
                <a16:creationId xmlns:a16="http://schemas.microsoft.com/office/drawing/2014/main" id="{B5CC82ED-FBEC-4777-80C0-26710894B00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-100013"/>
            <a:ext cx="12192000" cy="4592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12">
            <a:extLst>
              <a:ext uri="{FF2B5EF4-FFF2-40B4-BE49-F238E27FC236}">
                <a16:creationId xmlns:a16="http://schemas.microsoft.com/office/drawing/2014/main" id="{B264BB53-01D2-4860-91A3-0A6882504DB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886200"/>
            <a:ext cx="12192000" cy="2971800"/>
          </a:xfrm>
          <a:prstGeom prst="rect">
            <a:avLst/>
          </a:prstGeom>
          <a:solidFill>
            <a:srgbClr val="E3E4E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74807562-0D96-4EAA-A91A-6FC0F8F19D0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17434" y="3886200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92B2997E-EF3F-4A56-87F7-72F2BA30888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17434" y="3105150"/>
            <a:ext cx="8174567" cy="782638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38133706-4D0F-4FBE-828A-5318B08D8F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6055" y="5883908"/>
            <a:ext cx="2422188" cy="60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338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24744"/>
            <a:ext cx="10972800" cy="43733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20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1714488"/>
            <a:ext cx="10972800" cy="4442472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defRPr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3061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draußen, Boden enthält.&#10;&#10;Mit hoher Zuverlässigkeit generierte Beschreibung">
            <a:extLst>
              <a:ext uri="{FF2B5EF4-FFF2-40B4-BE49-F238E27FC236}">
                <a16:creationId xmlns:a16="http://schemas.microsoft.com/office/drawing/2014/main" id="{6C6BFDF6-F6CC-4F2C-B4DF-73C8F0C6B5F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67687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0" y="1918252"/>
            <a:ext cx="12192000" cy="2706771"/>
          </a:xfrm>
        </p:spPr>
        <p:txBody>
          <a:bodyPr lIns="91388" tIns="45696" rIns="91388" bIns="45696" anchor="ctr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68B8FD5A-096E-43F2-97AC-0EA1279C9E79}"/>
              </a:ext>
            </a:extLst>
          </p:cNvPr>
          <p:cNvSpPr/>
          <p:nvPr/>
        </p:nvSpPr>
        <p:spPr>
          <a:xfrm>
            <a:off x="0" y="6008320"/>
            <a:ext cx="12192000" cy="86409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A446C5D9-8BC7-484F-A102-F8B7C7D9C4F6}"/>
              </a:ext>
            </a:extLst>
          </p:cNvPr>
          <p:cNvSpPr txBox="1"/>
          <p:nvPr/>
        </p:nvSpPr>
        <p:spPr>
          <a:xfrm>
            <a:off x="213829" y="5999798"/>
            <a:ext cx="24962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err="1">
                <a:latin typeface="+mn-lt"/>
              </a:rPr>
              <a:t>Supported</a:t>
            </a:r>
            <a:r>
              <a:rPr lang="de-DE" sz="1100" dirty="0">
                <a:latin typeface="+mn-lt"/>
              </a:rPr>
              <a:t> </a:t>
            </a:r>
            <a:r>
              <a:rPr lang="de-DE" sz="1100" dirty="0" err="1">
                <a:latin typeface="+mn-lt"/>
              </a:rPr>
              <a:t>by</a:t>
            </a:r>
            <a:r>
              <a:rPr lang="de-DE" sz="1100" dirty="0">
                <a:latin typeface="+mn-lt"/>
              </a:rPr>
              <a:t>: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BEFFF6-6EA9-4A21-8C81-264267890F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981" y="6370085"/>
            <a:ext cx="888340" cy="386428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6188E65A-BDF7-485F-B28C-C6B9775422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8577" y="6372271"/>
            <a:ext cx="2026677" cy="342002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BF1E7593-88A0-424E-A030-6C15FB7211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919" y="6388333"/>
            <a:ext cx="1425443" cy="325940"/>
          </a:xfrm>
          <a:prstGeom prst="rect">
            <a:avLst/>
          </a:prstGeom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AEDA0B05-50AC-4974-AD58-D43060ED5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552543" y="6204635"/>
            <a:ext cx="2054527" cy="5096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91172479"/>
      </p:ext>
    </p:extLst>
  </p:cSld>
  <p:clrMapOvr>
    <a:masterClrMapping/>
  </p:clrMapOvr>
  <p:hf sldNum="0" hd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59AEC6B9-20FF-48A9-8EE5-6398F5A62C8E}"/>
              </a:ext>
            </a:extLst>
          </p:cNvPr>
          <p:cNvGrpSpPr/>
          <p:nvPr userDrawn="1"/>
        </p:nvGrpSpPr>
        <p:grpSpPr>
          <a:xfrm>
            <a:off x="0" y="-1"/>
            <a:ext cx="12192000" cy="806400"/>
            <a:chOff x="0" y="-1"/>
            <a:chExt cx="12192000" cy="8064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3E3D8BA9-856B-42F0-9412-EF071F566BF6}"/>
                </a:ext>
              </a:extLst>
            </p:cNvPr>
            <p:cNvSpPr/>
            <p:nvPr userDrawn="1"/>
          </p:nvSpPr>
          <p:spPr>
            <a:xfrm>
              <a:off x="0" y="-1"/>
              <a:ext cx="12192000" cy="806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ln>
                  <a:noFill/>
                </a:ln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5956CA5-DFF8-43C3-A698-F24FD5839C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5665" y="248995"/>
              <a:ext cx="2031800" cy="504000"/>
            </a:xfrm>
            <a:prstGeom prst="rect">
              <a:avLst/>
            </a:prstGeom>
          </p:spPr>
        </p:pic>
      </p:grpSp>
      <p:sp>
        <p:nvSpPr>
          <p:cNvPr id="2" name="Gefaltete Ecke 1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239350" y="6484939"/>
            <a:ext cx="4476751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indent="0">
              <a:defRPr/>
            </a:pP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wolk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after </a:t>
            </a: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sales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experts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2018		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22544100-BDF8-4B69-A5D8-2C23CD3E2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50" y="85547"/>
            <a:ext cx="10972800" cy="633412"/>
          </a:xfrm>
        </p:spPr>
        <p:txBody>
          <a:bodyPr/>
          <a:lstStyle>
            <a:lvl1pPr>
              <a:defRPr cap="sm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16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80393" y="6152561"/>
            <a:ext cx="6829707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16320" y="6152561"/>
            <a:ext cx="914427" cy="360000"/>
          </a:xfrm>
          <a:prstGeom prst="rect">
            <a:avLst/>
          </a:prstGeom>
        </p:spPr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8464109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folie"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-9753" y="0"/>
            <a:ext cx="12216000" cy="3873600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341009" name="Picture 17" descr="wolk-ase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55567" y="5911850"/>
            <a:ext cx="3329517" cy="615950"/>
          </a:xfrm>
          <a:prstGeom prst="rect">
            <a:avLst/>
          </a:prstGeom>
          <a:noFill/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017434" y="3881438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017434" y="3100389"/>
            <a:ext cx="8174567" cy="782637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18000" y="3881438"/>
            <a:ext cx="7874000" cy="1365250"/>
          </a:xfrm>
        </p:spPr>
        <p:txBody>
          <a:bodyPr lIns="91440" tIns="45720" rIns="91440" bIns="45720" anchor="ctr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ctrTitle"/>
          </p:nvPr>
        </p:nvSpPr>
        <p:spPr>
          <a:xfrm>
            <a:off x="4318000" y="3108325"/>
            <a:ext cx="7874000" cy="774700"/>
          </a:xfrm>
        </p:spPr>
        <p:txBody>
          <a:bodyPr lIns="91440" tIns="45720" rIns="91440" bIns="45720"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endParaRPr lang="de-DE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340769"/>
            <a:ext cx="10972800" cy="551737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20486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708921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28498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861049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268761"/>
            <a:ext cx="10972800" cy="551737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13285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636913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140969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789041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no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24418" y="1773238"/>
            <a:ext cx="10943167" cy="446405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484785"/>
            <a:ext cx="10972800" cy="407721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20486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708921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28498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861049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725775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4417" y="1772816"/>
            <a:ext cx="575733" cy="360040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durch Klick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791745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9840417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807969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824160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1391478" y="2637334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1391478" y="3285406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1391478" y="3933478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391478" y="4581550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91745" y="2636912"/>
            <a:ext cx="1728225" cy="359618"/>
          </a:xfr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5807969" y="2636912"/>
            <a:ext cx="1728225" cy="35961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7824193" y="2636912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6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1" name="Rechteck 10"/>
          <p:cNvSpPr/>
          <p:nvPr userDrawn="1"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071848" y="6484938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6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3071848" y="6510536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16323" y="410830"/>
            <a:ext cx="11134799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775544" y="1483952"/>
            <a:ext cx="2864000" cy="4319248"/>
          </a:xfrm>
          <a:noFill/>
        </p:spPr>
        <p:txBody>
          <a:bodyPr/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1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8712372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16323" y="410830"/>
            <a:ext cx="11134799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3050304" cy="4319248"/>
          </a:xfrm>
          <a:noFill/>
        </p:spPr>
        <p:txBody>
          <a:bodyPr/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393" y="6152561"/>
            <a:ext cx="6829707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321" y="6152561"/>
            <a:ext cx="914427" cy="360000"/>
          </a:xfrm>
          <a:prstGeom prst="rect">
            <a:avLst/>
          </a:prstGeom>
        </p:spPr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1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4041887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11134798" cy="4319248"/>
          </a:xfrm>
          <a:noFill/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978560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ay shading">
    <p:bg>
      <p:bgPr>
        <a:gradFill>
          <a:gsLst>
            <a:gs pos="0">
              <a:schemeClr val="bg1"/>
            </a:gs>
            <a:gs pos="100000">
              <a:srgbClr val="DBDBD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1" b="19391"/>
          <a:stretch/>
        </p:blipFill>
        <p:spPr>
          <a:xfrm>
            <a:off x="10731349" y="5774480"/>
            <a:ext cx="1460651" cy="108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67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7287097" cy="4319248"/>
          </a:xfrm>
          <a:noFill/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4905491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928670"/>
            <a:ext cx="10972800" cy="6334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1714488"/>
            <a:ext cx="10972800" cy="4442472"/>
          </a:xfrm>
        </p:spPr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defRPr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4987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24744"/>
            <a:ext cx="10972800" cy="43733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20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1714488"/>
            <a:ext cx="10972800" cy="4442472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defRPr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7179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412777"/>
            <a:ext cx="10972800" cy="407721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13285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636913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140969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789041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6827142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484785"/>
            <a:ext cx="10972800" cy="407721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20486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708921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28498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861049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426175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412777"/>
            <a:ext cx="10972800" cy="407721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13285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636913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140969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789041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779141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8011272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6708558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no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298536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549215309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936014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4417" y="1772816"/>
            <a:ext cx="575733" cy="360040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791745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9840417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807969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824160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1391478" y="2637334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1391478" y="3285406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1391478" y="3933478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391478" y="4581550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91745" y="2636912"/>
            <a:ext cx="1728225" cy="359618"/>
          </a:xfr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5807969" y="2636912"/>
            <a:ext cx="1728225" cy="35961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7824193" y="2636912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274219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AA73224C-92F3-4EF7-B811-61AE38E676EB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429002" y="6484939"/>
            <a:ext cx="2570989" cy="2301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1" name="Rechteck 10"/>
          <p:cNvSpPr/>
          <p:nvPr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14" name="Textfeld 13"/>
          <p:cNvSpPr txBox="1"/>
          <p:nvPr/>
        </p:nvSpPr>
        <p:spPr>
          <a:xfrm>
            <a:off x="6672065" y="6525344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Datei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E727657-8A3E-4065-8D2F-9E42AA0EB3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2700" y="3466038"/>
            <a:ext cx="2094230" cy="519486"/>
          </a:xfrm>
          <a:prstGeom prst="rect">
            <a:avLst/>
          </a:prstGeom>
        </p:spPr>
      </p:pic>
      <p:sp>
        <p:nvSpPr>
          <p:cNvPr id="15" name="Gefaltete Ecke 3">
            <a:extLst>
              <a:ext uri="{FF2B5EF4-FFF2-40B4-BE49-F238E27FC236}">
                <a16:creationId xmlns:a16="http://schemas.microsoft.com/office/drawing/2014/main" id="{FDB2756E-9CF6-441E-9B0B-8D20BF2D6D95}"/>
              </a:ext>
            </a:extLst>
          </p:cNvPr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16" name="Picture 14">
            <a:extLst>
              <a:ext uri="{FF2B5EF4-FFF2-40B4-BE49-F238E27FC236}">
                <a16:creationId xmlns:a16="http://schemas.microsoft.com/office/drawing/2014/main" id="{C07AA563-BD5E-4EC7-9D15-740CD5BF7A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E0E2625D-6F2C-434B-9EAC-35A288177554}"/>
              </a:ext>
            </a:extLst>
          </p:cNvPr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25FC2BEE-B381-42F1-B817-76CA9B360304}"/>
              </a:ext>
            </a:extLst>
          </p:cNvPr>
          <p:cNvSpPr/>
          <p:nvPr userDrawn="1"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5E473B0-3AF5-4943-B5AC-46452C9EABE9}"/>
              </a:ext>
            </a:extLst>
          </p:cNvPr>
          <p:cNvSpPr txBox="1"/>
          <p:nvPr userDrawn="1"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50950ED5-4E67-4676-90A7-04FE57E92918}"/>
              </a:ext>
            </a:extLst>
          </p:cNvPr>
          <p:cNvSpPr txBox="1"/>
          <p:nvPr userDrawn="1"/>
        </p:nvSpPr>
        <p:spPr>
          <a:xfrm>
            <a:off x="3071848" y="6484938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A3CF156-6F84-4D2A-9BF4-F5FE83CF1CAA}"/>
              </a:ext>
            </a:extLst>
          </p:cNvPr>
          <p:cNvSpPr txBox="1"/>
          <p:nvPr userDrawn="1"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901198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71461" y="1214422"/>
            <a:ext cx="10972800" cy="9144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Inhaltsplatzhalter 8"/>
          <p:cNvSpPr>
            <a:spLocks noGrp="1"/>
          </p:cNvSpPr>
          <p:nvPr>
            <p:ph sz="quarter" idx="1"/>
          </p:nvPr>
        </p:nvSpPr>
        <p:spPr>
          <a:xfrm>
            <a:off x="609600" y="2360478"/>
            <a:ext cx="5388864" cy="37964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Inhaltsplatzhalter 10"/>
          <p:cNvSpPr>
            <a:spLocks noGrp="1"/>
          </p:cNvSpPr>
          <p:nvPr>
            <p:ph sz="quarter" idx="2"/>
          </p:nvPr>
        </p:nvSpPr>
        <p:spPr>
          <a:xfrm>
            <a:off x="6176264" y="2357430"/>
            <a:ext cx="5388864" cy="379648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34271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961885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276335"/>
            <a:ext cx="5386917" cy="685800"/>
          </a:xfrm>
          <a:noFill/>
          <a:ln>
            <a:noFill/>
          </a:ln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chemeClr val="accent2">
                    <a:lumMod val="7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3"/>
          </p:nvPr>
        </p:nvSpPr>
        <p:spPr>
          <a:xfrm>
            <a:off x="6197601" y="1285860"/>
            <a:ext cx="5389033" cy="685800"/>
          </a:xfrm>
          <a:noFill/>
          <a:ln>
            <a:noFill/>
          </a:ln>
        </p:spPr>
        <p:txBody>
          <a:bodyPr anchor="b"/>
          <a:lstStyle>
            <a:lvl1pPr marL="0" indent="0">
              <a:buNone/>
              <a:defRPr sz="2400" b="1">
                <a:solidFill>
                  <a:schemeClr val="accent2">
                    <a:lumMod val="75000"/>
                  </a:schemeClr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2"/>
          </p:nvPr>
        </p:nvSpPr>
        <p:spPr>
          <a:xfrm>
            <a:off x="609600" y="2500306"/>
            <a:ext cx="5384800" cy="36718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4"/>
          </p:nvPr>
        </p:nvSpPr>
        <p:spPr>
          <a:xfrm>
            <a:off x="6197600" y="2500306"/>
            <a:ext cx="5384800" cy="367189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907043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392" y="620688"/>
            <a:ext cx="11016120" cy="565159"/>
          </a:xfr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lIns="274320" anchor="ctr"/>
          <a:lstStyle>
            <a:lvl1pPr algn="r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609600" y="1905000"/>
            <a:ext cx="10972800" cy="4270248"/>
          </a:xfrm>
          <a:solidFill>
            <a:schemeClr val="tx1">
              <a:shade val="50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spcBef>
                <a:spcPts val="600"/>
              </a:spcBef>
              <a:buNone/>
              <a:defRPr sz="3200"/>
            </a:lvl1pPr>
          </a:lstStyle>
          <a:p>
            <a:pPr lvl="0"/>
            <a:r>
              <a:rPr lang="de-DE" noProof="0"/>
              <a:t>Bild durch Klicken auf Symbol hinzufügen</a:t>
            </a:r>
            <a:endParaRPr lang="en-US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0" y="1219200"/>
            <a:ext cx="10972800" cy="533400"/>
          </a:xfrm>
        </p:spPr>
        <p:txBody>
          <a:bodyPr anchor="ctr"/>
          <a:lstStyle>
            <a:lvl1pPr marL="0" indent="0" algn="l">
              <a:buFontTx/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9594707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818810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623392" y="2428868"/>
            <a:ext cx="10959008" cy="359093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9957680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88886094"/>
      </p:ext>
    </p:extLst>
  </p:cSld>
  <p:clrMapOvr>
    <a:masterClrMapping/>
  </p:clrMapOvr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6735" y="116632"/>
            <a:ext cx="10972800" cy="63341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209632"/>
      </p:ext>
    </p:extLst>
  </p:cSld>
  <p:clrMapOvr>
    <a:masterClrMapping/>
  </p:clrMapOvr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867" name="Rectangle 3"/>
          <p:cNvSpPr>
            <a:spLocks noChangeArrowheads="1"/>
          </p:cNvSpPr>
          <p:nvPr/>
        </p:nvSpPr>
        <p:spPr bwMode="auto">
          <a:xfrm>
            <a:off x="0" y="3886200"/>
            <a:ext cx="12192000" cy="2971800"/>
          </a:xfrm>
          <a:prstGeom prst="rect">
            <a:avLst/>
          </a:prstGeom>
          <a:solidFill>
            <a:srgbClr val="E3E4E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69" name="Rectangle 5"/>
          <p:cNvSpPr>
            <a:spLocks noChangeArrowheads="1"/>
          </p:cNvSpPr>
          <p:nvPr/>
        </p:nvSpPr>
        <p:spPr bwMode="auto">
          <a:xfrm>
            <a:off x="4017480" y="3881438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70" name="Rectangle 6"/>
          <p:cNvSpPr>
            <a:spLocks noChangeArrowheads="1"/>
          </p:cNvSpPr>
          <p:nvPr/>
        </p:nvSpPr>
        <p:spPr bwMode="auto">
          <a:xfrm>
            <a:off x="4017480" y="3100391"/>
            <a:ext cx="8174567" cy="782637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68541" tIns="34272" rIns="68541" bIns="34272" anchor="ctr"/>
          <a:lstStyle/>
          <a:p>
            <a:endParaRPr lang="de-DE" sz="1800"/>
          </a:p>
        </p:txBody>
      </p:sp>
      <p:sp>
        <p:nvSpPr>
          <p:cNvPr id="67687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4318000" y="3103563"/>
            <a:ext cx="7874000" cy="774700"/>
          </a:xfrm>
        </p:spPr>
        <p:txBody>
          <a:bodyPr lIns="91388" tIns="45696" rIns="91388" bIns="45696" anchor="ctr"/>
          <a:lstStyle>
            <a:lvl1pPr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76872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18000" y="3881438"/>
            <a:ext cx="7874000" cy="1365250"/>
          </a:xfrm>
        </p:spPr>
        <p:txBody>
          <a:bodyPr lIns="91388" tIns="45696" rIns="91388" bIns="45696" anchor="ctr"/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19ADF5CE-D897-421C-BC56-F65F8B50D3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85135" y="5911850"/>
            <a:ext cx="2483108" cy="615950"/>
          </a:xfrm>
          <a:prstGeom prst="rect">
            <a:avLst/>
          </a:prstGeom>
          <a:noFill/>
        </p:spPr>
      </p:pic>
      <p:pic>
        <p:nvPicPr>
          <p:cNvPr id="9" name="Picture 27">
            <a:extLst>
              <a:ext uri="{FF2B5EF4-FFF2-40B4-BE49-F238E27FC236}">
                <a16:creationId xmlns:a16="http://schemas.microsoft.com/office/drawing/2014/main" id="{876543CA-6DAF-4E66-9A5D-09545E37F30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97" b="20298"/>
          <a:stretch/>
        </p:blipFill>
        <p:spPr bwMode="auto">
          <a:xfrm>
            <a:off x="2032" y="-315416"/>
            <a:ext cx="12192000" cy="49685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12">
            <a:extLst>
              <a:ext uri="{FF2B5EF4-FFF2-40B4-BE49-F238E27FC236}">
                <a16:creationId xmlns:a16="http://schemas.microsoft.com/office/drawing/2014/main" id="{1E717AB0-0600-4454-BC2F-0C9F65DAB6A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886200"/>
            <a:ext cx="12192000" cy="2971800"/>
          </a:xfrm>
          <a:prstGeom prst="rect">
            <a:avLst/>
          </a:prstGeom>
          <a:solidFill>
            <a:srgbClr val="E3E4E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9E9B4FAF-79CE-47CD-8CC2-4F19BD5D958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17434" y="3886200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4" name="Rectangle 21">
            <a:extLst>
              <a:ext uri="{FF2B5EF4-FFF2-40B4-BE49-F238E27FC236}">
                <a16:creationId xmlns:a16="http://schemas.microsoft.com/office/drawing/2014/main" id="{794A6CEC-D351-4FCE-B4F1-3120CF1684F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4017434" y="3105150"/>
            <a:ext cx="8174567" cy="782638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pic>
        <p:nvPicPr>
          <p:cNvPr id="15" name="Picture 4">
            <a:extLst>
              <a:ext uri="{FF2B5EF4-FFF2-40B4-BE49-F238E27FC236}">
                <a16:creationId xmlns:a16="http://schemas.microsoft.com/office/drawing/2014/main" id="{397ACDA1-F721-45ED-84F0-B24226F9ADC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37535" y="5805264"/>
            <a:ext cx="2483108" cy="6159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348149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E5D154E-5242-43C7-94F8-89BB904651D1}"/>
              </a:ext>
            </a:extLst>
          </p:cNvPr>
          <p:cNvGrpSpPr/>
          <p:nvPr userDrawn="1"/>
        </p:nvGrpSpPr>
        <p:grpSpPr>
          <a:xfrm>
            <a:off x="0" y="-1"/>
            <a:ext cx="12192000" cy="806400"/>
            <a:chOff x="0" y="-1"/>
            <a:chExt cx="12192000" cy="806400"/>
          </a:xfrm>
        </p:grpSpPr>
        <p:sp>
          <p:nvSpPr>
            <p:cNvPr id="8" name="Rechteck 7">
              <a:extLst>
                <a:ext uri="{FF2B5EF4-FFF2-40B4-BE49-F238E27FC236}">
                  <a16:creationId xmlns:a16="http://schemas.microsoft.com/office/drawing/2014/main" id="{DB634E09-1214-4780-8827-9FBE63775D9A}"/>
                </a:ext>
              </a:extLst>
            </p:cNvPr>
            <p:cNvSpPr/>
            <p:nvPr userDrawn="1"/>
          </p:nvSpPr>
          <p:spPr>
            <a:xfrm>
              <a:off x="0" y="-1"/>
              <a:ext cx="12192000" cy="806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ln>
                  <a:noFill/>
                </a:ln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67016596-12DB-434F-95FD-3D4D369F2DD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5665" y="248995"/>
              <a:ext cx="2031800" cy="504000"/>
            </a:xfrm>
            <a:prstGeom prst="rect">
              <a:avLst/>
            </a:prstGeom>
          </p:spPr>
        </p:pic>
      </p:grpSp>
      <p:sp>
        <p:nvSpPr>
          <p:cNvPr id="2" name="Gefaltete Ecke 1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6" name="Textfeld 5"/>
          <p:cNvSpPr txBox="1"/>
          <p:nvPr userDrawn="1"/>
        </p:nvSpPr>
        <p:spPr>
          <a:xfrm>
            <a:off x="239350" y="6484939"/>
            <a:ext cx="4476751" cy="230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indent="0">
              <a:defRPr/>
            </a:pP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wolk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after </a:t>
            </a: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sales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900" dirty="0" err="1">
                <a:solidFill>
                  <a:schemeClr val="accent1">
                    <a:lumMod val="50000"/>
                  </a:schemeClr>
                </a:solidFill>
              </a:rPr>
              <a:t>experts</a:t>
            </a:r>
            <a:r>
              <a:rPr lang="de-DE" sz="900" dirty="0">
                <a:solidFill>
                  <a:schemeClr val="accent1">
                    <a:lumMod val="50000"/>
                  </a:schemeClr>
                </a:solidFill>
              </a:rPr>
              <a:t> 2018		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22544100-BDF8-4B69-A5D8-2C23CD3E2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9350" y="85547"/>
            <a:ext cx="10972800" cy="633412"/>
          </a:xfrm>
        </p:spPr>
        <p:txBody>
          <a:bodyPr/>
          <a:lstStyle>
            <a:lvl1pPr>
              <a:defRPr cap="small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79443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1780393" y="6152561"/>
            <a:ext cx="6829707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516320" y="6152561"/>
            <a:ext cx="914427" cy="360000"/>
          </a:xfrm>
          <a:prstGeom prst="rect">
            <a:avLst/>
          </a:prstGeom>
        </p:spPr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6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71937450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elfolie"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/>
          <p:cNvSpPr>
            <a:spLocks noGrp="1"/>
          </p:cNvSpPr>
          <p:nvPr>
            <p:ph type="pic" sz="quarter" idx="10"/>
          </p:nvPr>
        </p:nvSpPr>
        <p:spPr>
          <a:xfrm>
            <a:off x="-9753" y="0"/>
            <a:ext cx="12216000" cy="3873600"/>
          </a:xfrm>
        </p:spPr>
        <p:txBody>
          <a:bodyPr/>
          <a:lstStyle/>
          <a:p>
            <a:endParaRPr lang="de-DE" dirty="0"/>
          </a:p>
        </p:txBody>
      </p:sp>
      <p:pic>
        <p:nvPicPr>
          <p:cNvPr id="341009" name="Picture 17" descr="wolk-ase_RGB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555567" y="5911850"/>
            <a:ext cx="3329517" cy="615950"/>
          </a:xfrm>
          <a:prstGeom prst="rect">
            <a:avLst/>
          </a:prstGeom>
          <a:noFill/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4017434" y="3881438"/>
            <a:ext cx="8174567" cy="1371600"/>
          </a:xfrm>
          <a:prstGeom prst="rect">
            <a:avLst/>
          </a:prstGeom>
          <a:solidFill>
            <a:srgbClr val="B60A3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4017434" y="3100389"/>
            <a:ext cx="8174567" cy="782637"/>
          </a:xfrm>
          <a:prstGeom prst="rect">
            <a:avLst/>
          </a:prstGeom>
          <a:solidFill>
            <a:srgbClr val="620C1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4318000" y="3881438"/>
            <a:ext cx="7874000" cy="1365250"/>
          </a:xfrm>
        </p:spPr>
        <p:txBody>
          <a:bodyPr lIns="91440" tIns="45720" rIns="91440" bIns="45720" anchor="ctr"/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Untertitel</a:t>
            </a:r>
            <a:endParaRPr lang="de-DE" dirty="0"/>
          </a:p>
        </p:txBody>
      </p:sp>
      <p:sp>
        <p:nvSpPr>
          <p:cNvPr id="9" name="Rectangle 23"/>
          <p:cNvSpPr>
            <a:spLocks noGrp="1" noChangeArrowheads="1"/>
          </p:cNvSpPr>
          <p:nvPr>
            <p:ph type="ctrTitle"/>
          </p:nvPr>
        </p:nvSpPr>
        <p:spPr>
          <a:xfrm>
            <a:off x="4318000" y="3108325"/>
            <a:ext cx="7874000" cy="774700"/>
          </a:xfrm>
        </p:spPr>
        <p:txBody>
          <a:bodyPr lIns="91440" tIns="45720" rIns="91440" bIns="45720" anchor="ctr"/>
          <a:lstStyle>
            <a:lvl1pPr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5792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71334337"/>
      </p:ext>
    </p:extLst>
  </p:cSld>
  <p:clrMapOvr>
    <a:masterClrMapping/>
  </p:clrMapOvr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340769"/>
            <a:ext cx="10972800" cy="551737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20486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708921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284985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861049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33852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268761"/>
            <a:ext cx="10972800" cy="551737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49" y="213285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49" y="2636913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49" y="3140969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49" y="3789041"/>
            <a:ext cx="10972800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5705222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0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7"/>
          <p:cNvSpPr>
            <a:spLocks noGrp="1"/>
          </p:cNvSpPr>
          <p:nvPr>
            <p:ph sz="quarter" idx="10"/>
          </p:nvPr>
        </p:nvSpPr>
        <p:spPr>
          <a:xfrm>
            <a:off x="590550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5" name="Inhaltsplatzhalter 7"/>
          <p:cNvSpPr>
            <a:spLocks noGrp="1"/>
          </p:cNvSpPr>
          <p:nvPr>
            <p:ph sz="quarter" idx="11"/>
          </p:nvPr>
        </p:nvSpPr>
        <p:spPr>
          <a:xfrm>
            <a:off x="590550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7"/>
          <p:cNvSpPr>
            <a:spLocks noGrp="1"/>
          </p:cNvSpPr>
          <p:nvPr>
            <p:ph sz="quarter" idx="12"/>
          </p:nvPr>
        </p:nvSpPr>
        <p:spPr>
          <a:xfrm>
            <a:off x="590550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Inhaltsplatzhalter 7"/>
          <p:cNvSpPr>
            <a:spLocks noGrp="1"/>
          </p:cNvSpPr>
          <p:nvPr>
            <p:ph sz="quarter" idx="13"/>
          </p:nvPr>
        </p:nvSpPr>
        <p:spPr>
          <a:xfrm>
            <a:off x="6192011" y="2476960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2" name="Inhaltsplatzhalter 7"/>
          <p:cNvSpPr>
            <a:spLocks noGrp="1"/>
          </p:cNvSpPr>
          <p:nvPr>
            <p:ph sz="quarter" idx="14"/>
          </p:nvPr>
        </p:nvSpPr>
        <p:spPr>
          <a:xfrm>
            <a:off x="6192011" y="2967336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5"/>
          </p:nvPr>
        </p:nvSpPr>
        <p:spPr>
          <a:xfrm>
            <a:off x="6192011" y="3457712"/>
            <a:ext cx="5390148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6"/>
          </p:nvPr>
        </p:nvSpPr>
        <p:spPr>
          <a:xfrm>
            <a:off x="6192011" y="3948088"/>
            <a:ext cx="5390148" cy="276999"/>
          </a:xfrm>
          <a:solidFill>
            <a:schemeClr val="bg1">
              <a:lumMod val="85000"/>
            </a:schemeClr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7" name="Inhaltsplatzhalter 7"/>
          <p:cNvSpPr>
            <a:spLocks noGrp="1"/>
          </p:cNvSpPr>
          <p:nvPr>
            <p:ph sz="quarter" idx="17"/>
          </p:nvPr>
        </p:nvSpPr>
        <p:spPr>
          <a:xfrm>
            <a:off x="590549" y="4653137"/>
            <a:ext cx="10972800" cy="276999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22" name="Inhaltsplatzhalter 7"/>
          <p:cNvSpPr>
            <a:spLocks noGrp="1"/>
          </p:cNvSpPr>
          <p:nvPr>
            <p:ph sz="quarter" idx="18"/>
          </p:nvPr>
        </p:nvSpPr>
        <p:spPr>
          <a:xfrm>
            <a:off x="590550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19"/>
          </p:nvPr>
        </p:nvSpPr>
        <p:spPr>
          <a:xfrm>
            <a:off x="6192011" y="1961481"/>
            <a:ext cx="5390148" cy="276999"/>
          </a:xfr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577774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no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576488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98624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0"/>
          </p:nvPr>
        </p:nvSpPr>
        <p:spPr>
          <a:xfrm>
            <a:off x="624418" y="1773238"/>
            <a:ext cx="10943167" cy="4464050"/>
          </a:xfr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76038815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24417" y="1772816"/>
            <a:ext cx="575733" cy="360040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 vert="vert270"/>
          <a:lstStyle>
            <a:lvl1pPr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extmasterformate durch Klick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3791745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2"/>
          </p:nvPr>
        </p:nvSpPr>
        <p:spPr>
          <a:xfrm>
            <a:off x="9840417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5807969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7824160" y="1772816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0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1391478" y="2637334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1391478" y="3285406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17"/>
          </p:nvPr>
        </p:nvSpPr>
        <p:spPr>
          <a:xfrm>
            <a:off x="1391478" y="3933478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8"/>
          </p:nvPr>
        </p:nvSpPr>
        <p:spPr>
          <a:xfrm>
            <a:off x="1391478" y="4581550"/>
            <a:ext cx="220824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1" name="Textplatzhalter 5"/>
          <p:cNvSpPr>
            <a:spLocks noGrp="1"/>
          </p:cNvSpPr>
          <p:nvPr>
            <p:ph type="body" sz="quarter" idx="19"/>
          </p:nvPr>
        </p:nvSpPr>
        <p:spPr>
          <a:xfrm>
            <a:off x="3791745" y="2636912"/>
            <a:ext cx="1728225" cy="359618"/>
          </a:xfr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2" name="Textplatzhalter 5"/>
          <p:cNvSpPr>
            <a:spLocks noGrp="1"/>
          </p:cNvSpPr>
          <p:nvPr>
            <p:ph type="body" sz="quarter" idx="20"/>
          </p:nvPr>
        </p:nvSpPr>
        <p:spPr>
          <a:xfrm>
            <a:off x="5807969" y="2636912"/>
            <a:ext cx="1728225" cy="35961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21"/>
          </p:nvPr>
        </p:nvSpPr>
        <p:spPr>
          <a:xfrm>
            <a:off x="7824193" y="2636912"/>
            <a:ext cx="1728225" cy="359618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buNone/>
              <a:defRPr sz="1100"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681888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6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1" name="Rechteck 10"/>
          <p:cNvSpPr/>
          <p:nvPr userDrawn="1"/>
        </p:nvSpPr>
        <p:spPr>
          <a:xfrm rot="1193652">
            <a:off x="7218307" y="1099791"/>
            <a:ext cx="3764749" cy="46166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de-DE" sz="2400" b="1" cap="none" spc="0" dirty="0">
                <a:ln>
                  <a:prstDash val="solid"/>
                </a:ln>
                <a:gradFill rotWithShape="1">
                  <a:gsLst>
                    <a:gs pos="0">
                      <a:schemeClr val="accent4">
                        <a:tint val="70000"/>
                        <a:satMod val="200000"/>
                      </a:schemeClr>
                    </a:gs>
                    <a:gs pos="40000">
                      <a:schemeClr val="accent4">
                        <a:tint val="90000"/>
                        <a:satMod val="130000"/>
                      </a:schemeClr>
                    </a:gs>
                    <a:gs pos="50000">
                      <a:schemeClr val="accent4">
                        <a:tint val="90000"/>
                        <a:satMod val="130000"/>
                      </a:schemeClr>
                    </a:gs>
                    <a:gs pos="68000">
                      <a:schemeClr val="accent4">
                        <a:tint val="90000"/>
                        <a:satMod val="130000"/>
                      </a:schemeClr>
                    </a:gs>
                    <a:gs pos="100000">
                      <a:schemeClr val="accent4">
                        <a:tint val="70000"/>
                        <a:satMod val="200000"/>
                      </a:schemeClr>
                    </a:gs>
                  </a:gsLst>
                  <a:lin ang="5400000"/>
                </a:gra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+mn-lt"/>
              </a:rPr>
              <a:t>Erkenne die Möglichkeiten!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5" name="Textfeld 14"/>
          <p:cNvSpPr txBox="1"/>
          <p:nvPr userDrawn="1"/>
        </p:nvSpPr>
        <p:spPr>
          <a:xfrm>
            <a:off x="857251" y="6484939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6" name="Textfeld 15"/>
          <p:cNvSpPr txBox="1"/>
          <p:nvPr userDrawn="1"/>
        </p:nvSpPr>
        <p:spPr>
          <a:xfrm>
            <a:off x="3071848" y="6484938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7" name="Textfeld 16"/>
          <p:cNvSpPr txBox="1"/>
          <p:nvPr userDrawn="1"/>
        </p:nvSpPr>
        <p:spPr>
          <a:xfrm>
            <a:off x="10509251" y="6484939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91898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efaltete Ecke 3"/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6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34301" y="3500438"/>
            <a:ext cx="3359151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feld 9"/>
          <p:cNvSpPr txBox="1"/>
          <p:nvPr userDrawn="1"/>
        </p:nvSpPr>
        <p:spPr>
          <a:xfrm>
            <a:off x="7632700" y="4149725"/>
            <a:ext cx="4320117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de-DE" sz="1200" dirty="0" err="1">
                <a:solidFill>
                  <a:schemeClr val="tx2"/>
                </a:solidFill>
                <a:latin typeface="+mn-lt"/>
              </a:rPr>
              <a:t>wolk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after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sale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experts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gmbh</a:t>
            </a:r>
            <a:endParaRPr lang="de-DE" sz="1200" dirty="0">
              <a:solidFill>
                <a:schemeClr val="tx2"/>
              </a:solidFill>
              <a:latin typeface="+mn-lt"/>
            </a:endParaRP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chnologiePark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riedrich Ebert Str. 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51429 Bergisch Gladbach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Tel.: +49 2204 842531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Fax: +49 2204 842539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e-</a:t>
            </a:r>
            <a:r>
              <a:rPr lang="de-DE" sz="1200" dirty="0" err="1">
                <a:solidFill>
                  <a:schemeClr val="tx2"/>
                </a:solidFill>
                <a:latin typeface="+mn-lt"/>
              </a:rPr>
              <a:t>mail</a:t>
            </a:r>
            <a:r>
              <a:rPr lang="de-DE" sz="1200" dirty="0">
                <a:solidFill>
                  <a:schemeClr val="tx2"/>
                </a:solidFill>
                <a:latin typeface="+mn-lt"/>
              </a:rPr>
              <a:t>: info@wolk-aftersales.de</a:t>
            </a:r>
          </a:p>
          <a:p>
            <a:pPr>
              <a:defRPr/>
            </a:pPr>
            <a:r>
              <a:rPr lang="de-DE" sz="1200" dirty="0">
                <a:solidFill>
                  <a:schemeClr val="tx2"/>
                </a:solidFill>
                <a:latin typeface="+mn-lt"/>
              </a:rPr>
              <a:t>web: www.wolk-aftersales.de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sz="quarter" idx="1"/>
          </p:nvPr>
        </p:nvSpPr>
        <p:spPr>
          <a:xfrm>
            <a:off x="239349" y="1988840"/>
            <a:ext cx="7033749" cy="398680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</p:nvPr>
        </p:nvSpPr>
        <p:spPr>
          <a:xfrm>
            <a:off x="239351" y="1268760"/>
            <a:ext cx="7104788" cy="436215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>
              <a:defRPr sz="2000" b="0" i="0" baseline="0">
                <a:latin typeface="+mn-lt"/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1" name="Textfeld 10"/>
          <p:cNvSpPr txBox="1"/>
          <p:nvPr userDrawn="1"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3071848" y="6510536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5" name="Textfeld 14"/>
          <p:cNvSpPr txBox="1"/>
          <p:nvPr userDrawn="1"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345981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516323" y="410830"/>
            <a:ext cx="11134799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775544" y="1483952"/>
            <a:ext cx="2864000" cy="4319248"/>
          </a:xfrm>
          <a:noFill/>
        </p:spPr>
        <p:txBody>
          <a:bodyPr/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1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14438002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5"/>
            <a:ext cx="2529120" cy="276999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sp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5"/>
            <a:ext cx="2529120" cy="461665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>
            <a:noAutofit/>
          </a:bodyPr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570378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16323" y="410830"/>
            <a:ext cx="11134799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3050304" cy="4319248"/>
          </a:xfrm>
          <a:noFill/>
        </p:spPr>
        <p:txBody>
          <a:bodyPr/>
          <a:lstStyle>
            <a:lvl1pPr>
              <a:defRPr sz="1125"/>
            </a:lvl1pPr>
            <a:lvl2pPr>
              <a:defRPr sz="1013"/>
            </a:lvl2pPr>
            <a:lvl3pPr>
              <a:defRPr sz="900"/>
            </a:lvl3pPr>
            <a:lvl4pPr>
              <a:defRPr sz="788"/>
            </a:lvl4pPr>
            <a:lvl5pPr>
              <a:defRPr sz="788"/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780393" y="6152561"/>
            <a:ext cx="6829707" cy="3600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16321" y="6152561"/>
            <a:ext cx="914427" cy="360000"/>
          </a:xfrm>
          <a:prstGeom prst="rect">
            <a:avLst/>
          </a:prstGeom>
        </p:spPr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1" y="942478"/>
            <a:ext cx="11134587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27167234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11134798" cy="4319248"/>
          </a:xfrm>
          <a:noFill/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38292226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ght gray shading">
    <p:bg>
      <p:bgPr>
        <a:gradFill>
          <a:gsLst>
            <a:gs pos="0">
              <a:schemeClr val="bg1"/>
            </a:gs>
            <a:gs pos="100000">
              <a:srgbClr val="DBDBD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1" b="19391"/>
          <a:stretch/>
        </p:blipFill>
        <p:spPr>
          <a:xfrm>
            <a:off x="10731349" y="5774480"/>
            <a:ext cx="1460651" cy="1083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02554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"/>
          <p:cNvSpPr>
            <a:spLocks noGrp="1"/>
          </p:cNvSpPr>
          <p:nvPr>
            <p:ph type="title"/>
          </p:nvPr>
        </p:nvSpPr>
        <p:spPr>
          <a:xfrm>
            <a:off x="516320" y="410830"/>
            <a:ext cx="11134798" cy="1073122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6320" y="1483952"/>
            <a:ext cx="7287097" cy="4319248"/>
          </a:xfrm>
          <a:noFill/>
        </p:spPr>
        <p:txBody>
          <a:bodyPr/>
          <a:lstStyle>
            <a:lvl1pPr>
              <a:defRPr sz="2200"/>
            </a:lvl1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A4F164-3A46-4CEE-A25C-CA523D5E42F3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516320" y="942478"/>
            <a:ext cx="11134586" cy="541474"/>
          </a:xfrm>
        </p:spPr>
        <p:txBody>
          <a:bodyPr lIns="10800" anchor="t" anchorCtr="0"/>
          <a:lstStyle>
            <a:lvl1pPr marL="0" indent="0">
              <a:buNone/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1">
                <a:latin typeface="Calibri Light" panose="020F0302020204030204" pitchFamily="34" charset="0"/>
              </a:rPr>
              <a:t>Enter your subheadline here</a:t>
            </a:r>
          </a:p>
        </p:txBody>
      </p:sp>
    </p:spTree>
    <p:extLst>
      <p:ext uri="{BB962C8B-B14F-4D97-AF65-F5344CB8AC3E}">
        <p14:creationId xmlns:p14="http://schemas.microsoft.com/office/powerpoint/2010/main" val="25156480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/>
          <p:cNvSpPr>
            <a:spLocks noGrp="1"/>
          </p:cNvSpPr>
          <p:nvPr>
            <p:ph sz="quarter" idx="1"/>
          </p:nvPr>
        </p:nvSpPr>
        <p:spPr>
          <a:xfrm>
            <a:off x="590552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9" name="Inhaltsplatzhalter 7"/>
          <p:cNvSpPr>
            <a:spLocks noGrp="1"/>
          </p:cNvSpPr>
          <p:nvPr>
            <p:ph sz="quarter" idx="18"/>
          </p:nvPr>
        </p:nvSpPr>
        <p:spPr>
          <a:xfrm>
            <a:off x="3391281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/>
          </p:nvPr>
        </p:nvSpPr>
        <p:spPr>
          <a:xfrm>
            <a:off x="6207173" y="2348881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0"/>
          </p:nvPr>
        </p:nvSpPr>
        <p:spPr>
          <a:xfrm>
            <a:off x="9039488" y="2332944"/>
            <a:ext cx="2529121" cy="3040273"/>
          </a:xfr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none"/>
        </p:style>
        <p:txBody>
          <a:bodyPr/>
          <a:lstStyle>
            <a:lvl1pPr marL="85725" indent="-85725">
              <a:buClr>
                <a:schemeClr val="accent2">
                  <a:lumMod val="50000"/>
                </a:schemeClr>
              </a:buClr>
              <a:buSzPct val="100000"/>
              <a:buFont typeface="Arial" pitchFamily="34" charset="0"/>
              <a:buChar char="•"/>
              <a:defRPr sz="1200"/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590549" y="1124745"/>
            <a:ext cx="10972800" cy="432048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defRPr sz="18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12" name="Inhaltsplatzhalter 7"/>
          <p:cNvSpPr>
            <a:spLocks noGrp="1"/>
          </p:cNvSpPr>
          <p:nvPr>
            <p:ph sz="quarter" idx="21"/>
          </p:nvPr>
        </p:nvSpPr>
        <p:spPr>
          <a:xfrm>
            <a:off x="590551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22"/>
          </p:nvPr>
        </p:nvSpPr>
        <p:spPr>
          <a:xfrm>
            <a:off x="3391280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23"/>
          </p:nvPr>
        </p:nvSpPr>
        <p:spPr>
          <a:xfrm>
            <a:off x="6207172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24"/>
          </p:nvPr>
        </p:nvSpPr>
        <p:spPr>
          <a:xfrm>
            <a:off x="9039488" y="1844824"/>
            <a:ext cx="2529120" cy="360040"/>
          </a:xfr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>
              <a:buClr>
                <a:schemeClr val="accent2">
                  <a:lumMod val="50000"/>
                </a:schemeClr>
              </a:buClr>
              <a:buSzPct val="100000"/>
              <a:buNone/>
              <a:defRPr sz="1200">
                <a:solidFill>
                  <a:schemeClr val="bg1"/>
                </a:solidFill>
              </a:defRPr>
            </a:lvl1pPr>
            <a:lvl2pPr>
              <a:buClr>
                <a:schemeClr val="accent2">
                  <a:lumMod val="75000"/>
                </a:schemeClr>
              </a:buClr>
              <a:buSzPct val="100000"/>
              <a:defRPr>
                <a:solidFill>
                  <a:schemeClr val="tx2">
                    <a:lumMod val="75000"/>
                  </a:schemeClr>
                </a:solidFill>
              </a:defRPr>
            </a:lvl2pPr>
            <a:lvl3pPr>
              <a:buSzPct val="100000"/>
              <a:defRPr/>
            </a:lvl3pPr>
            <a:lvl4pPr>
              <a:buSzPct val="100000"/>
              <a:defRPr/>
            </a:lvl4pPr>
            <a:lvl5pPr>
              <a:buSzPct val="100000"/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9101381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90549" y="1196752"/>
            <a:ext cx="10972800" cy="365330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none"/>
        </p:style>
        <p:txBody>
          <a:bodyPr/>
          <a:lstStyle>
            <a:lvl1pPr>
              <a:defRPr sz="1600" b="0" cap="none" spc="0">
                <a:ln>
                  <a:noFill/>
                </a:ln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82010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image" Target="../media/image2.jpeg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efaltete Ecke 24"/>
          <p:cNvSpPr/>
          <p:nvPr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27" name="Textplatzhalter 12"/>
          <p:cNvSpPr>
            <a:spLocks noGrp="1"/>
          </p:cNvSpPr>
          <p:nvPr>
            <p:ph type="body" idx="1"/>
          </p:nvPr>
        </p:nvSpPr>
        <p:spPr bwMode="auto">
          <a:xfrm>
            <a:off x="571500" y="2000250"/>
            <a:ext cx="10972800" cy="412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28" name="Titelplatzhalter 21"/>
          <p:cNvSpPr>
            <a:spLocks noGrp="1"/>
          </p:cNvSpPr>
          <p:nvPr>
            <p:ph type="title"/>
          </p:nvPr>
        </p:nvSpPr>
        <p:spPr bwMode="auto">
          <a:xfrm>
            <a:off x="571500" y="1071563"/>
            <a:ext cx="10972800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94321" y="6511182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133426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93C80903-C755-40AF-8C6B-B47269C59825}"/>
              </a:ext>
            </a:extLst>
          </p:cNvPr>
          <p:cNvGrpSpPr/>
          <p:nvPr userDrawn="1"/>
        </p:nvGrpSpPr>
        <p:grpSpPr>
          <a:xfrm>
            <a:off x="0" y="-1"/>
            <a:ext cx="12192000" cy="806400"/>
            <a:chOff x="0" y="-1"/>
            <a:chExt cx="12192000" cy="806400"/>
          </a:xfrm>
        </p:grpSpPr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27E3B488-7036-47E6-96B5-F5D6C5A8D226}"/>
                </a:ext>
              </a:extLst>
            </p:cNvPr>
            <p:cNvSpPr/>
            <p:nvPr userDrawn="1"/>
          </p:nvSpPr>
          <p:spPr>
            <a:xfrm>
              <a:off x="0" y="-1"/>
              <a:ext cx="12192000" cy="806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ln>
                  <a:noFill/>
                </a:ln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F7F88537-6FA3-4E8A-B70D-0DADE0ACAC7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5665" y="248995"/>
              <a:ext cx="2031800" cy="504000"/>
            </a:xfrm>
            <a:prstGeom prst="rect">
              <a:avLst/>
            </a:prstGeom>
          </p:spPr>
        </p:pic>
      </p:grpSp>
      <p:sp>
        <p:nvSpPr>
          <p:cNvPr id="13" name="Gefaltete Ecke 24">
            <a:extLst>
              <a:ext uri="{FF2B5EF4-FFF2-40B4-BE49-F238E27FC236}">
                <a16:creationId xmlns:a16="http://schemas.microsoft.com/office/drawing/2014/main" id="{D4418EEF-171B-4E6B-BC2C-BBC250428460}"/>
              </a:ext>
            </a:extLst>
          </p:cNvPr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76E3DEE9-665E-4500-9173-1ACFA660BA89}"/>
              </a:ext>
            </a:extLst>
          </p:cNvPr>
          <p:cNvSpPr txBox="1"/>
          <p:nvPr userDrawn="1"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09F5FD76-FD0C-4513-A4EE-C47261A839BB}"/>
              </a:ext>
            </a:extLst>
          </p:cNvPr>
          <p:cNvSpPr txBox="1"/>
          <p:nvPr userDrawn="1"/>
        </p:nvSpPr>
        <p:spPr>
          <a:xfrm>
            <a:off x="3071848" y="6510536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ACF4DAB-78C7-41F3-A529-10819DA9DEB9}"/>
              </a:ext>
            </a:extLst>
          </p:cNvPr>
          <p:cNvSpPr txBox="1"/>
          <p:nvPr userDrawn="1"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5CD82B9-3862-4575-A683-A97F9674D397}"/>
              </a:ext>
            </a:extLst>
          </p:cNvPr>
          <p:cNvSpPr txBox="1"/>
          <p:nvPr userDrawn="1"/>
        </p:nvSpPr>
        <p:spPr>
          <a:xfrm>
            <a:off x="6981397" y="6525344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Datei</a:t>
            </a:r>
          </a:p>
        </p:txBody>
      </p:sp>
    </p:spTree>
    <p:extLst>
      <p:ext uri="{BB962C8B-B14F-4D97-AF65-F5344CB8AC3E}">
        <p14:creationId xmlns:p14="http://schemas.microsoft.com/office/powerpoint/2010/main" val="2467010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  <p:sldLayoutId id="2147484171" r:id="rId12"/>
    <p:sldLayoutId id="2147484172" r:id="rId13"/>
    <p:sldLayoutId id="2147484173" r:id="rId14"/>
    <p:sldLayoutId id="2147484174" r:id="rId15"/>
    <p:sldLayoutId id="2147484175" r:id="rId16"/>
    <p:sldLayoutId id="2147484176" r:id="rId17"/>
    <p:sldLayoutId id="2147484177" r:id="rId18"/>
    <p:sldLayoutId id="2147484178" r:id="rId19"/>
    <p:sldLayoutId id="2147484179" r:id="rId20"/>
    <p:sldLayoutId id="2147484180" r:id="rId21"/>
    <p:sldLayoutId id="2147484181" r:id="rId22"/>
    <p:sldLayoutId id="2147484148" r:id="rId23"/>
    <p:sldLayoutId id="2147484104" r:id="rId24"/>
    <p:sldLayoutId id="2147484105" r:id="rId25"/>
    <p:sldLayoutId id="2147484106" r:id="rId26"/>
    <p:sldLayoutId id="2147484108" r:id="rId27"/>
    <p:sldLayoutId id="2147484110" r:id="rId28"/>
    <p:sldLayoutId id="2147484150" r:id="rId29"/>
    <p:sldLayoutId id="2147484111" r:id="rId30"/>
    <p:sldLayoutId id="2147484122" r:id="rId31"/>
    <p:sldLayoutId id="2147484123" r:id="rId32"/>
    <p:sldLayoutId id="2147484154" r:id="rId33"/>
    <p:sldLayoutId id="2147484155" r:id="rId34"/>
    <p:sldLayoutId id="2147484156" r:id="rId35"/>
    <p:sldLayoutId id="2147484157" r:id="rId36"/>
    <p:sldLayoutId id="2147484158" r:id="rId37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9C0042"/>
          </a:solidFill>
          <a:latin typeface="+mj-lt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3050" indent="-273050" algn="l" rtl="0" eaLnBrk="1" fontAlgn="base" hangingPunct="1">
        <a:spcBef>
          <a:spcPts val="600"/>
        </a:spcBef>
        <a:spcAft>
          <a:spcPct val="0"/>
        </a:spcAft>
        <a:buClr>
          <a:srgbClr val="72002C"/>
        </a:buClr>
        <a:buSzPct val="10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7688" indent="-273050" algn="l" rtl="0" eaLnBrk="1" fontAlgn="base" hangingPunct="1">
        <a:spcBef>
          <a:spcPts val="500"/>
        </a:spcBef>
        <a:spcAft>
          <a:spcPct val="0"/>
        </a:spcAft>
        <a:buClr>
          <a:srgbClr val="AB0043"/>
        </a:buClr>
        <a:buSzPct val="100000"/>
        <a:buFont typeface="Wingdings" pitchFamily="2" charset="2"/>
        <a:buChar char="§"/>
        <a:defRPr sz="1600" kern="1200">
          <a:solidFill>
            <a:srgbClr val="4D4D4D"/>
          </a:solidFill>
          <a:latin typeface="+mn-lt"/>
          <a:ea typeface="+mn-ea"/>
          <a:cs typeface="Arial" pitchFamily="34" charset="0"/>
        </a:defRPr>
      </a:lvl2pPr>
      <a:lvl3pPr marL="822325" indent="-228600" algn="l" rtl="0" eaLnBrk="1" fontAlgn="base" hangingPunct="1">
        <a:spcBef>
          <a:spcPts val="500"/>
        </a:spcBef>
        <a:spcAft>
          <a:spcPct val="0"/>
        </a:spcAft>
        <a:buClr>
          <a:srgbClr val="BCBCBC"/>
        </a:buClr>
        <a:buSzPct val="10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096963" indent="-228600" algn="l" rtl="0" eaLnBrk="1" fontAlgn="base" hangingPunct="1">
        <a:spcBef>
          <a:spcPts val="400"/>
        </a:spcBef>
        <a:spcAft>
          <a:spcPct val="0"/>
        </a:spcAft>
        <a:buClr>
          <a:srgbClr val="88261A"/>
        </a:buClr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371600" indent="-228600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efaltete Ecke 24"/>
          <p:cNvSpPr/>
          <p:nvPr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027" name="Textplatzhalter 12"/>
          <p:cNvSpPr>
            <a:spLocks noGrp="1"/>
          </p:cNvSpPr>
          <p:nvPr>
            <p:ph type="body" idx="1"/>
          </p:nvPr>
        </p:nvSpPr>
        <p:spPr bwMode="auto">
          <a:xfrm>
            <a:off x="571500" y="2000250"/>
            <a:ext cx="10972800" cy="4129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028" name="Titelplatzhalter 21"/>
          <p:cNvSpPr>
            <a:spLocks noGrp="1"/>
          </p:cNvSpPr>
          <p:nvPr>
            <p:ph type="title"/>
          </p:nvPr>
        </p:nvSpPr>
        <p:spPr bwMode="auto">
          <a:xfrm>
            <a:off x="571500" y="1071563"/>
            <a:ext cx="10972800" cy="63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14" name="Textfeld 13"/>
          <p:cNvSpPr txBox="1"/>
          <p:nvPr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794321" y="6511182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133426</a:t>
            </a:r>
          </a:p>
        </p:txBody>
      </p:sp>
      <p:sp>
        <p:nvSpPr>
          <p:cNvPr id="13" name="Gefaltete Ecke 24">
            <a:extLst>
              <a:ext uri="{FF2B5EF4-FFF2-40B4-BE49-F238E27FC236}">
                <a16:creationId xmlns:a16="http://schemas.microsoft.com/office/drawing/2014/main" id="{50E56F56-2FD2-4046-BE1D-1C040EA5FAAF}"/>
              </a:ext>
            </a:extLst>
          </p:cNvPr>
          <p:cNvSpPr/>
          <p:nvPr userDrawn="1"/>
        </p:nvSpPr>
        <p:spPr>
          <a:xfrm>
            <a:off x="0" y="6429376"/>
            <a:ext cx="12192000" cy="428625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0D41B4C-A223-488B-992F-094C6A784DA1}"/>
              </a:ext>
            </a:extLst>
          </p:cNvPr>
          <p:cNvSpPr txBox="1"/>
          <p:nvPr userDrawn="1"/>
        </p:nvSpPr>
        <p:spPr>
          <a:xfrm>
            <a:off x="857251" y="6511182"/>
            <a:ext cx="409086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017CCED3-EFB1-4D51-8B99-2112A8E13382}" type="slidenum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‹Nr.›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4BF5E67-BA39-4E87-BCBF-4118D1D51492}"/>
              </a:ext>
            </a:extLst>
          </p:cNvPr>
          <p:cNvSpPr txBox="1"/>
          <p:nvPr userDrawn="1"/>
        </p:nvSpPr>
        <p:spPr>
          <a:xfrm>
            <a:off x="3071848" y="6510536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de-DE" sz="900" dirty="0" err="1">
                <a:solidFill>
                  <a:schemeClr val="accent5"/>
                </a:solidFill>
                <a:latin typeface="+mn-lt"/>
              </a:rPr>
              <a:t>wolk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after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sales</a:t>
            </a:r>
            <a:r>
              <a:rPr lang="de-DE" sz="900" dirty="0">
                <a:solidFill>
                  <a:schemeClr val="accent5"/>
                </a:solidFill>
                <a:latin typeface="+mn-lt"/>
              </a:rPr>
              <a:t> </a:t>
            </a:r>
            <a:r>
              <a:rPr lang="de-DE" sz="900" dirty="0" err="1">
                <a:solidFill>
                  <a:schemeClr val="accent5"/>
                </a:solidFill>
                <a:latin typeface="+mn-lt"/>
              </a:rPr>
              <a:t>experts</a:t>
            </a:r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3B76C010-AB59-47D7-9F8D-417EE3464D4D}"/>
              </a:ext>
            </a:extLst>
          </p:cNvPr>
          <p:cNvSpPr txBox="1"/>
          <p:nvPr userDrawn="1"/>
        </p:nvSpPr>
        <p:spPr>
          <a:xfrm>
            <a:off x="10509251" y="6511182"/>
            <a:ext cx="739305" cy="2308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fld id="{89DF656C-19D6-4322-9AE9-EA42BDB9B559}" type="datetime1">
              <a:rPr lang="de-DE" sz="900">
                <a:solidFill>
                  <a:schemeClr val="accent5"/>
                </a:solidFill>
                <a:latin typeface="+mn-lt"/>
              </a:rPr>
              <a:pPr>
                <a:defRPr/>
              </a:pPr>
              <a:t>22.05.2018</a:t>
            </a:fld>
            <a:endParaRPr lang="de-DE" sz="9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91F80DAA-853F-48F8-9109-9676CDF4B8F3}"/>
              </a:ext>
            </a:extLst>
          </p:cNvPr>
          <p:cNvSpPr txBox="1"/>
          <p:nvPr userDrawn="1"/>
        </p:nvSpPr>
        <p:spPr>
          <a:xfrm>
            <a:off x="6981397" y="6525344"/>
            <a:ext cx="2186945" cy="2308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de-DE" sz="900" dirty="0">
                <a:solidFill>
                  <a:schemeClr val="accent5"/>
                </a:solidFill>
                <a:latin typeface="+mn-lt"/>
              </a:rPr>
              <a:t>Datei</a:t>
            </a:r>
          </a:p>
        </p:txBody>
      </p:sp>
      <p:grpSp>
        <p:nvGrpSpPr>
          <p:cNvPr id="22" name="Gruppieren 21">
            <a:extLst>
              <a:ext uri="{FF2B5EF4-FFF2-40B4-BE49-F238E27FC236}">
                <a16:creationId xmlns:a16="http://schemas.microsoft.com/office/drawing/2014/main" id="{2DF5D471-DF09-4331-8DD8-DFA07C761ECC}"/>
              </a:ext>
            </a:extLst>
          </p:cNvPr>
          <p:cNvGrpSpPr/>
          <p:nvPr userDrawn="1"/>
        </p:nvGrpSpPr>
        <p:grpSpPr>
          <a:xfrm>
            <a:off x="0" y="-1"/>
            <a:ext cx="12192000" cy="806400"/>
            <a:chOff x="0" y="-1"/>
            <a:chExt cx="12192000" cy="806400"/>
          </a:xfrm>
        </p:grpSpPr>
        <p:sp>
          <p:nvSpPr>
            <p:cNvPr id="23" name="Rechteck 22">
              <a:extLst>
                <a:ext uri="{FF2B5EF4-FFF2-40B4-BE49-F238E27FC236}">
                  <a16:creationId xmlns:a16="http://schemas.microsoft.com/office/drawing/2014/main" id="{3C667A7A-2661-431B-A20D-AE8F8323E87E}"/>
                </a:ext>
              </a:extLst>
            </p:cNvPr>
            <p:cNvSpPr/>
            <p:nvPr userDrawn="1"/>
          </p:nvSpPr>
          <p:spPr>
            <a:xfrm>
              <a:off x="0" y="-1"/>
              <a:ext cx="12192000" cy="8064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ln>
                  <a:noFill/>
                </a:ln>
                <a:solidFill>
                  <a:schemeClr val="tx1"/>
                </a:solidFill>
                <a:cs typeface="Arial" pitchFamily="34" charset="0"/>
              </a:endParaRPr>
            </a:p>
          </p:txBody>
        </p:sp>
        <p:pic>
          <p:nvPicPr>
            <p:cNvPr id="24" name="Grafik 23">
              <a:extLst>
                <a:ext uri="{FF2B5EF4-FFF2-40B4-BE49-F238E27FC236}">
                  <a16:creationId xmlns:a16="http://schemas.microsoft.com/office/drawing/2014/main" id="{9CCD29DB-DE25-4156-8A21-3C216323CB7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775665" y="248995"/>
              <a:ext cx="2031800" cy="50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6462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  <p:sldLayoutId id="2147484197" r:id="rId15"/>
    <p:sldLayoutId id="2147484198" r:id="rId16"/>
    <p:sldLayoutId id="2147484199" r:id="rId17"/>
    <p:sldLayoutId id="2147484200" r:id="rId18"/>
    <p:sldLayoutId id="2147484201" r:id="rId19"/>
    <p:sldLayoutId id="2147484202" r:id="rId20"/>
    <p:sldLayoutId id="2147484203" r:id="rId21"/>
    <p:sldLayoutId id="2147484204" r:id="rId22"/>
    <p:sldLayoutId id="2147484205" r:id="rId23"/>
    <p:sldLayoutId id="2147484206" r:id="rId24"/>
    <p:sldLayoutId id="2147484207" r:id="rId25"/>
    <p:sldLayoutId id="2147484208" r:id="rId26"/>
    <p:sldLayoutId id="2147484209" r:id="rId27"/>
    <p:sldLayoutId id="2147484210" r:id="rId28"/>
    <p:sldLayoutId id="2147484211" r:id="rId29"/>
    <p:sldLayoutId id="2147484212" r:id="rId30"/>
    <p:sldLayoutId id="2147484213" r:id="rId31"/>
    <p:sldLayoutId id="2147484214" r:id="rId32"/>
    <p:sldLayoutId id="2147484215" r:id="rId33"/>
    <p:sldLayoutId id="2147484216" r:id="rId34"/>
    <p:sldLayoutId id="2147484217" r:id="rId35"/>
    <p:sldLayoutId id="2147484218" r:id="rId36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9C0042"/>
          </a:solidFill>
          <a:latin typeface="+mj-lt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9C004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273050" indent="-273050" algn="l" rtl="0" eaLnBrk="1" fontAlgn="base" hangingPunct="1">
        <a:spcBef>
          <a:spcPts val="600"/>
        </a:spcBef>
        <a:spcAft>
          <a:spcPct val="0"/>
        </a:spcAft>
        <a:buClr>
          <a:srgbClr val="72002C"/>
        </a:buClr>
        <a:buSzPct val="100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547688" indent="-273050" algn="l" rtl="0" eaLnBrk="1" fontAlgn="base" hangingPunct="1">
        <a:spcBef>
          <a:spcPts val="500"/>
        </a:spcBef>
        <a:spcAft>
          <a:spcPct val="0"/>
        </a:spcAft>
        <a:buClr>
          <a:srgbClr val="AB0043"/>
        </a:buClr>
        <a:buSzPct val="100000"/>
        <a:buFont typeface="Wingdings" pitchFamily="2" charset="2"/>
        <a:buChar char="§"/>
        <a:defRPr sz="1600" kern="1200">
          <a:solidFill>
            <a:srgbClr val="4D4D4D"/>
          </a:solidFill>
          <a:latin typeface="+mn-lt"/>
          <a:ea typeface="+mn-ea"/>
          <a:cs typeface="Arial" pitchFamily="34" charset="0"/>
        </a:defRPr>
      </a:lvl2pPr>
      <a:lvl3pPr marL="822325" indent="-228600" algn="l" rtl="0" eaLnBrk="1" fontAlgn="base" hangingPunct="1">
        <a:spcBef>
          <a:spcPts val="500"/>
        </a:spcBef>
        <a:spcAft>
          <a:spcPct val="0"/>
        </a:spcAft>
        <a:buClr>
          <a:srgbClr val="BCBCBC"/>
        </a:buClr>
        <a:buSzPct val="100000"/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Arial" pitchFamily="34" charset="0"/>
        </a:defRPr>
      </a:lvl3pPr>
      <a:lvl4pPr marL="1096963" indent="-228600" algn="l" rtl="0" eaLnBrk="1" fontAlgn="base" hangingPunct="1">
        <a:spcBef>
          <a:spcPts val="400"/>
        </a:spcBef>
        <a:spcAft>
          <a:spcPct val="0"/>
        </a:spcAft>
        <a:buClr>
          <a:srgbClr val="88261A"/>
        </a:buClr>
        <a:buSzPct val="100000"/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4pPr>
      <a:lvl5pPr marL="1371600" indent="-228600" algn="l" rtl="0" eaLnBrk="1" fontAlgn="base" hangingPunct="1">
        <a:spcBef>
          <a:spcPts val="300"/>
        </a:spcBef>
        <a:spcAft>
          <a:spcPct val="0"/>
        </a:spcAft>
        <a:buClr>
          <a:schemeClr val="accent2"/>
        </a:buClr>
        <a:buSzPct val="100000"/>
        <a:buFont typeface="Wingdings" pitchFamily="2" charset="2"/>
        <a:buChar char="§"/>
        <a:defRPr sz="1100" kern="1200">
          <a:solidFill>
            <a:schemeClr val="tx1"/>
          </a:solidFill>
          <a:latin typeface="+mn-lt"/>
          <a:ea typeface="+mn-ea"/>
          <a:cs typeface="Arial" pitchFamily="34" charset="0"/>
        </a:defRPr>
      </a:lvl5pPr>
      <a:lvl6pPr marL="1645920" indent="-182880" algn="l" rtl="0" eaLnBrk="1" latinLnBrk="0" hangingPunct="1">
        <a:spcBef>
          <a:spcPts val="300"/>
        </a:spcBef>
        <a:buClr>
          <a:srgbClr val="9FB8CD">
            <a:shade val="75000"/>
          </a:srgbClr>
        </a:buClr>
        <a:buSzPct val="75000"/>
        <a:buFont typeface="Wingdings 3"/>
        <a:buChar char=""/>
        <a:defRPr kumimoji="0" lang="en-US" sz="1600" kern="1200" smtClean="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182880" algn="l" rtl="0" eaLnBrk="1" latinLnBrk="0" hangingPunct="1">
        <a:spcBef>
          <a:spcPts val="300"/>
        </a:spcBef>
        <a:buClr>
          <a:srgbClr val="727CA3">
            <a:shade val="75000"/>
          </a:srgb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7pPr>
      <a:lvl8pPr marL="2011680" indent="-182880" algn="l" rtl="0" eaLnBrk="1" latinLnBrk="0" hangingPunct="1">
        <a:spcBef>
          <a:spcPts val="300"/>
        </a:spcBef>
        <a:buClr>
          <a:prstClr val="white">
            <a:shade val="50000"/>
          </a:prstClr>
        </a:buClr>
        <a:buSzPct val="75000"/>
        <a:buFont typeface="Wingdings 3"/>
        <a:buChar char=""/>
        <a:defRPr kumimoji="0" lang="en-US" sz="1400" kern="1200" smtClean="0">
          <a:solidFill>
            <a:schemeClr val="tx1"/>
          </a:solidFill>
          <a:latin typeface="+mn-lt"/>
          <a:ea typeface="+mn-ea"/>
          <a:cs typeface="+mn-cs"/>
        </a:defRPr>
      </a:lvl8pPr>
      <a:lvl9pPr marL="2194560" indent="-182880" algn="l" rtl="0" eaLnBrk="1" latinLnBrk="0" hangingPunct="1">
        <a:spcBef>
          <a:spcPts val="300"/>
        </a:spcBef>
        <a:buClr>
          <a:srgbClr val="9FB8CD"/>
        </a:buClr>
        <a:buSzPct val="75000"/>
        <a:buFont typeface="Wingdings 3"/>
        <a:buChar char=""/>
        <a:defRPr kumimoji="0" lang="en-US" sz="1200" kern="1200" smtClea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21.xml"/><Relationship Id="rId5" Type="http://schemas.openxmlformats.org/officeDocument/2006/relationships/chart" Target="../charts/chart11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8.gif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35.pn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zoran.nikolic@wolk-aftersales.de" TargetMode="External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1.xml"/><Relationship Id="rId4" Type="http://schemas.openxmlformats.org/officeDocument/2006/relationships/hyperlink" Target="http://www.wolk-aftersales.de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8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7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20.jpg"/><Relationship Id="rId7" Type="http://schemas.openxmlformats.org/officeDocument/2006/relationships/image" Target="../media/image23.png"/><Relationship Id="rId12" Type="http://schemas.microsoft.com/office/2007/relationships/hdphoto" Target="../media/hdphoto3.wdp"/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2.xml"/><Relationship Id="rId6" Type="http://schemas.microsoft.com/office/2007/relationships/hdphoto" Target="../media/hdphoto2.wdp"/><Relationship Id="rId11" Type="http://schemas.openxmlformats.org/officeDocument/2006/relationships/image" Target="../media/image27.jpeg"/><Relationship Id="rId5" Type="http://schemas.openxmlformats.org/officeDocument/2006/relationships/image" Target="../media/image22.jpeg"/><Relationship Id="rId10" Type="http://schemas.openxmlformats.org/officeDocument/2006/relationships/image" Target="../media/image26.tif"/><Relationship Id="rId4" Type="http://schemas.openxmlformats.org/officeDocument/2006/relationships/image" Target="../media/image21.png"/><Relationship Id="rId9" Type="http://schemas.openxmlformats.org/officeDocument/2006/relationships/image" Target="../media/image2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image" Target="../media/image29.png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31.png"/><Relationship Id="rId5" Type="http://schemas.microsoft.com/office/2007/relationships/hdphoto" Target="../media/hdphoto4.wdp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1800" dirty="0"/>
              <a:t>IX TAYSAD AFTERMARKET CONFERENCE</a:t>
            </a:r>
            <a:br>
              <a:rPr lang="de-DE" sz="1800" dirty="0"/>
            </a:br>
            <a:r>
              <a:rPr lang="de-DE" sz="1800" dirty="0"/>
              <a:t>Istanbul, 25.May 2018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en-US" sz="2400" dirty="0"/>
              <a:t>AFTERMARKET OVERVIEW</a:t>
            </a:r>
          </a:p>
          <a:p>
            <a:r>
              <a:rPr lang="en-US" sz="2400" dirty="0"/>
              <a:t>EUROPE G5 / TURKEY / RUSSIA / AFRICA</a:t>
            </a:r>
          </a:p>
          <a:p>
            <a:r>
              <a:rPr lang="en-US" sz="1400" dirty="0"/>
              <a:t>Zoran Nikolic, Managing Director </a:t>
            </a:r>
            <a:r>
              <a:rPr lang="en-US" dirty="0"/>
              <a:t>	</a:t>
            </a:r>
          </a:p>
          <a:p>
            <a:pPr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171226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1E21B37-1CEA-4F26-8E4E-9229DECBAF3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28"/>
          <a:stretch/>
        </p:blipFill>
        <p:spPr>
          <a:xfrm>
            <a:off x="6384032" y="836707"/>
            <a:ext cx="5508000" cy="5508004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4" name="Grafik 3" descr="C:\Users\ZNC\AppData\Local\Microsoft\Windows\INetCache\Content.Word\chart1526823382695.jpg">
            <a:extLst>
              <a:ext uri="{FF2B5EF4-FFF2-40B4-BE49-F238E27FC236}">
                <a16:creationId xmlns:a16="http://schemas.microsoft.com/office/drawing/2014/main" id="{2C336850-DFCA-4F06-89EA-03729BB64E30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10"/>
          <a:stretch/>
        </p:blipFill>
        <p:spPr bwMode="auto">
          <a:xfrm>
            <a:off x="263352" y="836711"/>
            <a:ext cx="5508000" cy="5508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4A638D2B-6DE9-4678-8EFC-2FD6AD722BE5}"/>
              </a:ext>
            </a:extLst>
          </p:cNvPr>
          <p:cNvSpPr/>
          <p:nvPr/>
        </p:nvSpPr>
        <p:spPr>
          <a:xfrm>
            <a:off x="407368" y="2132856"/>
            <a:ext cx="3168352" cy="1080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0E865A19-3B79-40DF-B3AF-1ED383836CE7}"/>
              </a:ext>
            </a:extLst>
          </p:cNvPr>
          <p:cNvSpPr/>
          <p:nvPr/>
        </p:nvSpPr>
        <p:spPr>
          <a:xfrm>
            <a:off x="407368" y="2636912"/>
            <a:ext cx="3168352" cy="1080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20BBEAB1-6ADA-4277-A99C-46F1DBB8E266}"/>
              </a:ext>
            </a:extLst>
          </p:cNvPr>
          <p:cNvSpPr/>
          <p:nvPr/>
        </p:nvSpPr>
        <p:spPr>
          <a:xfrm>
            <a:off x="407368" y="2492896"/>
            <a:ext cx="3168352" cy="1080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Rechteck: abgerundete Ecken 7">
            <a:extLst>
              <a:ext uri="{FF2B5EF4-FFF2-40B4-BE49-F238E27FC236}">
                <a16:creationId xmlns:a16="http://schemas.microsoft.com/office/drawing/2014/main" id="{E3BAB7D3-957D-4B67-B8DF-4C72A17B2E95}"/>
              </a:ext>
            </a:extLst>
          </p:cNvPr>
          <p:cNvSpPr/>
          <p:nvPr/>
        </p:nvSpPr>
        <p:spPr>
          <a:xfrm>
            <a:off x="407368" y="2996952"/>
            <a:ext cx="3168352" cy="1080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E24D626-A800-4FFA-B91B-4AB87CCFC6B9}"/>
              </a:ext>
            </a:extLst>
          </p:cNvPr>
          <p:cNvSpPr/>
          <p:nvPr/>
        </p:nvSpPr>
        <p:spPr>
          <a:xfrm>
            <a:off x="407368" y="2888952"/>
            <a:ext cx="3168352" cy="108000"/>
          </a:xfrm>
          <a:prstGeom prst="roundRect">
            <a:avLst/>
          </a:prstGeom>
          <a:noFill/>
          <a:ln w="12700">
            <a:solidFill>
              <a:schemeClr val="accent1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015E87DC-BB20-43A8-AEB1-62A75B2DD8D2}"/>
              </a:ext>
            </a:extLst>
          </p:cNvPr>
          <p:cNvSpPr txBox="1">
            <a:spLocks/>
          </p:cNvSpPr>
          <p:nvPr/>
        </p:nvSpPr>
        <p:spPr>
          <a:xfrm>
            <a:off x="32414" y="44624"/>
            <a:ext cx="10972800" cy="6334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rgbClr val="9C0042"/>
                </a:solidFill>
                <a:latin typeface="+mj-lt"/>
                <a:ea typeface="+mj-ea"/>
                <a:cs typeface="Arial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9C004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9C004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9C004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9C004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cap="small" dirty="0"/>
              <a:t>Comparison and ranking Europe vs. Africa </a:t>
            </a:r>
          </a:p>
          <a:p>
            <a:r>
              <a:rPr lang="en-US" sz="2000" cap="small" dirty="0"/>
              <a:t>GDP per Capita in US $</a:t>
            </a:r>
            <a:endParaRPr lang="en-US" cap="small" dirty="0"/>
          </a:p>
        </p:txBody>
      </p:sp>
      <p:sp>
        <p:nvSpPr>
          <p:cNvPr id="11" name="Rechteck: abgerundete Ecken 10">
            <a:extLst>
              <a:ext uri="{FF2B5EF4-FFF2-40B4-BE49-F238E27FC236}">
                <a16:creationId xmlns:a16="http://schemas.microsoft.com/office/drawing/2014/main" id="{DDA59F13-84ED-48B7-BF30-EB9CBC4ADFAF}"/>
              </a:ext>
            </a:extLst>
          </p:cNvPr>
          <p:cNvSpPr/>
          <p:nvPr/>
        </p:nvSpPr>
        <p:spPr>
          <a:xfrm>
            <a:off x="407368" y="4473128"/>
            <a:ext cx="3168352" cy="108000"/>
          </a:xfrm>
          <a:prstGeom prst="roundRect">
            <a:avLst/>
          </a:prstGeom>
          <a:noFill/>
          <a:ln w="12700">
            <a:solidFill>
              <a:schemeClr val="accent3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2" name="Rechteck: abgerundete Ecken 11">
            <a:extLst>
              <a:ext uri="{FF2B5EF4-FFF2-40B4-BE49-F238E27FC236}">
                <a16:creationId xmlns:a16="http://schemas.microsoft.com/office/drawing/2014/main" id="{6BE2E2E4-539A-4823-A3A2-848DF5690A0E}"/>
              </a:ext>
            </a:extLst>
          </p:cNvPr>
          <p:cNvSpPr/>
          <p:nvPr/>
        </p:nvSpPr>
        <p:spPr>
          <a:xfrm>
            <a:off x="407368" y="4235219"/>
            <a:ext cx="3168352" cy="108000"/>
          </a:xfrm>
          <a:prstGeom prst="roundRect">
            <a:avLst/>
          </a:prstGeom>
          <a:noFill/>
          <a:ln w="12700">
            <a:solidFill>
              <a:srgbClr val="00B050"/>
            </a:solidFill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BB5E670E-B642-4BC1-8B13-A83910FCEC7F}"/>
              </a:ext>
            </a:extLst>
          </p:cNvPr>
          <p:cNvCxnSpPr>
            <a:cxnSpLocks/>
          </p:cNvCxnSpPr>
          <p:nvPr/>
        </p:nvCxnSpPr>
        <p:spPr>
          <a:xfrm flipV="1">
            <a:off x="2927648" y="980728"/>
            <a:ext cx="3600400" cy="302433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>
            <a:extLst>
              <a:ext uri="{FF2B5EF4-FFF2-40B4-BE49-F238E27FC236}">
                <a16:creationId xmlns:a16="http://schemas.microsoft.com/office/drawing/2014/main" id="{56264FC2-3B3B-43DC-A929-9C8C215110CA}"/>
              </a:ext>
            </a:extLst>
          </p:cNvPr>
          <p:cNvSpPr txBox="1"/>
          <p:nvPr/>
        </p:nvSpPr>
        <p:spPr>
          <a:xfrm flipH="1">
            <a:off x="4950467" y="2728869"/>
            <a:ext cx="400110" cy="1384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de-DE" sz="1400" cap="small" dirty="0">
                <a:latin typeface="+mn-lt"/>
              </a:rPr>
              <a:t>Europ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8E9F4E6F-543D-45EE-B420-1C5C5EE3936E}"/>
              </a:ext>
            </a:extLst>
          </p:cNvPr>
          <p:cNvSpPr txBox="1"/>
          <p:nvPr/>
        </p:nvSpPr>
        <p:spPr>
          <a:xfrm flipH="1">
            <a:off x="11136560" y="2726637"/>
            <a:ext cx="400110" cy="1384995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ctr"/>
            <a:r>
              <a:rPr lang="de-DE" sz="1400" cap="small" dirty="0" err="1">
                <a:latin typeface="+mn-lt"/>
              </a:rPr>
              <a:t>Africa</a:t>
            </a:r>
            <a:endParaRPr lang="de-DE" sz="1400" cap="small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4474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8" grpId="0" animBg="1"/>
      <p:bldP spid="9" grpId="0" animBg="1"/>
      <p:bldP spid="11" grpId="0" animBg="1"/>
      <p:bldP spid="12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CFF9469-905A-4CB7-9471-3FB9CE11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igures Car Aftermarket in Europe G5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8F4FF70E-5AF8-4841-9582-9A699AE560FF}"/>
              </a:ext>
            </a:extLst>
          </p:cNvPr>
          <p:cNvGrpSpPr/>
          <p:nvPr/>
        </p:nvGrpSpPr>
        <p:grpSpPr>
          <a:xfrm>
            <a:off x="1153750" y="962963"/>
            <a:ext cx="9144000" cy="5215908"/>
            <a:chOff x="1161245" y="1125538"/>
            <a:chExt cx="9267223" cy="5021820"/>
          </a:xfrm>
        </p:grpSpPr>
        <p:sp>
          <p:nvSpPr>
            <p:cNvPr id="4" name="Titel 4"/>
            <p:cNvSpPr txBox="1">
              <a:spLocks/>
            </p:cNvSpPr>
            <p:nvPr/>
          </p:nvSpPr>
          <p:spPr bwMode="auto">
            <a:xfrm>
              <a:off x="1826840" y="1125538"/>
              <a:ext cx="8229600" cy="4365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b" anchorCtr="0" compatLnSpc="1">
              <a:prstTxWarp prst="textNoShape">
                <a:avLst/>
              </a:prstTxWarp>
            </a:bodyPr>
            <a:lstStyle>
              <a:lvl1pPr eaLnBrk="0" hangingPunct="0">
                <a:defRPr sz="2800">
                  <a:solidFill>
                    <a:schemeClr val="accent1"/>
                  </a:solidFill>
                  <a:latin typeface="+mj-lt"/>
                  <a:ea typeface="+mj-ea"/>
                  <a:cs typeface="Arial" pitchFamily="34" charset="0"/>
                </a:defRPr>
              </a:lvl1pPr>
              <a:lvl2pPr eaLnBrk="0" hangingPunct="0">
                <a:defRPr sz="2800">
                  <a:solidFill>
                    <a:srgbClr val="9C0042"/>
                  </a:solidFill>
                  <a:cs typeface="Arial" charset="0"/>
                </a:defRPr>
              </a:lvl2pPr>
              <a:lvl3pPr eaLnBrk="0" hangingPunct="0">
                <a:defRPr sz="2800">
                  <a:solidFill>
                    <a:srgbClr val="9C0042"/>
                  </a:solidFill>
                  <a:cs typeface="Arial" charset="0"/>
                </a:defRPr>
              </a:lvl3pPr>
              <a:lvl4pPr eaLnBrk="0" hangingPunct="0">
                <a:defRPr sz="2800">
                  <a:solidFill>
                    <a:srgbClr val="9C0042"/>
                  </a:solidFill>
                  <a:cs typeface="Arial" charset="0"/>
                </a:defRPr>
              </a:lvl4pPr>
              <a:lvl5pPr eaLnBrk="0" hangingPunct="0">
                <a:defRPr sz="2800">
                  <a:solidFill>
                    <a:srgbClr val="9C0042"/>
                  </a:solidFill>
                  <a:cs typeface="Arial" charset="0"/>
                </a:defRPr>
              </a:lvl5pPr>
              <a:lvl6pPr marL="457200" fontAlgn="base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cs typeface="Arial" charset="0"/>
                </a:defRPr>
              </a:lvl6pPr>
              <a:lvl7pPr marL="914400" fontAlgn="base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cs typeface="Arial" charset="0"/>
                </a:defRPr>
              </a:lvl7pPr>
              <a:lvl8pPr marL="1371600" fontAlgn="base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cs typeface="Arial" charset="0"/>
                </a:defRPr>
              </a:lvl8pPr>
              <a:lvl9pPr marL="1828800" fontAlgn="base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2"/>
                  </a:solidFill>
                  <a:cs typeface="Arial" charset="0"/>
                </a:defRPr>
              </a:lvl9pPr>
            </a:lstStyle>
            <a:p>
              <a:endParaRPr lang="en-US" dirty="0"/>
            </a:p>
          </p:txBody>
        </p:sp>
        <p:graphicFrame>
          <p:nvGraphicFramePr>
            <p:cNvPr id="3" name="Diagramm 2"/>
            <p:cNvGraphicFramePr/>
            <p:nvPr>
              <p:extLst>
                <p:ext uri="{D42A27DB-BD31-4B8C-83A1-F6EECF244321}">
                  <p14:modId xmlns:p14="http://schemas.microsoft.com/office/powerpoint/2010/main" val="344147733"/>
                </p:ext>
              </p:extLst>
            </p:nvPr>
          </p:nvGraphicFramePr>
          <p:xfrm>
            <a:off x="8311181" y="1526704"/>
            <a:ext cx="1645782" cy="16707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2" name="Rechteck 11"/>
            <p:cNvSpPr/>
            <p:nvPr/>
          </p:nvSpPr>
          <p:spPr>
            <a:xfrm>
              <a:off x="1859517" y="1195773"/>
              <a:ext cx="2520280" cy="4613030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92" name="Textfeld 91"/>
            <p:cNvSpPr txBox="1"/>
            <p:nvPr/>
          </p:nvSpPr>
          <p:spPr>
            <a:xfrm>
              <a:off x="1931524" y="1814439"/>
              <a:ext cx="2387098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Car park: </a:t>
              </a:r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167,2</a:t>
              </a:r>
              <a:r>
                <a:rPr lang="de-DE" sz="1400" dirty="0">
                  <a:latin typeface="+mn-lt"/>
                </a:rPr>
                <a:t> </a:t>
              </a:r>
              <a:r>
                <a:rPr lang="de-DE" sz="1200" dirty="0">
                  <a:latin typeface="+mn-lt"/>
                </a:rPr>
                <a:t>m cars</a:t>
              </a:r>
              <a:r>
                <a:rPr lang="de-DE" sz="1200" baseline="30000" dirty="0">
                  <a:latin typeface="+mn-lt"/>
                </a:rPr>
                <a:t>1</a:t>
              </a:r>
            </a:p>
          </p:txBody>
        </p:sp>
        <p:sp>
          <p:nvSpPr>
            <p:cNvPr id="93" name="Textfeld 92"/>
            <p:cNvSpPr txBox="1"/>
            <p:nvPr/>
          </p:nvSpPr>
          <p:spPr>
            <a:xfrm>
              <a:off x="1931524" y="2246487"/>
              <a:ext cx="2386800" cy="523220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Car </a:t>
              </a:r>
              <a:r>
                <a:rPr lang="en-US" sz="1200" dirty="0">
                  <a:latin typeface="+mn-lt"/>
                </a:rPr>
                <a:t>density: </a:t>
              </a:r>
              <a:r>
                <a:rPr lang="en-US" sz="1600" b="1" dirty="0">
                  <a:solidFill>
                    <a:schemeClr val="accent3"/>
                  </a:solidFill>
                  <a:latin typeface="+mn-lt"/>
                </a:rPr>
                <a:t>526 </a:t>
              </a:r>
              <a:r>
                <a:rPr lang="en-US" sz="1200" dirty="0">
                  <a:latin typeface="+mn-lt"/>
                </a:rPr>
                <a:t>cars per 1.000 inhabitants</a:t>
              </a:r>
            </a:p>
          </p:txBody>
        </p:sp>
        <p:sp>
          <p:nvSpPr>
            <p:cNvPr id="99" name="Textfeld 98"/>
            <p:cNvSpPr txBox="1"/>
            <p:nvPr/>
          </p:nvSpPr>
          <p:spPr>
            <a:xfrm>
              <a:off x="1935372" y="2859939"/>
              <a:ext cx="2386800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Ø </a:t>
              </a:r>
              <a:r>
                <a:rPr lang="en-US" sz="1200" dirty="0">
                  <a:latin typeface="+mn-lt"/>
                </a:rPr>
                <a:t>age of car park: </a:t>
              </a:r>
              <a:r>
                <a:rPr lang="en-US" sz="1600" b="1" dirty="0">
                  <a:solidFill>
                    <a:schemeClr val="accent3"/>
                  </a:solidFill>
                  <a:latin typeface="+mn-lt"/>
                </a:rPr>
                <a:t>9,8</a:t>
              </a:r>
              <a:r>
                <a:rPr lang="en-US" sz="1200" dirty="0">
                  <a:latin typeface="+mn-lt"/>
                </a:rPr>
                <a:t> years</a:t>
              </a:r>
            </a:p>
          </p:txBody>
        </p:sp>
        <p:sp>
          <p:nvSpPr>
            <p:cNvPr id="102" name="Textfeld 101"/>
            <p:cNvSpPr txBox="1"/>
            <p:nvPr/>
          </p:nvSpPr>
          <p:spPr>
            <a:xfrm>
              <a:off x="1931524" y="3294354"/>
              <a:ext cx="2386800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IAM </a:t>
              </a:r>
              <a:r>
                <a:rPr lang="de-DE" sz="1200" dirty="0" err="1">
                  <a:latin typeface="+mn-lt"/>
                </a:rPr>
                <a:t>parts</a:t>
              </a:r>
              <a:r>
                <a:rPr lang="de-DE" sz="1200" dirty="0">
                  <a:latin typeface="+mn-lt"/>
                </a:rPr>
                <a:t> </a:t>
              </a:r>
              <a:r>
                <a:rPr lang="en-US" sz="1200" dirty="0">
                  <a:latin typeface="+mn-lt"/>
                </a:rPr>
                <a:t>wholesalers</a:t>
              </a:r>
              <a:r>
                <a:rPr lang="de-DE" sz="1200" dirty="0">
                  <a:latin typeface="+mn-lt"/>
                </a:rPr>
                <a:t>: </a:t>
              </a:r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8.541</a:t>
              </a:r>
              <a:r>
                <a:rPr lang="de-DE" sz="1200" baseline="30000" dirty="0">
                  <a:latin typeface="+mn-lt"/>
                </a:rPr>
                <a:t>2</a:t>
              </a:r>
            </a:p>
          </p:txBody>
        </p:sp>
        <p:sp>
          <p:nvSpPr>
            <p:cNvPr id="103" name="Textfeld 102"/>
            <p:cNvSpPr txBox="1"/>
            <p:nvPr/>
          </p:nvSpPr>
          <p:spPr>
            <a:xfrm>
              <a:off x="1935372" y="3726402"/>
              <a:ext cx="2386800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200" dirty="0">
                  <a:latin typeface="+mn-lt"/>
                </a:rPr>
                <a:t># </a:t>
              </a:r>
              <a:r>
                <a:rPr lang="en-US" sz="1200" dirty="0">
                  <a:latin typeface="+mn-lt"/>
                </a:rPr>
                <a:t>workshop outlets</a:t>
              </a:r>
              <a:r>
                <a:rPr lang="en-US" sz="1200" baseline="30000" dirty="0">
                  <a:latin typeface="+mn-lt"/>
                </a:rPr>
                <a:t>3</a:t>
              </a:r>
              <a:r>
                <a:rPr lang="de-DE" sz="1200" dirty="0">
                  <a:latin typeface="+mn-lt"/>
                </a:rPr>
                <a:t>: </a:t>
              </a:r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214.261</a:t>
              </a:r>
            </a:p>
          </p:txBody>
        </p:sp>
        <p:sp>
          <p:nvSpPr>
            <p:cNvPr id="2" name="Textfeld 1"/>
            <p:cNvSpPr txBox="1"/>
            <p:nvPr/>
          </p:nvSpPr>
          <p:spPr>
            <a:xfrm>
              <a:off x="4599497" y="1236899"/>
              <a:ext cx="560900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TOTAL aftermarket volume</a:t>
              </a:r>
              <a:r>
                <a:rPr lang="en-US" sz="1200" b="1" baseline="30000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4 </a:t>
              </a:r>
              <a:r>
                <a:rPr lang="en-US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in </a:t>
              </a:r>
              <a:r>
                <a:rPr lang="en-US" sz="1200" b="1" dirty="0" err="1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bn</a:t>
              </a:r>
              <a:r>
                <a:rPr lang="en-US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 EUR in Europe G5</a:t>
              </a:r>
              <a:r>
                <a:rPr lang="de-DE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:</a:t>
              </a:r>
            </a:p>
          </p:txBody>
        </p:sp>
        <p:sp>
          <p:nvSpPr>
            <p:cNvPr id="108" name="Rechteck 107"/>
            <p:cNvSpPr/>
            <p:nvPr/>
          </p:nvSpPr>
          <p:spPr>
            <a:xfrm>
              <a:off x="4532593" y="1195774"/>
              <a:ext cx="5675908" cy="4613030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4" name="Textfeld 43"/>
            <p:cNvSpPr txBox="1"/>
            <p:nvPr/>
          </p:nvSpPr>
          <p:spPr>
            <a:xfrm>
              <a:off x="1931523" y="4158450"/>
              <a:ext cx="2386800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437</a:t>
              </a:r>
              <a:r>
                <a:rPr lang="de-DE" sz="1400" dirty="0">
                  <a:latin typeface="+mn-lt"/>
                </a:rPr>
                <a:t> </a:t>
              </a:r>
              <a:r>
                <a:rPr lang="de-DE" sz="1200" dirty="0">
                  <a:latin typeface="+mn-lt"/>
                </a:rPr>
                <a:t>EUR </a:t>
              </a:r>
              <a:r>
                <a:rPr lang="en-US" sz="1200" dirty="0">
                  <a:latin typeface="+mn-lt"/>
                </a:rPr>
                <a:t>per car per year </a:t>
              </a:r>
              <a:endParaRPr lang="de-DE" sz="1200" dirty="0">
                <a:latin typeface="+mn-lt"/>
              </a:endParaRPr>
            </a:p>
          </p:txBody>
        </p:sp>
        <p:sp>
          <p:nvSpPr>
            <p:cNvPr id="46" name="Textfeld 45"/>
            <p:cNvSpPr txBox="1"/>
            <p:nvPr/>
          </p:nvSpPr>
          <p:spPr>
            <a:xfrm>
              <a:off x="1931523" y="4590498"/>
              <a:ext cx="2386800" cy="523220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19</a:t>
              </a:r>
              <a:r>
                <a:rPr lang="de-DE" sz="1400" dirty="0">
                  <a:latin typeface="+mn-lt"/>
                </a:rPr>
                <a:t> </a:t>
              </a:r>
              <a:r>
                <a:rPr lang="de-DE" sz="1200" dirty="0">
                  <a:latin typeface="+mn-lt"/>
                </a:rPr>
                <a:t>IAM </a:t>
              </a:r>
              <a:r>
                <a:rPr lang="en-US" sz="1200" dirty="0">
                  <a:latin typeface="+mn-lt"/>
                </a:rPr>
                <a:t>workshop outlets per wholesaler</a:t>
              </a:r>
            </a:p>
          </p:txBody>
        </p:sp>
        <p:sp>
          <p:nvSpPr>
            <p:cNvPr id="47" name="Textfeld 46"/>
            <p:cNvSpPr txBox="1"/>
            <p:nvPr/>
          </p:nvSpPr>
          <p:spPr>
            <a:xfrm>
              <a:off x="1931523" y="5218824"/>
              <a:ext cx="2386800" cy="338554"/>
            </a:xfrm>
            <a:prstGeom prst="rect">
              <a:avLst/>
            </a:prstGeom>
            <a:noFill/>
            <a:ln w="25400">
              <a:solidFill>
                <a:schemeClr val="accent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de-DE" sz="1600" b="1" dirty="0">
                  <a:solidFill>
                    <a:schemeClr val="accent3"/>
                  </a:solidFill>
                  <a:latin typeface="+mn-lt"/>
                </a:rPr>
                <a:t>1.034</a:t>
              </a:r>
              <a:r>
                <a:rPr lang="de-DE" sz="1400" dirty="0">
                  <a:latin typeface="+mn-lt"/>
                </a:rPr>
                <a:t> </a:t>
              </a:r>
              <a:r>
                <a:rPr lang="en-US" sz="1200" dirty="0">
                  <a:latin typeface="+mn-lt"/>
                </a:rPr>
                <a:t>cars per IAM workshop</a:t>
              </a: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1859517" y="5808804"/>
              <a:ext cx="83489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baseline="30000" dirty="0">
                  <a:latin typeface="+mn-lt"/>
                </a:rPr>
                <a:t>1</a:t>
              </a:r>
              <a:r>
                <a:rPr lang="de-DE" sz="800" dirty="0">
                  <a:latin typeface="+mn-lt"/>
                </a:rPr>
                <a:t> </a:t>
              </a:r>
              <a:r>
                <a:rPr lang="en-US" sz="800" dirty="0">
                  <a:latin typeface="+mn-lt"/>
                </a:rPr>
                <a:t>only passenger cars; ² number of companies; ³ IAM+OES workshops incl. specialists; number of outlets;</a:t>
              </a:r>
              <a:r>
                <a:rPr lang="de-DE" sz="800" dirty="0">
                  <a:latin typeface="+mn-lt"/>
                </a:rPr>
                <a:t>  </a:t>
              </a:r>
              <a:r>
                <a:rPr lang="de-DE" sz="800" baseline="30000" dirty="0">
                  <a:latin typeface="+mn-lt"/>
                </a:rPr>
                <a:t>4 </a:t>
              </a:r>
              <a:r>
                <a:rPr lang="en-US" sz="800" dirty="0">
                  <a:latin typeface="+mn-lt"/>
                </a:rPr>
                <a:t>Only material for passenger cars at end consumer prices  excl. VAT. 2016 = estimated </a:t>
              </a:r>
              <a:endParaRPr lang="de-DE" sz="1400" dirty="0">
                <a:latin typeface="+mn-lt"/>
              </a:endParaRPr>
            </a:p>
          </p:txBody>
        </p:sp>
        <p:graphicFrame>
          <p:nvGraphicFramePr>
            <p:cNvPr id="10" name="Diagramm 9"/>
            <p:cNvGraphicFramePr/>
            <p:nvPr>
              <p:extLst>
                <p:ext uri="{D42A27DB-BD31-4B8C-83A1-F6EECF244321}">
                  <p14:modId xmlns:p14="http://schemas.microsoft.com/office/powerpoint/2010/main" val="645723001"/>
                </p:ext>
              </p:extLst>
            </p:nvPr>
          </p:nvGraphicFramePr>
          <p:xfrm>
            <a:off x="4599497" y="2982903"/>
            <a:ext cx="4748852" cy="28259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Textfeld 10"/>
            <p:cNvSpPr txBox="1"/>
            <p:nvPr/>
          </p:nvSpPr>
          <p:spPr>
            <a:xfrm>
              <a:off x="9031979" y="3432297"/>
              <a:ext cx="1329318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21,6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5" name="Textfeld 24"/>
            <p:cNvSpPr txBox="1"/>
            <p:nvPr/>
          </p:nvSpPr>
          <p:spPr>
            <a:xfrm>
              <a:off x="9031979" y="3650990"/>
              <a:ext cx="1243426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6,5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6" name="Textfeld 25"/>
            <p:cNvSpPr txBox="1"/>
            <p:nvPr/>
          </p:nvSpPr>
          <p:spPr>
            <a:xfrm>
              <a:off x="9031979" y="3869683"/>
              <a:ext cx="1396489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8,4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9031979" y="4088376"/>
              <a:ext cx="1176522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3,3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8" name="Textfeld 27"/>
            <p:cNvSpPr txBox="1"/>
            <p:nvPr/>
          </p:nvSpPr>
          <p:spPr>
            <a:xfrm>
              <a:off x="9031979" y="4307069"/>
              <a:ext cx="1243426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10,2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29" name="Textfeld 28"/>
            <p:cNvSpPr txBox="1"/>
            <p:nvPr/>
          </p:nvSpPr>
          <p:spPr>
            <a:xfrm>
              <a:off x="9031979" y="4525762"/>
              <a:ext cx="1176522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5,8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9030565" y="4744455"/>
              <a:ext cx="1244841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2,6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9039801" y="4963148"/>
              <a:ext cx="1168701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2,5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9039801" y="5181841"/>
              <a:ext cx="1388667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10,2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3" name="Textfeld 32"/>
            <p:cNvSpPr txBox="1"/>
            <p:nvPr/>
          </p:nvSpPr>
          <p:spPr>
            <a:xfrm>
              <a:off x="9054363" y="5400533"/>
              <a:ext cx="1221043" cy="261610"/>
            </a:xfrm>
            <a:prstGeom prst="rect">
              <a:avLst/>
            </a:prstGeom>
            <a:noFill/>
            <a:ln>
              <a:noFill/>
              <a:prstDash val="lgDash"/>
            </a:ln>
          </p:spPr>
          <p:txBody>
            <a:bodyPr wrap="square" rtlCol="0">
              <a:spAutoFit/>
            </a:bodyPr>
            <a:lstStyle/>
            <a:p>
              <a:r>
                <a:rPr lang="de-DE" sz="1100" b="1" dirty="0">
                  <a:solidFill>
                    <a:schemeClr val="accent6"/>
                  </a:solidFill>
                  <a:latin typeface="+mj-lt"/>
                </a:rPr>
                <a:t>∑=2,0 </a:t>
              </a:r>
              <a:r>
                <a:rPr lang="en-US" sz="1100" b="1" dirty="0" err="1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bn</a:t>
              </a:r>
              <a:r>
                <a:rPr lang="en-US" sz="1100" b="1" dirty="0">
                  <a:solidFill>
                    <a:schemeClr val="accent6">
                      <a:lumMod val="75000"/>
                    </a:schemeClr>
                  </a:solidFill>
                  <a:latin typeface="+mj-lt"/>
                </a:rPr>
                <a:t> EUR </a:t>
              </a:r>
              <a:endParaRPr lang="de-DE" sz="1100" b="1" dirty="0">
                <a:solidFill>
                  <a:schemeClr val="accent6"/>
                </a:solidFill>
                <a:latin typeface="+mj-lt"/>
              </a:endParaRPr>
            </a:p>
          </p:txBody>
        </p:sp>
        <p:sp>
          <p:nvSpPr>
            <p:cNvPr id="34" name="Textfeld 33"/>
            <p:cNvSpPr txBox="1"/>
            <p:nvPr/>
          </p:nvSpPr>
          <p:spPr>
            <a:xfrm>
              <a:off x="4599496" y="3120141"/>
              <a:ext cx="50368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Aftermarket volume by 10 product groups in Europe G5</a:t>
              </a:r>
              <a:r>
                <a:rPr lang="de-DE" sz="1200" b="1" dirty="0">
                  <a:solidFill>
                    <a:schemeClr val="accent6">
                      <a:lumMod val="75000"/>
                    </a:schemeClr>
                  </a:solidFill>
                  <a:latin typeface="+mn-lt"/>
                </a:rPr>
                <a:t>:</a:t>
              </a:r>
            </a:p>
          </p:txBody>
        </p:sp>
        <p:sp>
          <p:nvSpPr>
            <p:cNvPr id="8" name="Geschweifte Klammer links/rechts 7">
              <a:extLst>
                <a:ext uri="{FF2B5EF4-FFF2-40B4-BE49-F238E27FC236}">
                  <a16:creationId xmlns:a16="http://schemas.microsoft.com/office/drawing/2014/main" id="{0F41E9BD-60FD-4252-BD84-FD54BBE51329}"/>
                </a:ext>
              </a:extLst>
            </p:cNvPr>
            <p:cNvSpPr/>
            <p:nvPr/>
          </p:nvSpPr>
          <p:spPr>
            <a:xfrm>
              <a:off x="1161245" y="4060264"/>
              <a:ext cx="497218" cy="1530850"/>
            </a:xfrm>
            <a:prstGeom prst="bracePair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FAC09B50-3F55-4BD7-8741-8B926B0B50DC}"/>
                </a:ext>
              </a:extLst>
            </p:cNvPr>
            <p:cNvSpPr txBox="1"/>
            <p:nvPr/>
          </p:nvSpPr>
          <p:spPr>
            <a:xfrm>
              <a:off x="1215589" y="4425975"/>
              <a:ext cx="400110" cy="792846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r>
                <a:rPr lang="de-DE" sz="1400" dirty="0" err="1">
                  <a:latin typeface="+mn-lt"/>
                </a:rPr>
                <a:t>statistics</a:t>
              </a:r>
              <a:endParaRPr lang="de-DE" sz="1400" dirty="0">
                <a:latin typeface="+mn-lt"/>
              </a:endParaRPr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B5E5EA30-DAA5-4EC4-9B15-A87ED3CA3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950369" y="1371211"/>
              <a:ext cx="416532" cy="31194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1775AD80-5454-4810-96E5-395ABB15813B}"/>
                </a:ext>
              </a:extLst>
            </p:cNvPr>
            <p:cNvSpPr txBox="1"/>
            <p:nvPr/>
          </p:nvSpPr>
          <p:spPr>
            <a:xfrm>
              <a:off x="4949959" y="1911931"/>
              <a:ext cx="257435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3600" dirty="0">
                  <a:solidFill>
                    <a:schemeClr val="accent1"/>
                  </a:solidFill>
                  <a:latin typeface="+mn-lt"/>
                </a:rPr>
                <a:t>73,1 </a:t>
              </a:r>
              <a:r>
                <a:rPr lang="de-DE" sz="3600" dirty="0" err="1">
                  <a:solidFill>
                    <a:schemeClr val="accent1"/>
                  </a:solidFill>
                  <a:latin typeface="+mn-lt"/>
                </a:rPr>
                <a:t>bn</a:t>
              </a:r>
              <a:r>
                <a:rPr lang="de-DE" sz="3600" dirty="0">
                  <a:solidFill>
                    <a:schemeClr val="accent1"/>
                  </a:solidFill>
                  <a:latin typeface="+mn-lt"/>
                </a:rPr>
                <a:t>. €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7573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4"/>
          <p:cNvSpPr txBox="1">
            <a:spLocks/>
          </p:cNvSpPr>
          <p:nvPr/>
        </p:nvSpPr>
        <p:spPr bwMode="auto">
          <a:xfrm>
            <a:off x="1826840" y="1125538"/>
            <a:ext cx="822960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28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  <a:lvl2pPr eaLnBrk="0" hangingPunct="0">
              <a:defRPr sz="2800">
                <a:solidFill>
                  <a:srgbClr val="9C0042"/>
                </a:solidFill>
                <a:cs typeface="Arial" charset="0"/>
              </a:defRPr>
            </a:lvl2pPr>
            <a:lvl3pPr eaLnBrk="0" hangingPunct="0">
              <a:defRPr sz="2800">
                <a:solidFill>
                  <a:srgbClr val="9C0042"/>
                </a:solidFill>
                <a:cs typeface="Arial" charset="0"/>
              </a:defRPr>
            </a:lvl3pPr>
            <a:lvl4pPr eaLnBrk="0" hangingPunct="0">
              <a:defRPr sz="2800">
                <a:solidFill>
                  <a:srgbClr val="9C0042"/>
                </a:solidFill>
                <a:cs typeface="Arial" charset="0"/>
              </a:defRPr>
            </a:lvl4pPr>
            <a:lvl5pPr eaLnBrk="0" hangingPunct="0">
              <a:defRPr sz="2800">
                <a:solidFill>
                  <a:srgbClr val="9C0042"/>
                </a:solidFill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FF9469-905A-4CB7-9471-3FB9CE11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igures Car Aftermarket in Turkey</a:t>
            </a:r>
            <a:endParaRPr lang="de-DE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F8BA82B4-02C8-431B-84AD-F3363E3121D9}"/>
              </a:ext>
            </a:extLst>
          </p:cNvPr>
          <p:cNvGrpSpPr/>
          <p:nvPr/>
        </p:nvGrpSpPr>
        <p:grpSpPr>
          <a:xfrm>
            <a:off x="1155600" y="964800"/>
            <a:ext cx="9142635" cy="5216400"/>
            <a:chOff x="1161245" y="1297952"/>
            <a:chExt cx="9142635" cy="4844394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5065D63F-D5CC-4F2E-8A0C-7A9A4DB59784}"/>
                </a:ext>
              </a:extLst>
            </p:cNvPr>
            <p:cNvGrpSpPr/>
            <p:nvPr/>
          </p:nvGrpSpPr>
          <p:grpSpPr>
            <a:xfrm>
              <a:off x="1806935" y="1297952"/>
              <a:ext cx="8496945" cy="4844394"/>
              <a:chOff x="1847529" y="1659683"/>
              <a:chExt cx="8568951" cy="4951585"/>
            </a:xfrm>
          </p:grpSpPr>
          <p:graphicFrame>
            <p:nvGraphicFramePr>
              <p:cNvPr id="3" name="Diagramm 2"/>
              <p:cNvGraphicFramePr/>
              <p:nvPr>
                <p:extLst>
                  <p:ext uri="{D42A27DB-BD31-4B8C-83A1-F6EECF244321}">
                    <p14:modId xmlns:p14="http://schemas.microsoft.com/office/powerpoint/2010/main" val="3311039815"/>
                  </p:ext>
                </p:extLst>
              </p:nvPr>
            </p:nvGraphicFramePr>
            <p:xfrm>
              <a:off x="8299193" y="1990614"/>
              <a:ext cx="1645782" cy="167077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2" name="Rechteck 11"/>
              <p:cNvSpPr/>
              <p:nvPr/>
            </p:nvSpPr>
            <p:spPr>
              <a:xfrm>
                <a:off x="1847529" y="1659683"/>
                <a:ext cx="2520280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92" name="Textfeld 91"/>
              <p:cNvSpPr txBox="1"/>
              <p:nvPr/>
            </p:nvSpPr>
            <p:spPr>
              <a:xfrm>
                <a:off x="1919536" y="2278349"/>
                <a:ext cx="2387098" cy="346045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park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12,0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m cars</a:t>
                </a:r>
                <a:r>
                  <a:rPr lang="de-DE" sz="1200" baseline="30000" dirty="0">
                    <a:latin typeface="+mn-lt"/>
                  </a:rPr>
                  <a:t>1</a:t>
                </a: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919536" y="2710397"/>
                <a:ext cx="2386800" cy="534797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</a:t>
                </a:r>
                <a:r>
                  <a:rPr lang="en-US" sz="1200" dirty="0">
                    <a:latin typeface="+mn-lt"/>
                  </a:rPr>
                  <a:t>density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141 </a:t>
                </a:r>
                <a:r>
                  <a:rPr lang="en-US" sz="1200" dirty="0">
                    <a:latin typeface="+mn-lt"/>
                  </a:rPr>
                  <a:t>cars per 1.000 inhabitants</a:t>
                </a:r>
              </a:p>
            </p:txBody>
          </p:sp>
          <p:sp>
            <p:nvSpPr>
              <p:cNvPr id="99" name="Textfeld 98"/>
              <p:cNvSpPr txBox="1"/>
              <p:nvPr/>
            </p:nvSpPr>
            <p:spPr>
              <a:xfrm>
                <a:off x="1923384" y="3323849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Ø </a:t>
                </a:r>
                <a:r>
                  <a:rPr lang="en-US" sz="1200" dirty="0">
                    <a:latin typeface="+mn-lt"/>
                  </a:rPr>
                  <a:t>age of car park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9,6</a:t>
                </a:r>
                <a:r>
                  <a:rPr lang="en-US" sz="1200" dirty="0">
                    <a:latin typeface="+mn-lt"/>
                  </a:rPr>
                  <a:t> years</a:t>
                </a:r>
              </a:p>
            </p:txBody>
          </p:sp>
          <p:sp>
            <p:nvSpPr>
              <p:cNvPr id="102" name="Textfeld 101"/>
              <p:cNvSpPr txBox="1"/>
              <p:nvPr/>
            </p:nvSpPr>
            <p:spPr>
              <a:xfrm>
                <a:off x="1919536" y="3758264"/>
                <a:ext cx="2386800" cy="346045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IAM </a:t>
                </a:r>
                <a:r>
                  <a:rPr lang="de-DE" sz="1200" dirty="0" err="1">
                    <a:latin typeface="+mn-lt"/>
                  </a:rPr>
                  <a:t>parts</a:t>
                </a:r>
                <a:r>
                  <a:rPr lang="de-DE" sz="12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wholesalers</a:t>
                </a:r>
                <a:r>
                  <a:rPr lang="de-DE" sz="1200" dirty="0">
                    <a:latin typeface="+mn-lt"/>
                  </a:rPr>
                  <a:t>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4.114</a:t>
                </a:r>
                <a:r>
                  <a:rPr lang="de-DE" sz="1200" baseline="30000" dirty="0">
                    <a:latin typeface="+mn-lt"/>
                  </a:rPr>
                  <a:t>2</a:t>
                </a:r>
              </a:p>
            </p:txBody>
          </p:sp>
          <p:sp>
            <p:nvSpPr>
              <p:cNvPr id="103" name="Textfeld 102"/>
              <p:cNvSpPr txBox="1"/>
              <p:nvPr/>
            </p:nvSpPr>
            <p:spPr>
              <a:xfrm>
                <a:off x="1923384" y="4190312"/>
                <a:ext cx="2386800" cy="346045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# </a:t>
                </a:r>
                <a:r>
                  <a:rPr lang="de-DE" sz="1200" dirty="0" err="1">
                    <a:latin typeface="+mn-lt"/>
                  </a:rPr>
                  <a:t>workshop</a:t>
                </a:r>
                <a:r>
                  <a:rPr lang="de-DE" sz="1200" dirty="0">
                    <a:latin typeface="+mn-lt"/>
                  </a:rPr>
                  <a:t> outlets</a:t>
                </a:r>
                <a:r>
                  <a:rPr lang="de-DE" sz="1200" baseline="30000" dirty="0">
                    <a:latin typeface="+mn-lt"/>
                  </a:rPr>
                  <a:t>3</a:t>
                </a:r>
                <a:r>
                  <a:rPr lang="de-DE" sz="1200" dirty="0">
                    <a:latin typeface="+mn-lt"/>
                  </a:rPr>
                  <a:t>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29.863</a:t>
                </a:r>
              </a:p>
            </p:txBody>
          </p:sp>
          <p:sp>
            <p:nvSpPr>
              <p:cNvPr id="2" name="Textfeld 1"/>
              <p:cNvSpPr txBox="1"/>
              <p:nvPr/>
            </p:nvSpPr>
            <p:spPr>
              <a:xfrm>
                <a:off x="4587509" y="1700809"/>
                <a:ext cx="5609005" cy="2831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TOTAL aftermarket volume</a:t>
                </a:r>
                <a:r>
                  <a:rPr lang="en-US" sz="1200" b="1" baseline="3000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4 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in </a:t>
                </a:r>
                <a:r>
                  <a:rPr lang="en-US" sz="1200" b="1" dirty="0" err="1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bn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 EUR in Turkey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4520605" y="1659684"/>
                <a:ext cx="5675908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1919535" y="4622360"/>
                <a:ext cx="2386800" cy="346045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314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EUR </a:t>
                </a:r>
                <a:r>
                  <a:rPr lang="en-US" sz="1200" dirty="0">
                    <a:latin typeface="+mn-lt"/>
                  </a:rPr>
                  <a:t>per car per year </a:t>
                </a:r>
                <a:endParaRPr lang="de-DE" sz="1200" dirty="0">
                  <a:latin typeface="+mn-lt"/>
                </a:endParaRP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1919535" y="5054408"/>
                <a:ext cx="2386800" cy="523220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6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IAM </a:t>
                </a:r>
                <a:r>
                  <a:rPr lang="en-US" sz="1200" dirty="0">
                    <a:latin typeface="+mn-lt"/>
                  </a:rPr>
                  <a:t>workshop outlets per wholesaler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1919535" y="5682734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403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cars per IAM workshop</a:t>
                </a:r>
              </a:p>
            </p:txBody>
          </p:sp>
          <p:sp>
            <p:nvSpPr>
              <p:cNvPr id="22" name="Textfeld 21"/>
              <p:cNvSpPr txBox="1"/>
              <p:nvPr/>
            </p:nvSpPr>
            <p:spPr>
              <a:xfrm>
                <a:off x="1847529" y="6272714"/>
                <a:ext cx="834898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800" baseline="30000" dirty="0">
                    <a:latin typeface="+mn-lt"/>
                  </a:rPr>
                  <a:t>1</a:t>
                </a:r>
                <a:r>
                  <a:rPr lang="de-DE" sz="800" dirty="0">
                    <a:latin typeface="+mn-lt"/>
                  </a:rPr>
                  <a:t> </a:t>
                </a:r>
                <a:r>
                  <a:rPr lang="en-US" sz="800" dirty="0">
                    <a:latin typeface="+mn-lt"/>
                  </a:rPr>
                  <a:t>only passenger cars; ² number of companies; ³ IAM+OES workshops incl. specialists; number of outlets;</a:t>
                </a:r>
                <a:r>
                  <a:rPr lang="de-DE" sz="800" dirty="0">
                    <a:latin typeface="+mn-lt"/>
                  </a:rPr>
                  <a:t>  </a:t>
                </a:r>
                <a:r>
                  <a:rPr lang="de-DE" sz="800" baseline="30000" dirty="0">
                    <a:latin typeface="+mn-lt"/>
                  </a:rPr>
                  <a:t>4 </a:t>
                </a:r>
                <a:r>
                  <a:rPr lang="en-US" sz="800" dirty="0">
                    <a:latin typeface="+mn-lt"/>
                  </a:rPr>
                  <a:t>Only material for passenger cars at end consumer prices  excl. VAT. 2016 = estimated </a:t>
                </a:r>
                <a:endParaRPr lang="de-DE" sz="1400" dirty="0">
                  <a:latin typeface="+mn-lt"/>
                </a:endParaRPr>
              </a:p>
            </p:txBody>
          </p:sp>
          <p:graphicFrame>
            <p:nvGraphicFramePr>
              <p:cNvPr id="10" name="Diagramm 9"/>
              <p:cNvGraphicFramePr/>
              <p:nvPr>
                <p:extLst>
                  <p:ext uri="{D42A27DB-BD31-4B8C-83A1-F6EECF244321}">
                    <p14:modId xmlns:p14="http://schemas.microsoft.com/office/powerpoint/2010/main" val="228161020"/>
                  </p:ext>
                </p:extLst>
              </p:nvPr>
            </p:nvGraphicFramePr>
            <p:xfrm>
              <a:off x="4587509" y="3446813"/>
              <a:ext cx="4748852" cy="28259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1" name="Textfeld 10"/>
              <p:cNvSpPr txBox="1"/>
              <p:nvPr/>
            </p:nvSpPr>
            <p:spPr>
              <a:xfrm>
                <a:off x="9019991" y="3896207"/>
                <a:ext cx="1329318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1,2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5" name="Textfeld 24"/>
              <p:cNvSpPr txBox="1"/>
              <p:nvPr/>
            </p:nvSpPr>
            <p:spPr>
              <a:xfrm>
                <a:off x="9019991" y="4114900"/>
                <a:ext cx="1243426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5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6" name="Textfeld 25"/>
              <p:cNvSpPr txBox="1"/>
              <p:nvPr/>
            </p:nvSpPr>
            <p:spPr>
              <a:xfrm>
                <a:off x="9019991" y="4333593"/>
                <a:ext cx="1396489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5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7" name="Textfeld 26"/>
              <p:cNvSpPr txBox="1"/>
              <p:nvPr/>
            </p:nvSpPr>
            <p:spPr>
              <a:xfrm>
                <a:off x="9019991" y="4552286"/>
                <a:ext cx="1176522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4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8" name="Textfeld 27"/>
              <p:cNvSpPr txBox="1"/>
              <p:nvPr/>
            </p:nvSpPr>
            <p:spPr>
              <a:xfrm>
                <a:off x="9019991" y="4770979"/>
                <a:ext cx="1243426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4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9" name="Textfeld 28"/>
              <p:cNvSpPr txBox="1"/>
              <p:nvPr/>
            </p:nvSpPr>
            <p:spPr>
              <a:xfrm>
                <a:off x="9019991" y="4989672"/>
                <a:ext cx="1176522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3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0" name="Textfeld 29"/>
              <p:cNvSpPr txBox="1"/>
              <p:nvPr/>
            </p:nvSpPr>
            <p:spPr>
              <a:xfrm>
                <a:off x="9018577" y="5208365"/>
                <a:ext cx="1244841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2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1" name="Textfeld 30"/>
              <p:cNvSpPr txBox="1"/>
              <p:nvPr/>
            </p:nvSpPr>
            <p:spPr>
              <a:xfrm>
                <a:off x="9027813" y="5427058"/>
                <a:ext cx="1168701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1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2" name="Textfeld 31"/>
              <p:cNvSpPr txBox="1"/>
              <p:nvPr/>
            </p:nvSpPr>
            <p:spPr>
              <a:xfrm>
                <a:off x="9027813" y="5645751"/>
                <a:ext cx="1388667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1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3" name="Textfeld 32"/>
              <p:cNvSpPr txBox="1"/>
              <p:nvPr/>
            </p:nvSpPr>
            <p:spPr>
              <a:xfrm>
                <a:off x="9042375" y="5864443"/>
                <a:ext cx="1221043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1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4587508" y="3584051"/>
                <a:ext cx="5036885" cy="28312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Aftermarket volume by 10 product groups in Turkey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</p:grpSp>
        <p:sp>
          <p:nvSpPr>
            <p:cNvPr id="8" name="Geschweifte Klammer links/rechts 7">
              <a:extLst>
                <a:ext uri="{FF2B5EF4-FFF2-40B4-BE49-F238E27FC236}">
                  <a16:creationId xmlns:a16="http://schemas.microsoft.com/office/drawing/2014/main" id="{0F41E9BD-60FD-4252-BD84-FD54BBE51329}"/>
                </a:ext>
              </a:extLst>
            </p:cNvPr>
            <p:cNvSpPr/>
            <p:nvPr/>
          </p:nvSpPr>
          <p:spPr>
            <a:xfrm>
              <a:off x="1161245" y="4060264"/>
              <a:ext cx="497218" cy="1530850"/>
            </a:xfrm>
            <a:prstGeom prst="bracePair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FAC09B50-3F55-4BD7-8741-8B926B0B50DC}"/>
              </a:ext>
            </a:extLst>
          </p:cNvPr>
          <p:cNvSpPr txBox="1"/>
          <p:nvPr/>
        </p:nvSpPr>
        <p:spPr>
          <a:xfrm>
            <a:off x="1199456" y="4364346"/>
            <a:ext cx="400110" cy="792846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de-DE" sz="1400" dirty="0" err="1">
                <a:latin typeface="+mn-lt"/>
              </a:rPr>
              <a:t>statistics</a:t>
            </a:r>
            <a:endParaRPr lang="de-DE" sz="1400" dirty="0">
              <a:latin typeface="+mn-lt"/>
            </a:endParaRP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5D87B603-DF79-4859-ABE3-D99087F341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9536" y="1160784"/>
            <a:ext cx="434319" cy="324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0" name="Textfeld 39">
            <a:extLst>
              <a:ext uri="{FF2B5EF4-FFF2-40B4-BE49-F238E27FC236}">
                <a16:creationId xmlns:a16="http://schemas.microsoft.com/office/drawing/2014/main" id="{96B6675E-25E0-4E58-9E79-C9F1578CE337}"/>
              </a:ext>
            </a:extLst>
          </p:cNvPr>
          <p:cNvSpPr txBox="1"/>
          <p:nvPr/>
        </p:nvSpPr>
        <p:spPr>
          <a:xfrm>
            <a:off x="5233032" y="1637832"/>
            <a:ext cx="2629411" cy="671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>
                <a:solidFill>
                  <a:schemeClr val="accent1"/>
                </a:solidFill>
                <a:latin typeface="+mn-lt"/>
              </a:rPr>
              <a:t>3,8 </a:t>
            </a:r>
            <a:r>
              <a:rPr lang="de-DE" sz="3600" dirty="0" err="1">
                <a:solidFill>
                  <a:schemeClr val="accent1"/>
                </a:solidFill>
                <a:latin typeface="+mn-lt"/>
              </a:rPr>
              <a:t>bn</a:t>
            </a:r>
            <a:r>
              <a:rPr lang="de-DE" sz="3600" dirty="0">
                <a:solidFill>
                  <a:schemeClr val="accent1"/>
                </a:solidFill>
                <a:latin typeface="+mn-lt"/>
              </a:rPr>
              <a:t>. €</a:t>
            </a:r>
          </a:p>
        </p:txBody>
      </p:sp>
    </p:spTree>
    <p:extLst>
      <p:ext uri="{BB962C8B-B14F-4D97-AF65-F5344CB8AC3E}">
        <p14:creationId xmlns:p14="http://schemas.microsoft.com/office/powerpoint/2010/main" val="3023326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4"/>
          <p:cNvSpPr txBox="1">
            <a:spLocks/>
          </p:cNvSpPr>
          <p:nvPr/>
        </p:nvSpPr>
        <p:spPr bwMode="auto">
          <a:xfrm>
            <a:off x="1826840" y="1125538"/>
            <a:ext cx="8229600" cy="436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280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defRPr>
            </a:lvl1pPr>
            <a:lvl2pPr eaLnBrk="0" hangingPunct="0">
              <a:defRPr sz="2800">
                <a:solidFill>
                  <a:srgbClr val="9C0042"/>
                </a:solidFill>
                <a:cs typeface="Arial" charset="0"/>
              </a:defRPr>
            </a:lvl2pPr>
            <a:lvl3pPr eaLnBrk="0" hangingPunct="0">
              <a:defRPr sz="2800">
                <a:solidFill>
                  <a:srgbClr val="9C0042"/>
                </a:solidFill>
                <a:cs typeface="Arial" charset="0"/>
              </a:defRPr>
            </a:lvl3pPr>
            <a:lvl4pPr eaLnBrk="0" hangingPunct="0">
              <a:defRPr sz="2800">
                <a:solidFill>
                  <a:srgbClr val="9C0042"/>
                </a:solidFill>
                <a:cs typeface="Arial" charset="0"/>
              </a:defRPr>
            </a:lvl4pPr>
            <a:lvl5pPr eaLnBrk="0" hangingPunct="0">
              <a:defRPr sz="2800">
                <a:solidFill>
                  <a:srgbClr val="9C0042"/>
                </a:solidFill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2"/>
                </a:solidFill>
                <a:cs typeface="Arial" charset="0"/>
              </a:defRPr>
            </a:lvl9pPr>
          </a:lstStyle>
          <a:p>
            <a:endParaRPr lang="en-US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ECFF9469-905A-4CB7-9471-3FB9CE11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igures Car Aftermarket in Russia</a:t>
            </a:r>
            <a:endParaRPr lang="de-DE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622AD371-9B72-4EE8-8A54-01F92589A971}"/>
              </a:ext>
            </a:extLst>
          </p:cNvPr>
          <p:cNvGrpSpPr/>
          <p:nvPr/>
        </p:nvGrpSpPr>
        <p:grpSpPr>
          <a:xfrm>
            <a:off x="1155600" y="964800"/>
            <a:ext cx="9144000" cy="5216400"/>
            <a:chOff x="1055440" y="1343819"/>
            <a:chExt cx="9177013" cy="4951585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5065D63F-D5CC-4F2E-8A0C-7A9A4DB59784}"/>
                </a:ext>
              </a:extLst>
            </p:cNvPr>
            <p:cNvGrpSpPr/>
            <p:nvPr/>
          </p:nvGrpSpPr>
          <p:grpSpPr>
            <a:xfrm>
              <a:off x="1663502" y="1343819"/>
              <a:ext cx="8568951" cy="4951585"/>
              <a:chOff x="1847529" y="1659683"/>
              <a:chExt cx="8568951" cy="4951585"/>
            </a:xfrm>
          </p:grpSpPr>
          <p:graphicFrame>
            <p:nvGraphicFramePr>
              <p:cNvPr id="3" name="Diagramm 2"/>
              <p:cNvGraphicFramePr/>
              <p:nvPr>
                <p:extLst>
                  <p:ext uri="{D42A27DB-BD31-4B8C-83A1-F6EECF244321}">
                    <p14:modId xmlns:p14="http://schemas.microsoft.com/office/powerpoint/2010/main" val="3451061045"/>
                  </p:ext>
                </p:extLst>
              </p:nvPr>
            </p:nvGraphicFramePr>
            <p:xfrm>
              <a:off x="8299193" y="1990614"/>
              <a:ext cx="1645782" cy="167077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2"/>
              </a:graphicData>
            </a:graphic>
          </p:graphicFrame>
          <p:sp>
            <p:nvSpPr>
              <p:cNvPr id="12" name="Rechteck 11"/>
              <p:cNvSpPr/>
              <p:nvPr/>
            </p:nvSpPr>
            <p:spPr>
              <a:xfrm>
                <a:off x="1847529" y="1659683"/>
                <a:ext cx="2520280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92" name="Textfeld 91"/>
              <p:cNvSpPr txBox="1"/>
              <p:nvPr/>
            </p:nvSpPr>
            <p:spPr>
              <a:xfrm>
                <a:off x="1919536" y="2278349"/>
                <a:ext cx="2387098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park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40,9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m cars</a:t>
                </a:r>
                <a:r>
                  <a:rPr lang="de-DE" sz="1200" baseline="30000" dirty="0">
                    <a:latin typeface="+mn-lt"/>
                  </a:rPr>
                  <a:t>1</a:t>
                </a: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919536" y="2710397"/>
                <a:ext cx="2386800" cy="523220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</a:t>
                </a:r>
                <a:r>
                  <a:rPr lang="en-US" sz="1200" dirty="0">
                    <a:latin typeface="+mn-lt"/>
                  </a:rPr>
                  <a:t>density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280 </a:t>
                </a:r>
                <a:r>
                  <a:rPr lang="en-US" sz="1200" dirty="0">
                    <a:latin typeface="+mn-lt"/>
                  </a:rPr>
                  <a:t>cars per 1.000 inhabitants</a:t>
                </a:r>
              </a:p>
            </p:txBody>
          </p:sp>
          <p:sp>
            <p:nvSpPr>
              <p:cNvPr id="99" name="Textfeld 98"/>
              <p:cNvSpPr txBox="1"/>
              <p:nvPr/>
            </p:nvSpPr>
            <p:spPr>
              <a:xfrm>
                <a:off x="1923384" y="3323849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Ø </a:t>
                </a:r>
                <a:r>
                  <a:rPr lang="en-US" sz="1200" dirty="0">
                    <a:latin typeface="+mn-lt"/>
                  </a:rPr>
                  <a:t>age of car park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9,9</a:t>
                </a:r>
                <a:r>
                  <a:rPr lang="en-US" sz="1200" dirty="0">
                    <a:latin typeface="+mn-lt"/>
                  </a:rPr>
                  <a:t> years</a:t>
                </a:r>
              </a:p>
            </p:txBody>
          </p:sp>
          <p:sp>
            <p:nvSpPr>
              <p:cNvPr id="102" name="Textfeld 101"/>
              <p:cNvSpPr txBox="1"/>
              <p:nvPr/>
            </p:nvSpPr>
            <p:spPr>
              <a:xfrm>
                <a:off x="1919536" y="3758264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IAM </a:t>
                </a:r>
                <a:r>
                  <a:rPr lang="de-DE" sz="1200" dirty="0" err="1">
                    <a:latin typeface="+mn-lt"/>
                  </a:rPr>
                  <a:t>parts</a:t>
                </a:r>
                <a:r>
                  <a:rPr lang="de-DE" sz="12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wholesalers</a:t>
                </a:r>
                <a:r>
                  <a:rPr lang="de-DE" sz="1200" dirty="0">
                    <a:latin typeface="+mn-lt"/>
                  </a:rPr>
                  <a:t>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15.803</a:t>
                </a:r>
                <a:endParaRPr lang="de-DE" sz="1200" baseline="30000" dirty="0">
                  <a:latin typeface="+mn-lt"/>
                </a:endParaRPr>
              </a:p>
            </p:txBody>
          </p:sp>
          <p:sp>
            <p:nvSpPr>
              <p:cNvPr id="103" name="Textfeld 102"/>
              <p:cNvSpPr txBox="1"/>
              <p:nvPr/>
            </p:nvSpPr>
            <p:spPr>
              <a:xfrm>
                <a:off x="1923384" y="4190312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# </a:t>
                </a:r>
                <a:r>
                  <a:rPr lang="de-DE" sz="1200" dirty="0" err="1">
                    <a:latin typeface="+mn-lt"/>
                  </a:rPr>
                  <a:t>workshop</a:t>
                </a:r>
                <a:r>
                  <a:rPr lang="de-DE" sz="1200" dirty="0">
                    <a:latin typeface="+mn-lt"/>
                  </a:rPr>
                  <a:t> outlets3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54.509</a:t>
                </a:r>
              </a:p>
            </p:txBody>
          </p:sp>
          <p:sp>
            <p:nvSpPr>
              <p:cNvPr id="2" name="Textfeld 1"/>
              <p:cNvSpPr txBox="1"/>
              <p:nvPr/>
            </p:nvSpPr>
            <p:spPr>
              <a:xfrm>
                <a:off x="4587509" y="1700809"/>
                <a:ext cx="560900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TOTAL aftermarket volume</a:t>
                </a:r>
                <a:r>
                  <a:rPr lang="en-US" sz="1200" b="1" baseline="3000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4 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in </a:t>
                </a:r>
                <a:r>
                  <a:rPr lang="en-US" sz="1200" b="1" dirty="0" err="1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bn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 EUR in Russia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4520605" y="1659684"/>
                <a:ext cx="5675908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1919535" y="4622360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255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EUR </a:t>
                </a:r>
                <a:r>
                  <a:rPr lang="en-US" sz="1200" dirty="0">
                    <a:latin typeface="+mn-lt"/>
                  </a:rPr>
                  <a:t>per car per year </a:t>
                </a:r>
                <a:endParaRPr lang="de-DE" sz="1200" dirty="0">
                  <a:latin typeface="+mn-lt"/>
                </a:endParaRP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1919535" y="5054408"/>
                <a:ext cx="2386800" cy="523220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3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IAM </a:t>
                </a:r>
                <a:r>
                  <a:rPr lang="en-US" sz="1200" dirty="0">
                    <a:latin typeface="+mn-lt"/>
                  </a:rPr>
                  <a:t>workshop outlets per wholesaler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1919535" y="5682734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806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cars per IAM workshop</a:t>
                </a:r>
              </a:p>
            </p:txBody>
          </p:sp>
          <p:sp>
            <p:nvSpPr>
              <p:cNvPr id="22" name="Textfeld 21"/>
              <p:cNvSpPr txBox="1"/>
              <p:nvPr/>
            </p:nvSpPr>
            <p:spPr>
              <a:xfrm>
                <a:off x="1847529" y="6272714"/>
                <a:ext cx="834898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800" baseline="30000" dirty="0">
                    <a:latin typeface="+mn-lt"/>
                  </a:rPr>
                  <a:t>1</a:t>
                </a:r>
                <a:r>
                  <a:rPr lang="de-DE" sz="800" dirty="0">
                    <a:latin typeface="+mn-lt"/>
                  </a:rPr>
                  <a:t> </a:t>
                </a:r>
                <a:r>
                  <a:rPr lang="en-US" sz="800" dirty="0">
                    <a:latin typeface="+mn-lt"/>
                  </a:rPr>
                  <a:t>only passenger cars; ² number of companies; ³ IAM+OES workshops incl. specialists; number of outlets;</a:t>
                </a:r>
                <a:r>
                  <a:rPr lang="de-DE" sz="800" dirty="0">
                    <a:latin typeface="+mn-lt"/>
                  </a:rPr>
                  <a:t>  </a:t>
                </a:r>
                <a:r>
                  <a:rPr lang="de-DE" sz="800" baseline="30000" dirty="0">
                    <a:latin typeface="+mn-lt"/>
                  </a:rPr>
                  <a:t>4 </a:t>
                </a:r>
                <a:r>
                  <a:rPr lang="en-US" sz="800" dirty="0">
                    <a:latin typeface="+mn-lt"/>
                  </a:rPr>
                  <a:t>Only material for passenger cars at end consumer prices  excl. VAT. 2016 = estimated </a:t>
                </a:r>
                <a:endParaRPr lang="de-DE" sz="1400" dirty="0">
                  <a:latin typeface="+mn-lt"/>
                </a:endParaRPr>
              </a:p>
            </p:txBody>
          </p:sp>
          <p:graphicFrame>
            <p:nvGraphicFramePr>
              <p:cNvPr id="10" name="Diagramm 9"/>
              <p:cNvGraphicFramePr/>
              <p:nvPr>
                <p:extLst>
                  <p:ext uri="{D42A27DB-BD31-4B8C-83A1-F6EECF244321}">
                    <p14:modId xmlns:p14="http://schemas.microsoft.com/office/powerpoint/2010/main" val="3125653042"/>
                  </p:ext>
                </p:extLst>
              </p:nvPr>
            </p:nvGraphicFramePr>
            <p:xfrm>
              <a:off x="4587509" y="3446813"/>
              <a:ext cx="4748852" cy="28259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11" name="Textfeld 10"/>
              <p:cNvSpPr txBox="1"/>
              <p:nvPr/>
            </p:nvSpPr>
            <p:spPr>
              <a:xfrm>
                <a:off x="9019991" y="3896207"/>
                <a:ext cx="1329318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6,0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5" name="Textfeld 24"/>
              <p:cNvSpPr txBox="1"/>
              <p:nvPr/>
            </p:nvSpPr>
            <p:spPr>
              <a:xfrm>
                <a:off x="9019991" y="4114900"/>
                <a:ext cx="1243426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7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6" name="Textfeld 25"/>
              <p:cNvSpPr txBox="1"/>
              <p:nvPr/>
            </p:nvSpPr>
            <p:spPr>
              <a:xfrm>
                <a:off x="9019991" y="4333593"/>
                <a:ext cx="1396489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6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7" name="Textfeld 26"/>
              <p:cNvSpPr txBox="1"/>
              <p:nvPr/>
            </p:nvSpPr>
            <p:spPr>
              <a:xfrm>
                <a:off x="9019991" y="4552286"/>
                <a:ext cx="1176522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4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8" name="Textfeld 27"/>
              <p:cNvSpPr txBox="1"/>
              <p:nvPr/>
            </p:nvSpPr>
            <p:spPr>
              <a:xfrm>
                <a:off x="9019991" y="4770979"/>
                <a:ext cx="1243426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1,2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29" name="Textfeld 28"/>
              <p:cNvSpPr txBox="1"/>
              <p:nvPr/>
            </p:nvSpPr>
            <p:spPr>
              <a:xfrm>
                <a:off x="9019991" y="4989672"/>
                <a:ext cx="1176522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7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0" name="Textfeld 29"/>
              <p:cNvSpPr txBox="1"/>
              <p:nvPr/>
            </p:nvSpPr>
            <p:spPr>
              <a:xfrm>
                <a:off x="9018577" y="5208365"/>
                <a:ext cx="1244841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2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1" name="Textfeld 30"/>
              <p:cNvSpPr txBox="1"/>
              <p:nvPr/>
            </p:nvSpPr>
            <p:spPr>
              <a:xfrm>
                <a:off x="9027813" y="5427058"/>
                <a:ext cx="1168701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2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2" name="Textfeld 31"/>
              <p:cNvSpPr txBox="1"/>
              <p:nvPr/>
            </p:nvSpPr>
            <p:spPr>
              <a:xfrm>
                <a:off x="9027813" y="5645751"/>
                <a:ext cx="1388667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3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3" name="Textfeld 32"/>
              <p:cNvSpPr txBox="1"/>
              <p:nvPr/>
            </p:nvSpPr>
            <p:spPr>
              <a:xfrm>
                <a:off x="9042375" y="5864443"/>
                <a:ext cx="1221043" cy="261610"/>
              </a:xfrm>
              <a:prstGeom prst="rect">
                <a:avLst/>
              </a:prstGeom>
              <a:noFill/>
              <a:ln>
                <a:noFill/>
                <a:prstDash val="lgDash"/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100" b="1" dirty="0">
                    <a:solidFill>
                      <a:schemeClr val="accent6"/>
                    </a:solidFill>
                    <a:latin typeface="+mj-lt"/>
                  </a:rPr>
                  <a:t>∑=0,1 </a:t>
                </a:r>
                <a:r>
                  <a:rPr lang="en-US" sz="1100" b="1" dirty="0" err="1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bn</a:t>
                </a:r>
                <a:r>
                  <a:rPr lang="en-US" sz="1100" b="1" dirty="0">
                    <a:solidFill>
                      <a:schemeClr val="accent6">
                        <a:lumMod val="75000"/>
                      </a:schemeClr>
                    </a:solidFill>
                    <a:latin typeface="+mj-lt"/>
                  </a:rPr>
                  <a:t> EUR </a:t>
                </a:r>
                <a:endParaRPr lang="de-DE" sz="1100" b="1" dirty="0">
                  <a:solidFill>
                    <a:schemeClr val="accent6"/>
                  </a:solidFill>
                  <a:latin typeface="+mj-lt"/>
                </a:endParaRPr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4587508" y="3584051"/>
                <a:ext cx="503688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Aftermarket volume by 10 product groups in Russia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</p:grpSp>
        <p:grpSp>
          <p:nvGrpSpPr>
            <p:cNvPr id="13" name="Gruppieren 12">
              <a:extLst>
                <a:ext uri="{FF2B5EF4-FFF2-40B4-BE49-F238E27FC236}">
                  <a16:creationId xmlns:a16="http://schemas.microsoft.com/office/drawing/2014/main" id="{D94E600B-96E1-413C-9D63-B505CB21208A}"/>
                </a:ext>
              </a:extLst>
            </p:cNvPr>
            <p:cNvGrpSpPr/>
            <p:nvPr/>
          </p:nvGrpSpPr>
          <p:grpSpPr>
            <a:xfrm>
              <a:off x="1055440" y="4060264"/>
              <a:ext cx="497218" cy="1530850"/>
              <a:chOff x="1055440" y="4060264"/>
              <a:chExt cx="497218" cy="1530850"/>
            </a:xfrm>
          </p:grpSpPr>
          <p:sp>
            <p:nvSpPr>
              <p:cNvPr id="8" name="Geschweifte Klammer links/rechts 7">
                <a:extLst>
                  <a:ext uri="{FF2B5EF4-FFF2-40B4-BE49-F238E27FC236}">
                    <a16:creationId xmlns:a16="http://schemas.microsoft.com/office/drawing/2014/main" id="{0F41E9BD-60FD-4252-BD84-FD54BBE51329}"/>
                  </a:ext>
                </a:extLst>
              </p:cNvPr>
              <p:cNvSpPr/>
              <p:nvPr/>
            </p:nvSpPr>
            <p:spPr>
              <a:xfrm>
                <a:off x="1055440" y="4060264"/>
                <a:ext cx="497218" cy="1530850"/>
              </a:xfrm>
              <a:prstGeom prst="bracePair">
                <a:avLst/>
              </a:prstGeom>
              <a:ln w="1270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9" name="Textfeld 8">
                <a:extLst>
                  <a:ext uri="{FF2B5EF4-FFF2-40B4-BE49-F238E27FC236}">
                    <a16:creationId xmlns:a16="http://schemas.microsoft.com/office/drawing/2014/main" id="{FAC09B50-3F55-4BD7-8741-8B926B0B50DC}"/>
                  </a:ext>
                </a:extLst>
              </p:cNvPr>
              <p:cNvSpPr txBox="1"/>
              <p:nvPr/>
            </p:nvSpPr>
            <p:spPr>
              <a:xfrm>
                <a:off x="1127448" y="4425975"/>
                <a:ext cx="400110" cy="792846"/>
              </a:xfrm>
              <a:prstGeom prst="rect">
                <a:avLst/>
              </a:prstGeom>
              <a:noFill/>
            </p:spPr>
            <p:txBody>
              <a:bodyPr vert="vert270" wrap="none" rtlCol="0">
                <a:spAutoFit/>
              </a:bodyPr>
              <a:lstStyle/>
              <a:p>
                <a:r>
                  <a:rPr lang="de-DE" sz="1400" dirty="0" err="1">
                    <a:latin typeface="+mn-lt"/>
                  </a:rPr>
                  <a:t>statistics</a:t>
                </a:r>
                <a:endParaRPr lang="de-DE" sz="1400" dirty="0">
                  <a:latin typeface="+mn-lt"/>
                </a:endParaRPr>
              </a:p>
            </p:txBody>
          </p:sp>
        </p:grpSp>
      </p:grpSp>
      <p:pic>
        <p:nvPicPr>
          <p:cNvPr id="38" name="Grafik 37">
            <a:extLst>
              <a:ext uri="{FF2B5EF4-FFF2-40B4-BE49-F238E27FC236}">
                <a16:creationId xmlns:a16="http://schemas.microsoft.com/office/drawing/2014/main" id="{585F13BB-020A-42FE-B6D0-8B5C16010CB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47528" y="1088776"/>
            <a:ext cx="432631" cy="32400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sp>
        <p:nvSpPr>
          <p:cNvPr id="41" name="Textfeld 40">
            <a:extLst>
              <a:ext uri="{FF2B5EF4-FFF2-40B4-BE49-F238E27FC236}">
                <a16:creationId xmlns:a16="http://schemas.microsoft.com/office/drawing/2014/main" id="{A119343B-0036-438B-AEF6-25A199352E2E}"/>
              </a:ext>
            </a:extLst>
          </p:cNvPr>
          <p:cNvSpPr txBox="1"/>
          <p:nvPr/>
        </p:nvSpPr>
        <p:spPr>
          <a:xfrm>
            <a:off x="5233032" y="1637832"/>
            <a:ext cx="2629411" cy="671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>
                <a:solidFill>
                  <a:schemeClr val="accent1"/>
                </a:solidFill>
                <a:latin typeface="+mn-lt"/>
              </a:rPr>
              <a:t>10,4 </a:t>
            </a:r>
            <a:r>
              <a:rPr lang="de-DE" sz="3600" dirty="0" err="1">
                <a:solidFill>
                  <a:schemeClr val="accent1"/>
                </a:solidFill>
                <a:latin typeface="+mn-lt"/>
              </a:rPr>
              <a:t>bn</a:t>
            </a:r>
            <a:r>
              <a:rPr lang="de-DE" sz="3600" dirty="0">
                <a:solidFill>
                  <a:schemeClr val="accent1"/>
                </a:solidFill>
                <a:latin typeface="+mn-lt"/>
              </a:rPr>
              <a:t>. €</a:t>
            </a:r>
          </a:p>
        </p:txBody>
      </p:sp>
    </p:spTree>
    <p:extLst>
      <p:ext uri="{BB962C8B-B14F-4D97-AF65-F5344CB8AC3E}">
        <p14:creationId xmlns:p14="http://schemas.microsoft.com/office/powerpoint/2010/main" val="24195142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ECFF9469-905A-4CB7-9471-3FB9CE1178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figures Car Aftermarket in Africa</a:t>
            </a:r>
            <a:endParaRPr lang="de-DE" dirty="0"/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A4546081-64B2-41CC-AB0E-A7788011D87D}"/>
              </a:ext>
            </a:extLst>
          </p:cNvPr>
          <p:cNvGrpSpPr/>
          <p:nvPr/>
        </p:nvGrpSpPr>
        <p:grpSpPr>
          <a:xfrm>
            <a:off x="1155600" y="964800"/>
            <a:ext cx="9144000" cy="5216400"/>
            <a:chOff x="1055440" y="1343819"/>
            <a:chExt cx="8957047" cy="4951585"/>
          </a:xfrm>
        </p:grpSpPr>
        <p:grpSp>
          <p:nvGrpSpPr>
            <p:cNvPr id="7" name="Gruppieren 6">
              <a:extLst>
                <a:ext uri="{FF2B5EF4-FFF2-40B4-BE49-F238E27FC236}">
                  <a16:creationId xmlns:a16="http://schemas.microsoft.com/office/drawing/2014/main" id="{5065D63F-D5CC-4F2E-8A0C-7A9A4DB59784}"/>
                </a:ext>
              </a:extLst>
            </p:cNvPr>
            <p:cNvGrpSpPr/>
            <p:nvPr/>
          </p:nvGrpSpPr>
          <p:grpSpPr>
            <a:xfrm>
              <a:off x="1663502" y="1343819"/>
              <a:ext cx="8348985" cy="4951585"/>
              <a:chOff x="1847529" y="1659683"/>
              <a:chExt cx="8348985" cy="4951585"/>
            </a:xfrm>
          </p:grpSpPr>
          <p:sp>
            <p:nvSpPr>
              <p:cNvPr id="12" name="Rechteck 11"/>
              <p:cNvSpPr/>
              <p:nvPr/>
            </p:nvSpPr>
            <p:spPr>
              <a:xfrm>
                <a:off x="1847529" y="1659683"/>
                <a:ext cx="2520280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92" name="Textfeld 91"/>
              <p:cNvSpPr txBox="1"/>
              <p:nvPr/>
            </p:nvSpPr>
            <p:spPr>
              <a:xfrm>
                <a:off x="1919536" y="2278349"/>
                <a:ext cx="2387098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park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33,5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m cars</a:t>
                </a:r>
                <a:r>
                  <a:rPr lang="de-DE" sz="1200" baseline="30000" dirty="0">
                    <a:latin typeface="+mn-lt"/>
                  </a:rPr>
                  <a:t>1</a:t>
                </a:r>
              </a:p>
            </p:txBody>
          </p:sp>
          <p:sp>
            <p:nvSpPr>
              <p:cNvPr id="93" name="Textfeld 92"/>
              <p:cNvSpPr txBox="1"/>
              <p:nvPr/>
            </p:nvSpPr>
            <p:spPr>
              <a:xfrm>
                <a:off x="1919536" y="2710397"/>
                <a:ext cx="2386800" cy="523220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Car </a:t>
                </a:r>
                <a:r>
                  <a:rPr lang="en-US" sz="1200" dirty="0">
                    <a:latin typeface="+mn-lt"/>
                  </a:rPr>
                  <a:t>density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39 </a:t>
                </a:r>
                <a:r>
                  <a:rPr lang="en-US" sz="1200" dirty="0">
                    <a:latin typeface="+mn-lt"/>
                  </a:rPr>
                  <a:t>cars per 1.000 inhabitants</a:t>
                </a:r>
              </a:p>
            </p:txBody>
          </p:sp>
          <p:sp>
            <p:nvSpPr>
              <p:cNvPr id="99" name="Textfeld 98"/>
              <p:cNvSpPr txBox="1"/>
              <p:nvPr/>
            </p:nvSpPr>
            <p:spPr>
              <a:xfrm>
                <a:off x="1923384" y="3323849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Ø </a:t>
                </a:r>
                <a:r>
                  <a:rPr lang="en-US" sz="1200" dirty="0">
                    <a:latin typeface="+mn-lt"/>
                  </a:rPr>
                  <a:t>age of car park: </a:t>
                </a:r>
                <a:r>
                  <a:rPr lang="en-US" sz="1600" b="1" dirty="0">
                    <a:solidFill>
                      <a:schemeClr val="accent3"/>
                    </a:solidFill>
                    <a:latin typeface="+mn-lt"/>
                  </a:rPr>
                  <a:t>&gt; 13 </a:t>
                </a:r>
                <a:r>
                  <a:rPr lang="en-US" sz="1200" dirty="0">
                    <a:latin typeface="+mn-lt"/>
                  </a:rPr>
                  <a:t>years</a:t>
                </a:r>
              </a:p>
            </p:txBody>
          </p:sp>
          <p:sp>
            <p:nvSpPr>
              <p:cNvPr id="102" name="Textfeld 101"/>
              <p:cNvSpPr txBox="1"/>
              <p:nvPr/>
            </p:nvSpPr>
            <p:spPr>
              <a:xfrm>
                <a:off x="1919536" y="3758264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IAM </a:t>
                </a:r>
                <a:r>
                  <a:rPr lang="de-DE" sz="1200" dirty="0" err="1">
                    <a:latin typeface="+mn-lt"/>
                  </a:rPr>
                  <a:t>parts</a:t>
                </a:r>
                <a:r>
                  <a:rPr lang="de-DE" sz="12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wholesalers</a:t>
                </a:r>
                <a:r>
                  <a:rPr lang="de-DE" sz="1200" dirty="0">
                    <a:latin typeface="+mn-lt"/>
                  </a:rPr>
                  <a:t>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4.000</a:t>
                </a:r>
                <a:endParaRPr lang="de-DE" sz="1200" baseline="30000" dirty="0">
                  <a:latin typeface="+mn-lt"/>
                </a:endParaRPr>
              </a:p>
            </p:txBody>
          </p:sp>
          <p:sp>
            <p:nvSpPr>
              <p:cNvPr id="103" name="Textfeld 102"/>
              <p:cNvSpPr txBox="1"/>
              <p:nvPr/>
            </p:nvSpPr>
            <p:spPr>
              <a:xfrm>
                <a:off x="1923384" y="4190312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200" dirty="0">
                    <a:latin typeface="+mn-lt"/>
                  </a:rPr>
                  <a:t># </a:t>
                </a:r>
                <a:r>
                  <a:rPr lang="de-DE" sz="1200" dirty="0" err="1">
                    <a:latin typeface="+mn-lt"/>
                  </a:rPr>
                  <a:t>workshop</a:t>
                </a:r>
                <a:r>
                  <a:rPr lang="de-DE" sz="1200" dirty="0">
                    <a:latin typeface="+mn-lt"/>
                  </a:rPr>
                  <a:t> outlets3: </a:t>
                </a:r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21.800</a:t>
                </a:r>
              </a:p>
            </p:txBody>
          </p:sp>
          <p:sp>
            <p:nvSpPr>
              <p:cNvPr id="2" name="Textfeld 1"/>
              <p:cNvSpPr txBox="1"/>
              <p:nvPr/>
            </p:nvSpPr>
            <p:spPr>
              <a:xfrm>
                <a:off x="4587509" y="1700809"/>
                <a:ext cx="5609005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TOTAL aftermarket volume</a:t>
                </a:r>
                <a:r>
                  <a:rPr lang="en-US" sz="1200" b="1" baseline="30000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4 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in </a:t>
                </a:r>
                <a:r>
                  <a:rPr lang="en-US" sz="1200" b="1" dirty="0" err="1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bn</a:t>
                </a:r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 EUR in Africa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  <p:sp>
            <p:nvSpPr>
              <p:cNvPr id="108" name="Rechteck 107"/>
              <p:cNvSpPr/>
              <p:nvPr/>
            </p:nvSpPr>
            <p:spPr>
              <a:xfrm>
                <a:off x="4520605" y="1659684"/>
                <a:ext cx="5675908" cy="4613030"/>
              </a:xfrm>
              <a:prstGeom prst="rect">
                <a:avLst/>
              </a:prstGeom>
              <a:noFill/>
              <a:ln w="15875"/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  <p:sp>
            <p:nvSpPr>
              <p:cNvPr id="44" name="Textfeld 43"/>
              <p:cNvSpPr txBox="1"/>
              <p:nvPr/>
            </p:nvSpPr>
            <p:spPr>
              <a:xfrm>
                <a:off x="1919535" y="4622360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257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EUR </a:t>
                </a:r>
                <a:r>
                  <a:rPr lang="en-US" sz="1200" dirty="0">
                    <a:latin typeface="+mn-lt"/>
                  </a:rPr>
                  <a:t>per car per year </a:t>
                </a:r>
                <a:endParaRPr lang="de-DE" sz="1200" dirty="0">
                  <a:latin typeface="+mn-lt"/>
                </a:endParaRPr>
              </a:p>
            </p:txBody>
          </p:sp>
          <p:sp>
            <p:nvSpPr>
              <p:cNvPr id="46" name="Textfeld 45"/>
              <p:cNvSpPr txBox="1"/>
              <p:nvPr/>
            </p:nvSpPr>
            <p:spPr>
              <a:xfrm>
                <a:off x="1919535" y="5054408"/>
                <a:ext cx="2386800" cy="523220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4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de-DE" sz="1200" dirty="0">
                    <a:latin typeface="+mn-lt"/>
                  </a:rPr>
                  <a:t>IAM </a:t>
                </a:r>
                <a:r>
                  <a:rPr lang="en-US" sz="1200" dirty="0">
                    <a:latin typeface="+mn-lt"/>
                  </a:rPr>
                  <a:t>workshop outlets per wholesaler</a:t>
                </a:r>
              </a:p>
            </p:txBody>
          </p:sp>
          <p:sp>
            <p:nvSpPr>
              <p:cNvPr id="47" name="Textfeld 46"/>
              <p:cNvSpPr txBox="1"/>
              <p:nvPr/>
            </p:nvSpPr>
            <p:spPr>
              <a:xfrm>
                <a:off x="1919535" y="5682734"/>
                <a:ext cx="2386800" cy="338554"/>
              </a:xfrm>
              <a:prstGeom prst="rect">
                <a:avLst/>
              </a:prstGeom>
              <a:noFill/>
              <a:ln w="25400">
                <a:solidFill>
                  <a:schemeClr val="accent6"/>
                </a:solidFill>
              </a:ln>
            </p:spPr>
            <p:txBody>
              <a:bodyPr wrap="square" rtlCol="0">
                <a:spAutoFit/>
              </a:bodyPr>
              <a:lstStyle/>
              <a:p>
                <a:r>
                  <a:rPr lang="de-DE" sz="1600" b="1" dirty="0">
                    <a:solidFill>
                      <a:schemeClr val="accent3"/>
                    </a:solidFill>
                    <a:latin typeface="+mn-lt"/>
                  </a:rPr>
                  <a:t>2.134</a:t>
                </a:r>
                <a:r>
                  <a:rPr lang="de-DE" sz="1400" dirty="0">
                    <a:latin typeface="+mn-lt"/>
                  </a:rPr>
                  <a:t> </a:t>
                </a:r>
                <a:r>
                  <a:rPr lang="en-US" sz="1200" dirty="0">
                    <a:latin typeface="+mn-lt"/>
                  </a:rPr>
                  <a:t>cars per IAM workshop</a:t>
                </a:r>
              </a:p>
            </p:txBody>
          </p:sp>
          <p:sp>
            <p:nvSpPr>
              <p:cNvPr id="22" name="Textfeld 21"/>
              <p:cNvSpPr txBox="1"/>
              <p:nvPr/>
            </p:nvSpPr>
            <p:spPr>
              <a:xfrm>
                <a:off x="1847529" y="6272714"/>
                <a:ext cx="8348985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de-DE" sz="800" baseline="30000" dirty="0">
                    <a:latin typeface="+mn-lt"/>
                  </a:rPr>
                  <a:t>1</a:t>
                </a:r>
                <a:r>
                  <a:rPr lang="de-DE" sz="800" dirty="0">
                    <a:latin typeface="+mn-lt"/>
                  </a:rPr>
                  <a:t> </a:t>
                </a:r>
                <a:r>
                  <a:rPr lang="en-US" sz="800" dirty="0">
                    <a:latin typeface="+mn-lt"/>
                  </a:rPr>
                  <a:t>only passenger cars; ² number of companies; ³ IAM+OES workshops incl. specialists; number of outlets;</a:t>
                </a:r>
                <a:r>
                  <a:rPr lang="de-DE" sz="800" dirty="0">
                    <a:latin typeface="+mn-lt"/>
                  </a:rPr>
                  <a:t>  </a:t>
                </a:r>
                <a:r>
                  <a:rPr lang="de-DE" sz="800" baseline="30000" dirty="0">
                    <a:latin typeface="+mn-lt"/>
                  </a:rPr>
                  <a:t>4 </a:t>
                </a:r>
                <a:r>
                  <a:rPr lang="en-US" sz="800" dirty="0">
                    <a:latin typeface="+mn-lt"/>
                  </a:rPr>
                  <a:t>Only material for passenger cars at end consumer prices  excl. VAT. 2016 = estimated </a:t>
                </a:r>
                <a:endParaRPr lang="de-DE" sz="1400" dirty="0">
                  <a:latin typeface="+mn-lt"/>
                </a:endParaRPr>
              </a:p>
            </p:txBody>
          </p:sp>
          <p:sp>
            <p:nvSpPr>
              <p:cNvPr id="34" name="Textfeld 33"/>
              <p:cNvSpPr txBox="1"/>
              <p:nvPr/>
            </p:nvSpPr>
            <p:spPr>
              <a:xfrm>
                <a:off x="4587509" y="3095117"/>
                <a:ext cx="5036885" cy="2629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Aftermarket volume in Mio. EUR in selected markets in Africa</a:t>
                </a:r>
                <a:r>
                  <a:rPr lang="de-DE" sz="1200" b="1" dirty="0">
                    <a:solidFill>
                      <a:schemeClr val="accent6">
                        <a:lumMod val="75000"/>
                      </a:schemeClr>
                    </a:solidFill>
                    <a:latin typeface="+mn-lt"/>
                  </a:rPr>
                  <a:t>:</a:t>
                </a:r>
              </a:p>
            </p:txBody>
          </p:sp>
        </p:grpSp>
        <p:sp>
          <p:nvSpPr>
            <p:cNvPr id="8" name="Geschweifte Klammer links/rechts 7">
              <a:extLst>
                <a:ext uri="{FF2B5EF4-FFF2-40B4-BE49-F238E27FC236}">
                  <a16:creationId xmlns:a16="http://schemas.microsoft.com/office/drawing/2014/main" id="{0F41E9BD-60FD-4252-BD84-FD54BBE51329}"/>
                </a:ext>
              </a:extLst>
            </p:cNvPr>
            <p:cNvSpPr/>
            <p:nvPr/>
          </p:nvSpPr>
          <p:spPr>
            <a:xfrm>
              <a:off x="1055440" y="4060264"/>
              <a:ext cx="497218" cy="1530850"/>
            </a:xfrm>
            <a:prstGeom prst="bracePair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FAC09B50-3F55-4BD7-8741-8B926B0B50DC}"/>
                </a:ext>
              </a:extLst>
            </p:cNvPr>
            <p:cNvSpPr txBox="1"/>
            <p:nvPr/>
          </p:nvSpPr>
          <p:spPr>
            <a:xfrm>
              <a:off x="1127448" y="4425975"/>
              <a:ext cx="400110" cy="792846"/>
            </a:xfrm>
            <a:prstGeom prst="rect">
              <a:avLst/>
            </a:prstGeom>
            <a:noFill/>
          </p:spPr>
          <p:txBody>
            <a:bodyPr vert="vert270" wrap="none" rtlCol="0">
              <a:spAutoFit/>
            </a:bodyPr>
            <a:lstStyle/>
            <a:p>
              <a:r>
                <a:rPr lang="de-DE" sz="1400" dirty="0" err="1">
                  <a:latin typeface="+mn-lt"/>
                </a:rPr>
                <a:t>statistics</a:t>
              </a:r>
              <a:endParaRPr lang="de-DE" sz="1400" dirty="0">
                <a:latin typeface="+mn-lt"/>
              </a:endParaRPr>
            </a:p>
          </p:txBody>
        </p:sp>
      </p:grpSp>
      <p:pic>
        <p:nvPicPr>
          <p:cNvPr id="35" name="Picture 2" descr="Bildergebnis fÃ¼r african union flag image">
            <a:extLst>
              <a:ext uri="{FF2B5EF4-FFF2-40B4-BE49-F238E27FC236}">
                <a16:creationId xmlns:a16="http://schemas.microsoft.com/office/drawing/2014/main" id="{9FB1AEA4-C4B1-4832-B2B7-95DAF69426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071967"/>
            <a:ext cx="432632" cy="324000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cx4="http://schemas.microsoft.com/office/drawing/2016/5/10/chartex">
        <mc:Choice Requires="cx4">
          <p:graphicFrame>
            <p:nvGraphicFramePr>
              <p:cNvPr id="36" name="Diagramm 35">
                <a:extLst>
                  <a:ext uri="{FF2B5EF4-FFF2-40B4-BE49-F238E27FC236}">
                    <a16:creationId xmlns:a16="http://schemas.microsoft.com/office/drawing/2014/main" id="{D13EF774-5FFC-40DC-BCCF-27A3521BA6B2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718654083"/>
                  </p:ext>
                </p:extLst>
              </p:nvPr>
            </p:nvGraphicFramePr>
            <p:xfrm>
              <a:off x="4879485" y="2828849"/>
              <a:ext cx="2453375" cy="27432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36" name="Diagramm 35">
                <a:extLst>
                  <a:ext uri="{FF2B5EF4-FFF2-40B4-BE49-F238E27FC236}">
                    <a16:creationId xmlns:a16="http://schemas.microsoft.com/office/drawing/2014/main" id="{D13EF774-5FFC-40DC-BCCF-27A3521BA6B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879485" y="2828849"/>
                <a:ext cx="2453375" cy="2743200"/>
              </a:xfrm>
              <a:prstGeom prst="rect">
                <a:avLst/>
              </a:prstGeom>
            </p:spPr>
          </p:pic>
        </mc:Fallback>
      </mc:AlternateContent>
      <p:graphicFrame>
        <p:nvGraphicFramePr>
          <p:cNvPr id="38" name="Diagramm 37">
            <a:extLst>
              <a:ext uri="{FF2B5EF4-FFF2-40B4-BE49-F238E27FC236}">
                <a16:creationId xmlns:a16="http://schemas.microsoft.com/office/drawing/2014/main" id="{CF0B0421-8E7C-4BE4-8E25-2BB8068126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9818547"/>
              </p:ext>
            </p:extLst>
          </p:nvPr>
        </p:nvGraphicFramePr>
        <p:xfrm>
          <a:off x="6456040" y="2780928"/>
          <a:ext cx="4032448" cy="2649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0" name="Textfeld 39">
            <a:extLst>
              <a:ext uri="{FF2B5EF4-FFF2-40B4-BE49-F238E27FC236}">
                <a16:creationId xmlns:a16="http://schemas.microsoft.com/office/drawing/2014/main" id="{3C11E828-C679-472C-A479-F683866E55E7}"/>
              </a:ext>
            </a:extLst>
          </p:cNvPr>
          <p:cNvSpPr txBox="1"/>
          <p:nvPr/>
        </p:nvSpPr>
        <p:spPr>
          <a:xfrm>
            <a:off x="5233032" y="1637832"/>
            <a:ext cx="2629411" cy="671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600" dirty="0">
                <a:solidFill>
                  <a:schemeClr val="accent1"/>
                </a:solidFill>
                <a:latin typeface="+mn-lt"/>
              </a:rPr>
              <a:t>8,7 </a:t>
            </a:r>
            <a:r>
              <a:rPr lang="de-DE" sz="3600" dirty="0" err="1">
                <a:solidFill>
                  <a:schemeClr val="accent1"/>
                </a:solidFill>
                <a:latin typeface="+mn-lt"/>
              </a:rPr>
              <a:t>bn</a:t>
            </a:r>
            <a:r>
              <a:rPr lang="de-DE" sz="3600" dirty="0">
                <a:solidFill>
                  <a:schemeClr val="accent1"/>
                </a:solidFill>
                <a:latin typeface="+mn-lt"/>
              </a:rPr>
              <a:t>. €</a:t>
            </a:r>
          </a:p>
        </p:txBody>
      </p:sp>
    </p:spTree>
    <p:extLst>
      <p:ext uri="{BB962C8B-B14F-4D97-AF65-F5344CB8AC3E}">
        <p14:creationId xmlns:p14="http://schemas.microsoft.com/office/powerpoint/2010/main" val="11303026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ruppieren 99"/>
          <p:cNvGrpSpPr/>
          <p:nvPr/>
        </p:nvGrpSpPr>
        <p:grpSpPr>
          <a:xfrm>
            <a:off x="539634" y="1124744"/>
            <a:ext cx="11109384" cy="5040560"/>
            <a:chOff x="538840" y="1553335"/>
            <a:chExt cx="11109384" cy="4246216"/>
          </a:xfrm>
        </p:grpSpPr>
        <p:grpSp>
          <p:nvGrpSpPr>
            <p:cNvPr id="93" name="Gruppieren 92"/>
            <p:cNvGrpSpPr/>
            <p:nvPr/>
          </p:nvGrpSpPr>
          <p:grpSpPr>
            <a:xfrm>
              <a:off x="538840" y="1553335"/>
              <a:ext cx="11109384" cy="522762"/>
              <a:chOff x="538840" y="1553335"/>
              <a:chExt cx="11109384" cy="522762"/>
            </a:xfrm>
          </p:grpSpPr>
          <p:sp>
            <p:nvSpPr>
              <p:cNvPr id="59" name="Rechteck 58"/>
              <p:cNvSpPr/>
              <p:nvPr/>
            </p:nvSpPr>
            <p:spPr bwMode="auto">
              <a:xfrm>
                <a:off x="538840" y="1553335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1</a:t>
                </a: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1362173" y="1553335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What influences the Aftermarket today? </a:t>
                </a:r>
              </a:p>
            </p:txBody>
          </p:sp>
        </p:grpSp>
        <p:grpSp>
          <p:nvGrpSpPr>
            <p:cNvPr id="94" name="Gruppieren 93"/>
            <p:cNvGrpSpPr/>
            <p:nvPr/>
          </p:nvGrpSpPr>
          <p:grpSpPr>
            <a:xfrm>
              <a:off x="538840" y="2162734"/>
              <a:ext cx="11109384" cy="522762"/>
              <a:chOff x="538840" y="2162734"/>
              <a:chExt cx="11109384" cy="522762"/>
            </a:xfrm>
          </p:grpSpPr>
          <p:sp>
            <p:nvSpPr>
              <p:cNvPr id="61" name="Rechteck 60"/>
              <p:cNvSpPr/>
              <p:nvPr/>
            </p:nvSpPr>
            <p:spPr bwMode="auto">
              <a:xfrm>
                <a:off x="538840" y="2162734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2</a:t>
                </a: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1362173" y="2162734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Aftermarket Facts &amp; Figures</a:t>
                </a:r>
              </a:p>
            </p:txBody>
          </p:sp>
        </p:grpSp>
        <p:grpSp>
          <p:nvGrpSpPr>
            <p:cNvPr id="99" name="Gruppieren 98"/>
            <p:cNvGrpSpPr/>
            <p:nvPr/>
          </p:nvGrpSpPr>
          <p:grpSpPr>
            <a:xfrm>
              <a:off x="538840" y="5276789"/>
              <a:ext cx="11109384" cy="522762"/>
              <a:chOff x="538840" y="5276789"/>
              <a:chExt cx="11109384" cy="522762"/>
            </a:xfrm>
          </p:grpSpPr>
          <p:sp>
            <p:nvSpPr>
              <p:cNvPr id="76" name="Rechteck 75"/>
              <p:cNvSpPr/>
              <p:nvPr/>
            </p:nvSpPr>
            <p:spPr bwMode="auto">
              <a:xfrm>
                <a:off x="538840" y="5276789"/>
                <a:ext cx="735920" cy="52276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4</a:t>
                </a: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1362173" y="5276789"/>
                <a:ext cx="10286051" cy="52276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solidFill>
                      <a:schemeClr val="bg1"/>
                    </a:solidFill>
                    <a:latin typeface="+mn-lt"/>
                  </a:rPr>
                  <a:t>Conclusions &amp; Outlook</a:t>
                </a:r>
              </a:p>
            </p:txBody>
          </p:sp>
        </p:grp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A62815F-569C-4D95-82E9-3905457185E5}"/>
              </a:ext>
            </a:extLst>
          </p:cNvPr>
          <p:cNvSpPr/>
          <p:nvPr/>
        </p:nvSpPr>
        <p:spPr bwMode="auto">
          <a:xfrm>
            <a:off x="1362967" y="2690673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Europe G5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F9539D6-FE26-4953-9910-006D7403AB5C}"/>
              </a:ext>
            </a:extLst>
          </p:cNvPr>
          <p:cNvSpPr/>
          <p:nvPr/>
        </p:nvSpPr>
        <p:spPr bwMode="auto">
          <a:xfrm>
            <a:off x="1362967" y="3418014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Turkey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7B7D41B-D01A-4C85-8C4C-7AB9461DC458}"/>
              </a:ext>
            </a:extLst>
          </p:cNvPr>
          <p:cNvSpPr/>
          <p:nvPr/>
        </p:nvSpPr>
        <p:spPr bwMode="auto">
          <a:xfrm>
            <a:off x="1362967" y="4161314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Russia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9B30193-51E1-4AFA-8DF4-79B66EB84A97}"/>
              </a:ext>
            </a:extLst>
          </p:cNvPr>
          <p:cNvSpPr/>
          <p:nvPr/>
        </p:nvSpPr>
        <p:spPr bwMode="auto">
          <a:xfrm>
            <a:off x="1362967" y="4905208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Africa</a:t>
            </a:r>
          </a:p>
        </p:txBody>
      </p:sp>
    </p:spTree>
    <p:extLst>
      <p:ext uri="{BB962C8B-B14F-4D97-AF65-F5344CB8AC3E}">
        <p14:creationId xmlns:p14="http://schemas.microsoft.com/office/powerpoint/2010/main" val="1664306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7" name="Gerader Verbinder 66">
            <a:extLst>
              <a:ext uri="{FF2B5EF4-FFF2-40B4-BE49-F238E27FC236}">
                <a16:creationId xmlns:a16="http://schemas.microsoft.com/office/drawing/2014/main" id="{58A6A0BB-0660-4A17-9E2B-6839BCC4D202}"/>
              </a:ext>
            </a:extLst>
          </p:cNvPr>
          <p:cNvCxnSpPr>
            <a:cxnSpLocks/>
          </p:cNvCxnSpPr>
          <p:nvPr/>
        </p:nvCxnSpPr>
        <p:spPr>
          <a:xfrm>
            <a:off x="9120336" y="1052736"/>
            <a:ext cx="0" cy="476091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DA7DAF7B-6919-4DCD-BCBF-18847612F560}"/>
              </a:ext>
            </a:extLst>
          </p:cNvPr>
          <p:cNvCxnSpPr>
            <a:cxnSpLocks/>
          </p:cNvCxnSpPr>
          <p:nvPr/>
        </p:nvCxnSpPr>
        <p:spPr>
          <a:xfrm>
            <a:off x="2783632" y="1052736"/>
            <a:ext cx="0" cy="476091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F801C19A-0553-42C1-AAA4-C60F1340E2E6}"/>
              </a:ext>
            </a:extLst>
          </p:cNvPr>
          <p:cNvCxnSpPr>
            <a:cxnSpLocks/>
          </p:cNvCxnSpPr>
          <p:nvPr/>
        </p:nvCxnSpPr>
        <p:spPr>
          <a:xfrm>
            <a:off x="6240016" y="1052736"/>
            <a:ext cx="0" cy="4760912"/>
          </a:xfrm>
          <a:prstGeom prst="line">
            <a:avLst/>
          </a:prstGeom>
          <a:ln w="28575">
            <a:solidFill>
              <a:schemeClr val="bg2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6" name="Freeform 25" descr="© INSCALE GmbH, 05.05.2010&#10;http://www.presentationload.com/"/>
          <p:cNvSpPr>
            <a:spLocks noEditPoints="1"/>
          </p:cNvSpPr>
          <p:nvPr/>
        </p:nvSpPr>
        <p:spPr bwMode="gray">
          <a:xfrm>
            <a:off x="1271464" y="1552731"/>
            <a:ext cx="9498762" cy="4322469"/>
          </a:xfrm>
          <a:custGeom>
            <a:avLst/>
            <a:gdLst/>
            <a:ahLst/>
            <a:cxnLst>
              <a:cxn ang="0">
                <a:pos x="12567" y="4507"/>
              </a:cxn>
              <a:cxn ang="0">
                <a:pos x="12615" y="3599"/>
              </a:cxn>
              <a:cxn ang="0">
                <a:pos x="12955" y="4387"/>
              </a:cxn>
              <a:cxn ang="0">
                <a:pos x="14370" y="4743"/>
              </a:cxn>
              <a:cxn ang="0">
                <a:pos x="11595" y="4123"/>
              </a:cxn>
              <a:cxn ang="0">
                <a:pos x="13115" y="4845"/>
              </a:cxn>
              <a:cxn ang="0">
                <a:pos x="12813" y="5921"/>
              </a:cxn>
              <a:cxn ang="0">
                <a:pos x="13808" y="4702"/>
              </a:cxn>
              <a:cxn ang="0">
                <a:pos x="14204" y="6531"/>
              </a:cxn>
              <a:cxn ang="0">
                <a:pos x="6579" y="1308"/>
              </a:cxn>
              <a:cxn ang="0">
                <a:pos x="7277" y="156"/>
              </a:cxn>
              <a:cxn ang="0">
                <a:pos x="6766" y="1129"/>
              </a:cxn>
              <a:cxn ang="0">
                <a:pos x="8669" y="354"/>
              </a:cxn>
              <a:cxn ang="0">
                <a:pos x="6919" y="2081"/>
              </a:cxn>
              <a:cxn ang="0">
                <a:pos x="3201" y="260"/>
              </a:cxn>
              <a:cxn ang="0">
                <a:pos x="3918" y="266"/>
              </a:cxn>
              <a:cxn ang="0">
                <a:pos x="3704" y="3212"/>
              </a:cxn>
              <a:cxn ang="0">
                <a:pos x="4506" y="577"/>
              </a:cxn>
              <a:cxn ang="0">
                <a:pos x="4479" y="849"/>
              </a:cxn>
              <a:cxn ang="0">
                <a:pos x="4935" y="28"/>
              </a:cxn>
              <a:cxn ang="0">
                <a:pos x="6231" y="323"/>
              </a:cxn>
              <a:cxn ang="0">
                <a:pos x="4952" y="273"/>
              </a:cxn>
              <a:cxn ang="0">
                <a:pos x="5238" y="964"/>
              </a:cxn>
              <a:cxn ang="0">
                <a:pos x="1633" y="1135"/>
              </a:cxn>
              <a:cxn ang="0">
                <a:pos x="3763" y="6942"/>
              </a:cxn>
              <a:cxn ang="0">
                <a:pos x="4601" y="4273"/>
              </a:cxn>
              <a:cxn ang="0">
                <a:pos x="2802" y="3614"/>
              </a:cxn>
              <a:cxn ang="0">
                <a:pos x="2976" y="2751"/>
              </a:cxn>
              <a:cxn ang="0">
                <a:pos x="4101" y="1735"/>
              </a:cxn>
              <a:cxn ang="0">
                <a:pos x="3952" y="934"/>
              </a:cxn>
              <a:cxn ang="0">
                <a:pos x="3542" y="625"/>
              </a:cxn>
              <a:cxn ang="0">
                <a:pos x="920" y="841"/>
              </a:cxn>
              <a:cxn ang="0">
                <a:pos x="1594" y="1085"/>
              </a:cxn>
              <a:cxn ang="0">
                <a:pos x="1517" y="2702"/>
              </a:cxn>
              <a:cxn ang="0">
                <a:pos x="3084" y="3997"/>
              </a:cxn>
              <a:cxn ang="0">
                <a:pos x="3629" y="6707"/>
              </a:cxn>
              <a:cxn ang="0">
                <a:pos x="4235" y="6222"/>
              </a:cxn>
              <a:cxn ang="0">
                <a:pos x="3029" y="1846"/>
              </a:cxn>
              <a:cxn ang="0">
                <a:pos x="2864" y="1316"/>
              </a:cxn>
              <a:cxn ang="0">
                <a:pos x="3603" y="6577"/>
              </a:cxn>
              <a:cxn ang="0">
                <a:pos x="9474" y="423"/>
              </a:cxn>
              <a:cxn ang="0">
                <a:pos x="7946" y="2117"/>
              </a:cxn>
              <a:cxn ang="0">
                <a:pos x="12856" y="1722"/>
              </a:cxn>
              <a:cxn ang="0">
                <a:pos x="11889" y="3476"/>
              </a:cxn>
              <a:cxn ang="0">
                <a:pos x="12287" y="2121"/>
              </a:cxn>
              <a:cxn ang="0">
                <a:pos x="12718" y="949"/>
              </a:cxn>
              <a:cxn ang="0">
                <a:pos x="13020" y="569"/>
              </a:cxn>
              <a:cxn ang="0">
                <a:pos x="10366" y="417"/>
              </a:cxn>
              <a:cxn ang="0">
                <a:pos x="9233" y="610"/>
              </a:cxn>
              <a:cxn ang="0">
                <a:pos x="7484" y="592"/>
              </a:cxn>
              <a:cxn ang="0">
                <a:pos x="7477" y="1130"/>
              </a:cxn>
              <a:cxn ang="0">
                <a:pos x="7148" y="1232"/>
              </a:cxn>
              <a:cxn ang="0">
                <a:pos x="7072" y="1879"/>
              </a:cxn>
              <a:cxn ang="0">
                <a:pos x="8129" y="2238"/>
              </a:cxn>
              <a:cxn ang="0">
                <a:pos x="6068" y="2828"/>
              </a:cxn>
              <a:cxn ang="0">
                <a:pos x="7212" y="4048"/>
              </a:cxn>
              <a:cxn ang="0">
                <a:pos x="8660" y="5019"/>
              </a:cxn>
              <a:cxn ang="0">
                <a:pos x="8760" y="3314"/>
              </a:cxn>
              <a:cxn ang="0">
                <a:pos x="10182" y="3284"/>
              </a:cxn>
              <a:cxn ang="0">
                <a:pos x="8386" y="4771"/>
              </a:cxn>
              <a:cxn ang="0">
                <a:pos x="8380" y="1764"/>
              </a:cxn>
              <a:cxn ang="0">
                <a:pos x="9070" y="1793"/>
              </a:cxn>
              <a:cxn ang="0">
                <a:pos x="11176" y="1331"/>
              </a:cxn>
            </a:cxnLst>
            <a:rect l="0" t="0" r="r" b="b"/>
            <a:pathLst>
              <a:path w="14677" h="7159">
                <a:moveTo>
                  <a:pt x="12864" y="4079"/>
                </a:moveTo>
                <a:cubicBezTo>
                  <a:pt x="12879" y="4067"/>
                  <a:pt x="12873" y="4060"/>
                  <a:pt x="12860" y="4056"/>
                </a:cubicBezTo>
                <a:cubicBezTo>
                  <a:pt x="12847" y="4052"/>
                  <a:pt x="12841" y="4057"/>
                  <a:pt x="12841" y="4057"/>
                </a:cubicBezTo>
                <a:cubicBezTo>
                  <a:pt x="12841" y="4057"/>
                  <a:pt x="12856" y="4087"/>
                  <a:pt x="12864" y="4079"/>
                </a:cubicBezTo>
                <a:close/>
                <a:moveTo>
                  <a:pt x="12798" y="4178"/>
                </a:moveTo>
                <a:cubicBezTo>
                  <a:pt x="12801" y="4187"/>
                  <a:pt x="12790" y="4195"/>
                  <a:pt x="12798" y="4203"/>
                </a:cubicBezTo>
                <a:cubicBezTo>
                  <a:pt x="12807" y="4210"/>
                  <a:pt x="12845" y="4244"/>
                  <a:pt x="12854" y="4241"/>
                </a:cubicBezTo>
                <a:cubicBezTo>
                  <a:pt x="12863" y="4238"/>
                  <a:pt x="12853" y="4225"/>
                  <a:pt x="12842" y="4219"/>
                </a:cubicBezTo>
                <a:cubicBezTo>
                  <a:pt x="12832" y="4213"/>
                  <a:pt x="12826" y="4201"/>
                  <a:pt x="12836" y="4191"/>
                </a:cubicBezTo>
                <a:cubicBezTo>
                  <a:pt x="12847" y="4181"/>
                  <a:pt x="12866" y="4191"/>
                  <a:pt x="12866" y="4191"/>
                </a:cubicBezTo>
                <a:cubicBezTo>
                  <a:pt x="12875" y="4184"/>
                  <a:pt x="12875" y="4184"/>
                  <a:pt x="12875" y="4184"/>
                </a:cubicBezTo>
                <a:cubicBezTo>
                  <a:pt x="12858" y="4173"/>
                  <a:pt x="12858" y="4173"/>
                  <a:pt x="12858" y="4173"/>
                </a:cubicBezTo>
                <a:cubicBezTo>
                  <a:pt x="12858" y="4173"/>
                  <a:pt x="12872" y="4166"/>
                  <a:pt x="12875" y="4154"/>
                </a:cubicBezTo>
                <a:cubicBezTo>
                  <a:pt x="12878" y="4143"/>
                  <a:pt x="12863" y="4135"/>
                  <a:pt x="12853" y="4134"/>
                </a:cubicBezTo>
                <a:cubicBezTo>
                  <a:pt x="12842" y="4132"/>
                  <a:pt x="12832" y="4159"/>
                  <a:pt x="12820" y="4160"/>
                </a:cubicBezTo>
                <a:cubicBezTo>
                  <a:pt x="12809" y="4162"/>
                  <a:pt x="12812" y="4135"/>
                  <a:pt x="12812" y="4135"/>
                </a:cubicBezTo>
                <a:cubicBezTo>
                  <a:pt x="12812" y="4135"/>
                  <a:pt x="12822" y="4122"/>
                  <a:pt x="12825" y="4112"/>
                </a:cubicBezTo>
                <a:cubicBezTo>
                  <a:pt x="12828" y="4101"/>
                  <a:pt x="12822" y="4096"/>
                  <a:pt x="12822" y="4096"/>
                </a:cubicBezTo>
                <a:cubicBezTo>
                  <a:pt x="12831" y="4069"/>
                  <a:pt x="12831" y="4069"/>
                  <a:pt x="12831" y="4069"/>
                </a:cubicBezTo>
                <a:cubicBezTo>
                  <a:pt x="12803" y="4096"/>
                  <a:pt x="12803" y="4096"/>
                  <a:pt x="12803" y="4096"/>
                </a:cubicBezTo>
                <a:cubicBezTo>
                  <a:pt x="12803" y="4115"/>
                  <a:pt x="12803" y="4115"/>
                  <a:pt x="12803" y="4115"/>
                </a:cubicBezTo>
                <a:cubicBezTo>
                  <a:pt x="12803" y="4115"/>
                  <a:pt x="12780" y="4125"/>
                  <a:pt x="12782" y="4150"/>
                </a:cubicBezTo>
                <a:cubicBezTo>
                  <a:pt x="12784" y="4166"/>
                  <a:pt x="12795" y="4169"/>
                  <a:pt x="12798" y="4178"/>
                </a:cubicBezTo>
                <a:close/>
                <a:moveTo>
                  <a:pt x="12824" y="4278"/>
                </a:moveTo>
                <a:cubicBezTo>
                  <a:pt x="12816" y="4268"/>
                  <a:pt x="12797" y="4255"/>
                  <a:pt x="12797" y="4255"/>
                </a:cubicBezTo>
                <a:cubicBezTo>
                  <a:pt x="12795" y="4285"/>
                  <a:pt x="12795" y="4285"/>
                  <a:pt x="12795" y="4285"/>
                </a:cubicBezTo>
                <a:cubicBezTo>
                  <a:pt x="12807" y="4293"/>
                  <a:pt x="12833" y="4289"/>
                  <a:pt x="12824" y="4278"/>
                </a:cubicBezTo>
                <a:close/>
                <a:moveTo>
                  <a:pt x="12907" y="4323"/>
                </a:moveTo>
                <a:cubicBezTo>
                  <a:pt x="12929" y="4314"/>
                  <a:pt x="12927" y="4298"/>
                  <a:pt x="12927" y="4298"/>
                </a:cubicBezTo>
                <a:cubicBezTo>
                  <a:pt x="12882" y="4297"/>
                  <a:pt x="12882" y="4297"/>
                  <a:pt x="12882" y="4297"/>
                </a:cubicBezTo>
                <a:cubicBezTo>
                  <a:pt x="12882" y="4297"/>
                  <a:pt x="12885" y="4332"/>
                  <a:pt x="12907" y="4323"/>
                </a:cubicBezTo>
                <a:close/>
                <a:moveTo>
                  <a:pt x="12597" y="4755"/>
                </a:moveTo>
                <a:cubicBezTo>
                  <a:pt x="12608" y="4764"/>
                  <a:pt x="12648" y="4727"/>
                  <a:pt x="12663" y="4713"/>
                </a:cubicBezTo>
                <a:cubicBezTo>
                  <a:pt x="12666" y="4710"/>
                  <a:pt x="12668" y="4708"/>
                  <a:pt x="12668" y="4708"/>
                </a:cubicBezTo>
                <a:cubicBezTo>
                  <a:pt x="12678" y="4705"/>
                  <a:pt x="12678" y="4705"/>
                  <a:pt x="12678" y="4705"/>
                </a:cubicBezTo>
                <a:cubicBezTo>
                  <a:pt x="12700" y="4689"/>
                  <a:pt x="12700" y="4689"/>
                  <a:pt x="12700" y="4689"/>
                </a:cubicBezTo>
                <a:cubicBezTo>
                  <a:pt x="12700" y="4689"/>
                  <a:pt x="12709" y="4698"/>
                  <a:pt x="12722" y="4695"/>
                </a:cubicBezTo>
                <a:cubicBezTo>
                  <a:pt x="12735" y="4692"/>
                  <a:pt x="12779" y="4645"/>
                  <a:pt x="12779" y="4645"/>
                </a:cubicBezTo>
                <a:cubicBezTo>
                  <a:pt x="12763" y="4636"/>
                  <a:pt x="12763" y="4636"/>
                  <a:pt x="12763" y="4636"/>
                </a:cubicBezTo>
                <a:cubicBezTo>
                  <a:pt x="12750" y="4650"/>
                  <a:pt x="12750" y="4650"/>
                  <a:pt x="12750" y="4650"/>
                </a:cubicBezTo>
                <a:cubicBezTo>
                  <a:pt x="12750" y="4650"/>
                  <a:pt x="12707" y="4651"/>
                  <a:pt x="12695" y="4651"/>
                </a:cubicBezTo>
                <a:cubicBezTo>
                  <a:pt x="12684" y="4651"/>
                  <a:pt x="12678" y="4669"/>
                  <a:pt x="12678" y="4669"/>
                </a:cubicBezTo>
                <a:cubicBezTo>
                  <a:pt x="12678" y="4669"/>
                  <a:pt x="12672" y="4668"/>
                  <a:pt x="12664" y="4669"/>
                </a:cubicBezTo>
                <a:cubicBezTo>
                  <a:pt x="12664" y="4669"/>
                  <a:pt x="12664" y="4669"/>
                  <a:pt x="12664" y="4669"/>
                </a:cubicBezTo>
                <a:cubicBezTo>
                  <a:pt x="12659" y="4670"/>
                  <a:pt x="12652" y="4671"/>
                  <a:pt x="12647" y="4675"/>
                </a:cubicBezTo>
                <a:cubicBezTo>
                  <a:pt x="12643" y="4677"/>
                  <a:pt x="12640" y="4681"/>
                  <a:pt x="12639" y="4684"/>
                </a:cubicBezTo>
                <a:cubicBezTo>
                  <a:pt x="12639" y="4684"/>
                  <a:pt x="12639" y="4684"/>
                  <a:pt x="12639" y="4684"/>
                </a:cubicBezTo>
                <a:cubicBezTo>
                  <a:pt x="12622" y="4683"/>
                  <a:pt x="12622" y="4683"/>
                  <a:pt x="12622" y="4683"/>
                </a:cubicBezTo>
                <a:cubicBezTo>
                  <a:pt x="12611" y="4694"/>
                  <a:pt x="12611" y="4694"/>
                  <a:pt x="12611" y="4694"/>
                </a:cubicBezTo>
                <a:cubicBezTo>
                  <a:pt x="12615" y="4703"/>
                  <a:pt x="12615" y="4703"/>
                  <a:pt x="12615" y="4703"/>
                </a:cubicBezTo>
                <a:cubicBezTo>
                  <a:pt x="12614" y="4703"/>
                  <a:pt x="12613" y="4704"/>
                  <a:pt x="12612" y="4705"/>
                </a:cubicBezTo>
                <a:cubicBezTo>
                  <a:pt x="12600" y="4717"/>
                  <a:pt x="12577" y="4740"/>
                  <a:pt x="12597" y="4755"/>
                </a:cubicBezTo>
                <a:close/>
                <a:moveTo>
                  <a:pt x="12470" y="4507"/>
                </a:moveTo>
                <a:cubicBezTo>
                  <a:pt x="12451" y="4541"/>
                  <a:pt x="12451" y="4541"/>
                  <a:pt x="12451" y="4541"/>
                </a:cubicBezTo>
                <a:cubicBezTo>
                  <a:pt x="12465" y="4540"/>
                  <a:pt x="12465" y="4540"/>
                  <a:pt x="12465" y="4540"/>
                </a:cubicBezTo>
                <a:cubicBezTo>
                  <a:pt x="12473" y="4522"/>
                  <a:pt x="12473" y="4522"/>
                  <a:pt x="12473" y="4522"/>
                </a:cubicBezTo>
                <a:lnTo>
                  <a:pt x="12470" y="4507"/>
                </a:lnTo>
                <a:close/>
                <a:moveTo>
                  <a:pt x="12469" y="4666"/>
                </a:moveTo>
                <a:cubicBezTo>
                  <a:pt x="12531" y="4665"/>
                  <a:pt x="12531" y="4665"/>
                  <a:pt x="12531" y="4665"/>
                </a:cubicBezTo>
                <a:cubicBezTo>
                  <a:pt x="12563" y="4660"/>
                  <a:pt x="12563" y="4660"/>
                  <a:pt x="12563" y="4660"/>
                </a:cubicBezTo>
                <a:cubicBezTo>
                  <a:pt x="12589" y="4637"/>
                  <a:pt x="12589" y="4637"/>
                  <a:pt x="12589" y="4637"/>
                </a:cubicBezTo>
                <a:cubicBezTo>
                  <a:pt x="12588" y="4627"/>
                  <a:pt x="12588" y="4627"/>
                  <a:pt x="12588" y="4627"/>
                </a:cubicBezTo>
                <a:cubicBezTo>
                  <a:pt x="12567" y="4636"/>
                  <a:pt x="12567" y="4636"/>
                  <a:pt x="12567" y="4636"/>
                </a:cubicBezTo>
                <a:cubicBezTo>
                  <a:pt x="12548" y="4652"/>
                  <a:pt x="12548" y="4652"/>
                  <a:pt x="12548" y="4652"/>
                </a:cubicBezTo>
                <a:cubicBezTo>
                  <a:pt x="12548" y="4652"/>
                  <a:pt x="12537" y="4640"/>
                  <a:pt x="12526" y="4641"/>
                </a:cubicBezTo>
                <a:cubicBezTo>
                  <a:pt x="12516" y="4643"/>
                  <a:pt x="12504" y="4656"/>
                  <a:pt x="12504" y="4656"/>
                </a:cubicBezTo>
                <a:cubicBezTo>
                  <a:pt x="12504" y="4656"/>
                  <a:pt x="12494" y="4630"/>
                  <a:pt x="12476" y="4633"/>
                </a:cubicBezTo>
                <a:cubicBezTo>
                  <a:pt x="12459" y="4636"/>
                  <a:pt x="12437" y="4662"/>
                  <a:pt x="12437" y="4662"/>
                </a:cubicBezTo>
                <a:cubicBezTo>
                  <a:pt x="12413" y="4660"/>
                  <a:pt x="12413" y="4660"/>
                  <a:pt x="12413" y="4660"/>
                </a:cubicBezTo>
                <a:cubicBezTo>
                  <a:pt x="12406" y="4672"/>
                  <a:pt x="12406" y="4672"/>
                  <a:pt x="12406" y="4672"/>
                </a:cubicBezTo>
                <a:cubicBezTo>
                  <a:pt x="12422" y="4669"/>
                  <a:pt x="12422" y="4669"/>
                  <a:pt x="12422" y="4669"/>
                </a:cubicBezTo>
                <a:cubicBezTo>
                  <a:pt x="12422" y="4669"/>
                  <a:pt x="12434" y="4675"/>
                  <a:pt x="12446" y="4680"/>
                </a:cubicBezTo>
                <a:cubicBezTo>
                  <a:pt x="12457" y="4684"/>
                  <a:pt x="12469" y="4666"/>
                  <a:pt x="12469" y="4666"/>
                </a:cubicBezTo>
                <a:close/>
                <a:moveTo>
                  <a:pt x="12599" y="4459"/>
                </a:moveTo>
                <a:cubicBezTo>
                  <a:pt x="12600" y="4443"/>
                  <a:pt x="12596" y="4431"/>
                  <a:pt x="12596" y="4431"/>
                </a:cubicBezTo>
                <a:cubicBezTo>
                  <a:pt x="12596" y="4431"/>
                  <a:pt x="12556" y="4399"/>
                  <a:pt x="12558" y="4387"/>
                </a:cubicBezTo>
                <a:cubicBezTo>
                  <a:pt x="12560" y="4375"/>
                  <a:pt x="12579" y="4362"/>
                  <a:pt x="12568" y="4352"/>
                </a:cubicBezTo>
                <a:cubicBezTo>
                  <a:pt x="12556" y="4342"/>
                  <a:pt x="12547" y="4339"/>
                  <a:pt x="12546" y="4331"/>
                </a:cubicBezTo>
                <a:cubicBezTo>
                  <a:pt x="12546" y="4322"/>
                  <a:pt x="12559" y="4303"/>
                  <a:pt x="12545" y="4297"/>
                </a:cubicBezTo>
                <a:cubicBezTo>
                  <a:pt x="12532" y="4292"/>
                  <a:pt x="12512" y="4275"/>
                  <a:pt x="12512" y="4275"/>
                </a:cubicBezTo>
                <a:cubicBezTo>
                  <a:pt x="12512" y="4275"/>
                  <a:pt x="12534" y="4280"/>
                  <a:pt x="12544" y="4270"/>
                </a:cubicBezTo>
                <a:cubicBezTo>
                  <a:pt x="12553" y="4261"/>
                  <a:pt x="12563" y="4239"/>
                  <a:pt x="12563" y="4239"/>
                </a:cubicBezTo>
                <a:cubicBezTo>
                  <a:pt x="12563" y="4239"/>
                  <a:pt x="12602" y="4241"/>
                  <a:pt x="12603" y="4233"/>
                </a:cubicBezTo>
                <a:cubicBezTo>
                  <a:pt x="12604" y="4224"/>
                  <a:pt x="12593" y="4209"/>
                  <a:pt x="12583" y="4208"/>
                </a:cubicBezTo>
                <a:cubicBezTo>
                  <a:pt x="12572" y="4208"/>
                  <a:pt x="12565" y="4226"/>
                  <a:pt x="12565" y="4226"/>
                </a:cubicBezTo>
                <a:cubicBezTo>
                  <a:pt x="12565" y="4226"/>
                  <a:pt x="12536" y="4218"/>
                  <a:pt x="12524" y="4222"/>
                </a:cubicBezTo>
                <a:cubicBezTo>
                  <a:pt x="12513" y="4225"/>
                  <a:pt x="12507" y="4254"/>
                  <a:pt x="12495" y="4255"/>
                </a:cubicBezTo>
                <a:cubicBezTo>
                  <a:pt x="12484" y="4255"/>
                  <a:pt x="12485" y="4235"/>
                  <a:pt x="12468" y="4225"/>
                </a:cubicBezTo>
                <a:cubicBezTo>
                  <a:pt x="12451" y="4215"/>
                  <a:pt x="12443" y="4218"/>
                  <a:pt x="12443" y="4218"/>
                </a:cubicBezTo>
                <a:cubicBezTo>
                  <a:pt x="12443" y="4218"/>
                  <a:pt x="12448" y="4159"/>
                  <a:pt x="12464" y="4158"/>
                </a:cubicBezTo>
                <a:cubicBezTo>
                  <a:pt x="12480" y="4157"/>
                  <a:pt x="12510" y="4168"/>
                  <a:pt x="12524" y="4164"/>
                </a:cubicBezTo>
                <a:cubicBezTo>
                  <a:pt x="12537" y="4161"/>
                  <a:pt x="12528" y="4149"/>
                  <a:pt x="12539" y="4151"/>
                </a:cubicBezTo>
                <a:cubicBezTo>
                  <a:pt x="12551" y="4152"/>
                  <a:pt x="12604" y="4178"/>
                  <a:pt x="12614" y="4179"/>
                </a:cubicBezTo>
                <a:cubicBezTo>
                  <a:pt x="12625" y="4179"/>
                  <a:pt x="12627" y="4170"/>
                  <a:pt x="12634" y="4166"/>
                </a:cubicBezTo>
                <a:cubicBezTo>
                  <a:pt x="12641" y="4162"/>
                  <a:pt x="12654" y="4168"/>
                  <a:pt x="12663" y="4163"/>
                </a:cubicBezTo>
                <a:cubicBezTo>
                  <a:pt x="12672" y="4157"/>
                  <a:pt x="12661" y="4152"/>
                  <a:pt x="12670" y="4143"/>
                </a:cubicBezTo>
                <a:cubicBezTo>
                  <a:pt x="12678" y="4134"/>
                  <a:pt x="12698" y="4125"/>
                  <a:pt x="12698" y="4125"/>
                </a:cubicBezTo>
                <a:cubicBezTo>
                  <a:pt x="12691" y="4105"/>
                  <a:pt x="12691" y="4105"/>
                  <a:pt x="12691" y="4105"/>
                </a:cubicBezTo>
                <a:cubicBezTo>
                  <a:pt x="12639" y="4127"/>
                  <a:pt x="12639" y="4127"/>
                  <a:pt x="12639" y="4127"/>
                </a:cubicBezTo>
                <a:cubicBezTo>
                  <a:pt x="12639" y="4127"/>
                  <a:pt x="12651" y="4140"/>
                  <a:pt x="12636" y="4141"/>
                </a:cubicBezTo>
                <a:cubicBezTo>
                  <a:pt x="12621" y="4142"/>
                  <a:pt x="12608" y="4133"/>
                  <a:pt x="12599" y="4133"/>
                </a:cubicBezTo>
                <a:cubicBezTo>
                  <a:pt x="12591" y="4133"/>
                  <a:pt x="12576" y="4146"/>
                  <a:pt x="12566" y="4144"/>
                </a:cubicBezTo>
                <a:cubicBezTo>
                  <a:pt x="12555" y="4141"/>
                  <a:pt x="12530" y="4129"/>
                  <a:pt x="12523" y="4129"/>
                </a:cubicBezTo>
                <a:cubicBezTo>
                  <a:pt x="12516" y="4129"/>
                  <a:pt x="12500" y="4129"/>
                  <a:pt x="12500" y="4129"/>
                </a:cubicBezTo>
                <a:cubicBezTo>
                  <a:pt x="12508" y="4117"/>
                  <a:pt x="12508" y="4117"/>
                  <a:pt x="12508" y="4117"/>
                </a:cubicBezTo>
                <a:cubicBezTo>
                  <a:pt x="12508" y="4117"/>
                  <a:pt x="12481" y="4110"/>
                  <a:pt x="12478" y="4113"/>
                </a:cubicBezTo>
                <a:cubicBezTo>
                  <a:pt x="12474" y="4117"/>
                  <a:pt x="12479" y="4134"/>
                  <a:pt x="12467" y="4141"/>
                </a:cubicBezTo>
                <a:cubicBezTo>
                  <a:pt x="12456" y="4148"/>
                  <a:pt x="12434" y="4146"/>
                  <a:pt x="12434" y="4152"/>
                </a:cubicBezTo>
                <a:cubicBezTo>
                  <a:pt x="12434" y="4158"/>
                  <a:pt x="12433" y="4172"/>
                  <a:pt x="12433" y="4172"/>
                </a:cubicBezTo>
                <a:cubicBezTo>
                  <a:pt x="12419" y="4174"/>
                  <a:pt x="12419" y="4174"/>
                  <a:pt x="12419" y="4174"/>
                </a:cubicBezTo>
                <a:cubicBezTo>
                  <a:pt x="12429" y="4221"/>
                  <a:pt x="12429" y="4221"/>
                  <a:pt x="12429" y="4221"/>
                </a:cubicBezTo>
                <a:cubicBezTo>
                  <a:pt x="12419" y="4220"/>
                  <a:pt x="12419" y="4220"/>
                  <a:pt x="12419" y="4220"/>
                </a:cubicBezTo>
                <a:cubicBezTo>
                  <a:pt x="12419" y="4220"/>
                  <a:pt x="12402" y="4245"/>
                  <a:pt x="12400" y="4255"/>
                </a:cubicBezTo>
                <a:cubicBezTo>
                  <a:pt x="12397" y="4265"/>
                  <a:pt x="12416" y="4285"/>
                  <a:pt x="12408" y="4294"/>
                </a:cubicBezTo>
                <a:cubicBezTo>
                  <a:pt x="12400" y="4303"/>
                  <a:pt x="12377" y="4309"/>
                  <a:pt x="12375" y="4322"/>
                </a:cubicBezTo>
                <a:cubicBezTo>
                  <a:pt x="12374" y="4336"/>
                  <a:pt x="12385" y="4349"/>
                  <a:pt x="12385" y="4349"/>
                </a:cubicBezTo>
                <a:cubicBezTo>
                  <a:pt x="12385" y="4349"/>
                  <a:pt x="12369" y="4363"/>
                  <a:pt x="12379" y="4370"/>
                </a:cubicBezTo>
                <a:cubicBezTo>
                  <a:pt x="12390" y="4377"/>
                  <a:pt x="12408" y="4362"/>
                  <a:pt x="12412" y="4374"/>
                </a:cubicBezTo>
                <a:cubicBezTo>
                  <a:pt x="12416" y="4386"/>
                  <a:pt x="12408" y="4395"/>
                  <a:pt x="12408" y="4395"/>
                </a:cubicBezTo>
                <a:cubicBezTo>
                  <a:pt x="12419" y="4409"/>
                  <a:pt x="12419" y="4409"/>
                  <a:pt x="12419" y="4409"/>
                </a:cubicBezTo>
                <a:cubicBezTo>
                  <a:pt x="12413" y="4453"/>
                  <a:pt x="12413" y="4453"/>
                  <a:pt x="12413" y="4453"/>
                </a:cubicBezTo>
                <a:cubicBezTo>
                  <a:pt x="12413" y="4453"/>
                  <a:pt x="12389" y="4467"/>
                  <a:pt x="12401" y="4491"/>
                </a:cubicBezTo>
                <a:cubicBezTo>
                  <a:pt x="12412" y="4515"/>
                  <a:pt x="12428" y="4515"/>
                  <a:pt x="12446" y="4497"/>
                </a:cubicBezTo>
                <a:cubicBezTo>
                  <a:pt x="12463" y="4480"/>
                  <a:pt x="12443" y="4451"/>
                  <a:pt x="12443" y="4451"/>
                </a:cubicBezTo>
                <a:cubicBezTo>
                  <a:pt x="12443" y="4451"/>
                  <a:pt x="12464" y="4436"/>
                  <a:pt x="12464" y="4415"/>
                </a:cubicBezTo>
                <a:cubicBezTo>
                  <a:pt x="12463" y="4393"/>
                  <a:pt x="12472" y="4374"/>
                  <a:pt x="12465" y="4361"/>
                </a:cubicBezTo>
                <a:cubicBezTo>
                  <a:pt x="12457" y="4349"/>
                  <a:pt x="12453" y="4324"/>
                  <a:pt x="12455" y="4319"/>
                </a:cubicBezTo>
                <a:cubicBezTo>
                  <a:pt x="12456" y="4314"/>
                  <a:pt x="12462" y="4286"/>
                  <a:pt x="12472" y="4304"/>
                </a:cubicBezTo>
                <a:cubicBezTo>
                  <a:pt x="12483" y="4322"/>
                  <a:pt x="12483" y="4353"/>
                  <a:pt x="12483" y="4353"/>
                </a:cubicBezTo>
                <a:cubicBezTo>
                  <a:pt x="12506" y="4379"/>
                  <a:pt x="12506" y="4379"/>
                  <a:pt x="12506" y="4379"/>
                </a:cubicBezTo>
                <a:cubicBezTo>
                  <a:pt x="12503" y="4414"/>
                  <a:pt x="12503" y="4414"/>
                  <a:pt x="12503" y="4414"/>
                </a:cubicBezTo>
                <a:cubicBezTo>
                  <a:pt x="12520" y="4436"/>
                  <a:pt x="12520" y="4436"/>
                  <a:pt x="12520" y="4436"/>
                </a:cubicBezTo>
                <a:cubicBezTo>
                  <a:pt x="12521" y="4460"/>
                  <a:pt x="12521" y="4460"/>
                  <a:pt x="12521" y="4460"/>
                </a:cubicBezTo>
                <a:cubicBezTo>
                  <a:pt x="12530" y="4509"/>
                  <a:pt x="12530" y="4509"/>
                  <a:pt x="12530" y="4509"/>
                </a:cubicBezTo>
                <a:cubicBezTo>
                  <a:pt x="12540" y="4499"/>
                  <a:pt x="12540" y="4499"/>
                  <a:pt x="12540" y="4499"/>
                </a:cubicBezTo>
                <a:cubicBezTo>
                  <a:pt x="12567" y="4507"/>
                  <a:pt x="12567" y="4507"/>
                  <a:pt x="12567" y="4507"/>
                </a:cubicBezTo>
                <a:cubicBezTo>
                  <a:pt x="12567" y="4507"/>
                  <a:pt x="12569" y="4490"/>
                  <a:pt x="12568" y="4477"/>
                </a:cubicBezTo>
                <a:cubicBezTo>
                  <a:pt x="12567" y="4464"/>
                  <a:pt x="12574" y="4457"/>
                  <a:pt x="12574" y="4457"/>
                </a:cubicBezTo>
                <a:cubicBezTo>
                  <a:pt x="12580" y="4473"/>
                  <a:pt x="12580" y="4473"/>
                  <a:pt x="12580" y="4473"/>
                </a:cubicBezTo>
                <a:cubicBezTo>
                  <a:pt x="12580" y="4473"/>
                  <a:pt x="12597" y="4475"/>
                  <a:pt x="12599" y="4459"/>
                </a:cubicBezTo>
                <a:close/>
                <a:moveTo>
                  <a:pt x="12583" y="4272"/>
                </a:moveTo>
                <a:cubicBezTo>
                  <a:pt x="12583" y="4285"/>
                  <a:pt x="12583" y="4285"/>
                  <a:pt x="12583" y="4285"/>
                </a:cubicBezTo>
                <a:cubicBezTo>
                  <a:pt x="12583" y="4285"/>
                  <a:pt x="12598" y="4297"/>
                  <a:pt x="12605" y="4280"/>
                </a:cubicBezTo>
                <a:cubicBezTo>
                  <a:pt x="12613" y="4264"/>
                  <a:pt x="12583" y="4272"/>
                  <a:pt x="12583" y="4272"/>
                </a:cubicBezTo>
                <a:close/>
                <a:moveTo>
                  <a:pt x="13088" y="6319"/>
                </a:moveTo>
                <a:cubicBezTo>
                  <a:pt x="13081" y="6346"/>
                  <a:pt x="13081" y="6346"/>
                  <a:pt x="13081" y="6346"/>
                </a:cubicBezTo>
                <a:cubicBezTo>
                  <a:pt x="13115" y="6314"/>
                  <a:pt x="13115" y="6314"/>
                  <a:pt x="13115" y="6314"/>
                </a:cubicBezTo>
                <a:lnTo>
                  <a:pt x="13088" y="6319"/>
                </a:lnTo>
                <a:close/>
                <a:moveTo>
                  <a:pt x="11727" y="4185"/>
                </a:moveTo>
                <a:cubicBezTo>
                  <a:pt x="11710" y="4172"/>
                  <a:pt x="11710" y="4172"/>
                  <a:pt x="11710" y="4172"/>
                </a:cubicBezTo>
                <a:cubicBezTo>
                  <a:pt x="11708" y="4195"/>
                  <a:pt x="11708" y="4195"/>
                  <a:pt x="11708" y="4195"/>
                </a:cubicBezTo>
                <a:cubicBezTo>
                  <a:pt x="11727" y="4206"/>
                  <a:pt x="11727" y="4206"/>
                  <a:pt x="11727" y="4206"/>
                </a:cubicBezTo>
                <a:lnTo>
                  <a:pt x="11727" y="4185"/>
                </a:lnTo>
                <a:close/>
                <a:moveTo>
                  <a:pt x="11714" y="4134"/>
                </a:moveTo>
                <a:cubicBezTo>
                  <a:pt x="11709" y="4122"/>
                  <a:pt x="11695" y="4129"/>
                  <a:pt x="11705" y="4145"/>
                </a:cubicBezTo>
                <a:cubicBezTo>
                  <a:pt x="11716" y="4164"/>
                  <a:pt x="11719" y="4146"/>
                  <a:pt x="11714" y="4134"/>
                </a:cubicBezTo>
                <a:close/>
                <a:moveTo>
                  <a:pt x="11565" y="4097"/>
                </a:moveTo>
                <a:cubicBezTo>
                  <a:pt x="11569" y="4111"/>
                  <a:pt x="11594" y="4094"/>
                  <a:pt x="11582" y="4085"/>
                </a:cubicBezTo>
                <a:cubicBezTo>
                  <a:pt x="11570" y="4075"/>
                  <a:pt x="11559" y="4081"/>
                  <a:pt x="11565" y="4097"/>
                </a:cubicBezTo>
                <a:close/>
                <a:moveTo>
                  <a:pt x="11290" y="4037"/>
                </a:moveTo>
                <a:cubicBezTo>
                  <a:pt x="11285" y="4042"/>
                  <a:pt x="11283" y="4058"/>
                  <a:pt x="11295" y="4059"/>
                </a:cubicBezTo>
                <a:cubicBezTo>
                  <a:pt x="11307" y="4061"/>
                  <a:pt x="11310" y="4074"/>
                  <a:pt x="11321" y="4066"/>
                </a:cubicBezTo>
                <a:cubicBezTo>
                  <a:pt x="11328" y="4060"/>
                  <a:pt x="11295" y="4031"/>
                  <a:pt x="11290" y="4037"/>
                </a:cubicBezTo>
                <a:close/>
                <a:moveTo>
                  <a:pt x="12963" y="4199"/>
                </a:moveTo>
                <a:cubicBezTo>
                  <a:pt x="12946" y="4196"/>
                  <a:pt x="12935" y="4201"/>
                  <a:pt x="12935" y="4201"/>
                </a:cubicBezTo>
                <a:cubicBezTo>
                  <a:pt x="12939" y="4219"/>
                  <a:pt x="12939" y="4219"/>
                  <a:pt x="12939" y="4219"/>
                </a:cubicBezTo>
                <a:cubicBezTo>
                  <a:pt x="12948" y="4218"/>
                  <a:pt x="12976" y="4213"/>
                  <a:pt x="12976" y="4213"/>
                </a:cubicBezTo>
                <a:cubicBezTo>
                  <a:pt x="12976" y="4213"/>
                  <a:pt x="12980" y="4201"/>
                  <a:pt x="12963" y="4199"/>
                </a:cubicBezTo>
                <a:close/>
                <a:moveTo>
                  <a:pt x="11713" y="4250"/>
                </a:moveTo>
                <a:cubicBezTo>
                  <a:pt x="11710" y="4216"/>
                  <a:pt x="11710" y="4216"/>
                  <a:pt x="11710" y="4216"/>
                </a:cubicBezTo>
                <a:cubicBezTo>
                  <a:pt x="11696" y="4229"/>
                  <a:pt x="11696" y="4229"/>
                  <a:pt x="11696" y="4229"/>
                </a:cubicBezTo>
                <a:lnTo>
                  <a:pt x="11713" y="4250"/>
                </a:lnTo>
                <a:close/>
                <a:moveTo>
                  <a:pt x="12415" y="4728"/>
                </a:moveTo>
                <a:cubicBezTo>
                  <a:pt x="12428" y="4728"/>
                  <a:pt x="12418" y="4737"/>
                  <a:pt x="12428" y="4747"/>
                </a:cubicBezTo>
                <a:cubicBezTo>
                  <a:pt x="12439" y="4757"/>
                  <a:pt x="12459" y="4748"/>
                  <a:pt x="12459" y="4748"/>
                </a:cubicBezTo>
                <a:cubicBezTo>
                  <a:pt x="12459" y="4748"/>
                  <a:pt x="12455" y="4729"/>
                  <a:pt x="12442" y="4712"/>
                </a:cubicBezTo>
                <a:cubicBezTo>
                  <a:pt x="12428" y="4694"/>
                  <a:pt x="12403" y="4707"/>
                  <a:pt x="12403" y="4707"/>
                </a:cubicBezTo>
                <a:cubicBezTo>
                  <a:pt x="12380" y="4700"/>
                  <a:pt x="12380" y="4700"/>
                  <a:pt x="12380" y="4700"/>
                </a:cubicBezTo>
                <a:cubicBezTo>
                  <a:pt x="12373" y="4706"/>
                  <a:pt x="12374" y="4707"/>
                  <a:pt x="12384" y="4723"/>
                </a:cubicBezTo>
                <a:cubicBezTo>
                  <a:pt x="12395" y="4739"/>
                  <a:pt x="12402" y="4728"/>
                  <a:pt x="12415" y="4728"/>
                </a:cubicBezTo>
                <a:close/>
                <a:moveTo>
                  <a:pt x="11858" y="4331"/>
                </a:moveTo>
                <a:cubicBezTo>
                  <a:pt x="11839" y="4332"/>
                  <a:pt x="11845" y="4351"/>
                  <a:pt x="11851" y="4369"/>
                </a:cubicBezTo>
                <a:cubicBezTo>
                  <a:pt x="11866" y="4363"/>
                  <a:pt x="11866" y="4363"/>
                  <a:pt x="11866" y="4363"/>
                </a:cubicBezTo>
                <a:cubicBezTo>
                  <a:pt x="11879" y="4376"/>
                  <a:pt x="11879" y="4376"/>
                  <a:pt x="11879" y="4376"/>
                </a:cubicBezTo>
                <a:cubicBezTo>
                  <a:pt x="11885" y="4359"/>
                  <a:pt x="11885" y="4359"/>
                  <a:pt x="11885" y="4359"/>
                </a:cubicBezTo>
                <a:cubicBezTo>
                  <a:pt x="11885" y="4359"/>
                  <a:pt x="11877" y="4329"/>
                  <a:pt x="11858" y="4331"/>
                </a:cubicBezTo>
                <a:close/>
                <a:moveTo>
                  <a:pt x="11735" y="4304"/>
                </a:moveTo>
                <a:cubicBezTo>
                  <a:pt x="11762" y="4303"/>
                  <a:pt x="11762" y="4303"/>
                  <a:pt x="11762" y="4303"/>
                </a:cubicBezTo>
                <a:cubicBezTo>
                  <a:pt x="11762" y="4303"/>
                  <a:pt x="11767" y="4332"/>
                  <a:pt x="11778" y="4344"/>
                </a:cubicBezTo>
                <a:cubicBezTo>
                  <a:pt x="11788" y="4356"/>
                  <a:pt x="11814" y="4356"/>
                  <a:pt x="11814" y="4356"/>
                </a:cubicBezTo>
                <a:cubicBezTo>
                  <a:pt x="11813" y="4328"/>
                  <a:pt x="11813" y="4328"/>
                  <a:pt x="11813" y="4328"/>
                </a:cubicBezTo>
                <a:cubicBezTo>
                  <a:pt x="11801" y="4320"/>
                  <a:pt x="11801" y="4320"/>
                  <a:pt x="11801" y="4320"/>
                </a:cubicBezTo>
                <a:cubicBezTo>
                  <a:pt x="11800" y="4300"/>
                  <a:pt x="11800" y="4300"/>
                  <a:pt x="11800" y="4300"/>
                </a:cubicBezTo>
                <a:cubicBezTo>
                  <a:pt x="11800" y="4300"/>
                  <a:pt x="11785" y="4275"/>
                  <a:pt x="11763" y="4269"/>
                </a:cubicBezTo>
                <a:cubicBezTo>
                  <a:pt x="11741" y="4263"/>
                  <a:pt x="11742" y="4288"/>
                  <a:pt x="11742" y="4288"/>
                </a:cubicBezTo>
                <a:cubicBezTo>
                  <a:pt x="11742" y="4288"/>
                  <a:pt x="11728" y="4284"/>
                  <a:pt x="11735" y="4304"/>
                </a:cubicBezTo>
                <a:close/>
                <a:moveTo>
                  <a:pt x="12723" y="3710"/>
                </a:moveTo>
                <a:cubicBezTo>
                  <a:pt x="12712" y="3705"/>
                  <a:pt x="12687" y="3669"/>
                  <a:pt x="12678" y="3677"/>
                </a:cubicBezTo>
                <a:cubicBezTo>
                  <a:pt x="12670" y="3685"/>
                  <a:pt x="12702" y="3708"/>
                  <a:pt x="12695" y="3712"/>
                </a:cubicBezTo>
                <a:cubicBezTo>
                  <a:pt x="12688" y="3715"/>
                  <a:pt x="12658" y="3718"/>
                  <a:pt x="12658" y="3718"/>
                </a:cubicBezTo>
                <a:cubicBezTo>
                  <a:pt x="12658" y="3739"/>
                  <a:pt x="12658" y="3739"/>
                  <a:pt x="12658" y="3739"/>
                </a:cubicBezTo>
                <a:cubicBezTo>
                  <a:pt x="12644" y="3738"/>
                  <a:pt x="12644" y="3738"/>
                  <a:pt x="12644" y="3738"/>
                </a:cubicBezTo>
                <a:cubicBezTo>
                  <a:pt x="12640" y="3753"/>
                  <a:pt x="12640" y="3753"/>
                  <a:pt x="12640" y="3753"/>
                </a:cubicBezTo>
                <a:cubicBezTo>
                  <a:pt x="12623" y="3762"/>
                  <a:pt x="12623" y="3762"/>
                  <a:pt x="12623" y="3762"/>
                </a:cubicBezTo>
                <a:cubicBezTo>
                  <a:pt x="12623" y="3762"/>
                  <a:pt x="12598" y="3746"/>
                  <a:pt x="12589" y="3754"/>
                </a:cubicBezTo>
                <a:cubicBezTo>
                  <a:pt x="12581" y="3762"/>
                  <a:pt x="12565" y="3790"/>
                  <a:pt x="12565" y="3790"/>
                </a:cubicBezTo>
                <a:cubicBezTo>
                  <a:pt x="12565" y="3790"/>
                  <a:pt x="12555" y="3771"/>
                  <a:pt x="12550" y="3780"/>
                </a:cubicBezTo>
                <a:cubicBezTo>
                  <a:pt x="12545" y="3790"/>
                  <a:pt x="12533" y="3813"/>
                  <a:pt x="12533" y="3813"/>
                </a:cubicBezTo>
                <a:cubicBezTo>
                  <a:pt x="12546" y="3826"/>
                  <a:pt x="12546" y="3826"/>
                  <a:pt x="12546" y="3826"/>
                </a:cubicBezTo>
                <a:cubicBezTo>
                  <a:pt x="12560" y="3813"/>
                  <a:pt x="12560" y="3813"/>
                  <a:pt x="12560" y="3813"/>
                </a:cubicBezTo>
                <a:cubicBezTo>
                  <a:pt x="12569" y="3829"/>
                  <a:pt x="12569" y="3829"/>
                  <a:pt x="12569" y="3829"/>
                </a:cubicBezTo>
                <a:cubicBezTo>
                  <a:pt x="12569" y="3829"/>
                  <a:pt x="12596" y="3807"/>
                  <a:pt x="12603" y="3807"/>
                </a:cubicBezTo>
                <a:cubicBezTo>
                  <a:pt x="12610" y="3807"/>
                  <a:pt x="12632" y="3828"/>
                  <a:pt x="12632" y="3828"/>
                </a:cubicBezTo>
                <a:cubicBezTo>
                  <a:pt x="12632" y="3828"/>
                  <a:pt x="12622" y="3834"/>
                  <a:pt x="12622" y="3843"/>
                </a:cubicBezTo>
                <a:cubicBezTo>
                  <a:pt x="12622" y="3851"/>
                  <a:pt x="12640" y="3887"/>
                  <a:pt x="12649" y="3890"/>
                </a:cubicBezTo>
                <a:cubicBezTo>
                  <a:pt x="12658" y="3893"/>
                  <a:pt x="12682" y="3900"/>
                  <a:pt x="12682" y="3900"/>
                </a:cubicBezTo>
                <a:cubicBezTo>
                  <a:pt x="12695" y="3887"/>
                  <a:pt x="12695" y="3887"/>
                  <a:pt x="12695" y="3887"/>
                </a:cubicBezTo>
                <a:cubicBezTo>
                  <a:pt x="12697" y="3903"/>
                  <a:pt x="12697" y="3903"/>
                  <a:pt x="12697" y="3903"/>
                </a:cubicBezTo>
                <a:cubicBezTo>
                  <a:pt x="12711" y="3905"/>
                  <a:pt x="12711" y="3905"/>
                  <a:pt x="12711" y="3905"/>
                </a:cubicBezTo>
                <a:cubicBezTo>
                  <a:pt x="12712" y="3879"/>
                  <a:pt x="12712" y="3879"/>
                  <a:pt x="12712" y="3879"/>
                </a:cubicBezTo>
                <a:cubicBezTo>
                  <a:pt x="12712" y="3879"/>
                  <a:pt x="12692" y="3857"/>
                  <a:pt x="12697" y="3844"/>
                </a:cubicBezTo>
                <a:cubicBezTo>
                  <a:pt x="12702" y="3831"/>
                  <a:pt x="12709" y="3828"/>
                  <a:pt x="12709" y="3828"/>
                </a:cubicBezTo>
                <a:cubicBezTo>
                  <a:pt x="12726" y="3862"/>
                  <a:pt x="12726" y="3862"/>
                  <a:pt x="12726" y="3862"/>
                </a:cubicBezTo>
                <a:cubicBezTo>
                  <a:pt x="12726" y="3862"/>
                  <a:pt x="12745" y="3836"/>
                  <a:pt x="12745" y="3820"/>
                </a:cubicBezTo>
                <a:cubicBezTo>
                  <a:pt x="12745" y="3803"/>
                  <a:pt x="12733" y="3785"/>
                  <a:pt x="12733" y="3785"/>
                </a:cubicBezTo>
                <a:cubicBezTo>
                  <a:pt x="12733" y="3746"/>
                  <a:pt x="12733" y="3746"/>
                  <a:pt x="12733" y="3746"/>
                </a:cubicBezTo>
                <a:cubicBezTo>
                  <a:pt x="12733" y="3746"/>
                  <a:pt x="12733" y="3715"/>
                  <a:pt x="12723" y="3710"/>
                </a:cubicBezTo>
                <a:close/>
                <a:moveTo>
                  <a:pt x="12682" y="4300"/>
                </a:moveTo>
                <a:cubicBezTo>
                  <a:pt x="12735" y="4290"/>
                  <a:pt x="12735" y="4290"/>
                  <a:pt x="12735" y="4290"/>
                </a:cubicBezTo>
                <a:cubicBezTo>
                  <a:pt x="12682" y="4288"/>
                  <a:pt x="12682" y="4288"/>
                  <a:pt x="12682" y="4288"/>
                </a:cubicBezTo>
                <a:cubicBezTo>
                  <a:pt x="12682" y="4288"/>
                  <a:pt x="12660" y="4276"/>
                  <a:pt x="12653" y="4279"/>
                </a:cubicBezTo>
                <a:cubicBezTo>
                  <a:pt x="12647" y="4282"/>
                  <a:pt x="12644" y="4291"/>
                  <a:pt x="12644" y="4291"/>
                </a:cubicBezTo>
                <a:cubicBezTo>
                  <a:pt x="12651" y="4305"/>
                  <a:pt x="12682" y="4300"/>
                  <a:pt x="12682" y="4300"/>
                </a:cubicBezTo>
                <a:close/>
                <a:moveTo>
                  <a:pt x="12655" y="4644"/>
                </a:moveTo>
                <a:cubicBezTo>
                  <a:pt x="12655" y="4625"/>
                  <a:pt x="12655" y="4625"/>
                  <a:pt x="12655" y="4625"/>
                </a:cubicBezTo>
                <a:cubicBezTo>
                  <a:pt x="12634" y="4639"/>
                  <a:pt x="12634" y="4639"/>
                  <a:pt x="12634" y="4639"/>
                </a:cubicBezTo>
                <a:lnTo>
                  <a:pt x="12655" y="4644"/>
                </a:lnTo>
                <a:close/>
                <a:moveTo>
                  <a:pt x="12704" y="4603"/>
                </a:moveTo>
                <a:cubicBezTo>
                  <a:pt x="12692" y="4625"/>
                  <a:pt x="12692" y="4625"/>
                  <a:pt x="12692" y="4625"/>
                </a:cubicBezTo>
                <a:cubicBezTo>
                  <a:pt x="12742" y="4613"/>
                  <a:pt x="12742" y="4613"/>
                  <a:pt x="12742" y="4613"/>
                </a:cubicBezTo>
                <a:lnTo>
                  <a:pt x="12704" y="4603"/>
                </a:lnTo>
                <a:close/>
                <a:moveTo>
                  <a:pt x="12769" y="3949"/>
                </a:moveTo>
                <a:cubicBezTo>
                  <a:pt x="12758" y="3949"/>
                  <a:pt x="12758" y="3949"/>
                  <a:pt x="12758" y="3949"/>
                </a:cubicBezTo>
                <a:cubicBezTo>
                  <a:pt x="12754" y="3968"/>
                  <a:pt x="12754" y="3968"/>
                  <a:pt x="12754" y="3968"/>
                </a:cubicBezTo>
                <a:cubicBezTo>
                  <a:pt x="12757" y="3987"/>
                  <a:pt x="12757" y="3987"/>
                  <a:pt x="12757" y="3987"/>
                </a:cubicBezTo>
                <a:cubicBezTo>
                  <a:pt x="12769" y="3977"/>
                  <a:pt x="12769" y="3977"/>
                  <a:pt x="12769" y="3977"/>
                </a:cubicBezTo>
                <a:lnTo>
                  <a:pt x="12769" y="3949"/>
                </a:lnTo>
                <a:close/>
                <a:moveTo>
                  <a:pt x="12514" y="3620"/>
                </a:moveTo>
                <a:cubicBezTo>
                  <a:pt x="12519" y="3630"/>
                  <a:pt x="12527" y="3640"/>
                  <a:pt x="12527" y="3640"/>
                </a:cubicBezTo>
                <a:cubicBezTo>
                  <a:pt x="12527" y="3640"/>
                  <a:pt x="12543" y="3623"/>
                  <a:pt x="12548" y="3627"/>
                </a:cubicBezTo>
                <a:cubicBezTo>
                  <a:pt x="12553" y="3630"/>
                  <a:pt x="12553" y="3649"/>
                  <a:pt x="12553" y="3649"/>
                </a:cubicBezTo>
                <a:cubicBezTo>
                  <a:pt x="12562" y="3658"/>
                  <a:pt x="12562" y="3658"/>
                  <a:pt x="12562" y="3658"/>
                </a:cubicBezTo>
                <a:cubicBezTo>
                  <a:pt x="12562" y="3658"/>
                  <a:pt x="12539" y="3692"/>
                  <a:pt x="12539" y="3699"/>
                </a:cubicBezTo>
                <a:cubicBezTo>
                  <a:pt x="12539" y="3705"/>
                  <a:pt x="12539" y="3725"/>
                  <a:pt x="12555" y="3721"/>
                </a:cubicBezTo>
                <a:cubicBezTo>
                  <a:pt x="12570" y="3718"/>
                  <a:pt x="12593" y="3713"/>
                  <a:pt x="12584" y="3699"/>
                </a:cubicBezTo>
                <a:cubicBezTo>
                  <a:pt x="12575" y="3684"/>
                  <a:pt x="12574" y="3672"/>
                  <a:pt x="12582" y="3649"/>
                </a:cubicBezTo>
                <a:cubicBezTo>
                  <a:pt x="12591" y="3627"/>
                  <a:pt x="12584" y="3610"/>
                  <a:pt x="12577" y="3617"/>
                </a:cubicBezTo>
                <a:cubicBezTo>
                  <a:pt x="12570" y="3623"/>
                  <a:pt x="12557" y="3631"/>
                  <a:pt x="12557" y="3623"/>
                </a:cubicBezTo>
                <a:cubicBezTo>
                  <a:pt x="12557" y="3615"/>
                  <a:pt x="12577" y="3584"/>
                  <a:pt x="12565" y="3581"/>
                </a:cubicBezTo>
                <a:cubicBezTo>
                  <a:pt x="12553" y="3577"/>
                  <a:pt x="12531" y="3564"/>
                  <a:pt x="12531" y="3564"/>
                </a:cubicBezTo>
                <a:cubicBezTo>
                  <a:pt x="12531" y="3564"/>
                  <a:pt x="12510" y="3559"/>
                  <a:pt x="12509" y="3566"/>
                </a:cubicBezTo>
                <a:cubicBezTo>
                  <a:pt x="12507" y="3573"/>
                  <a:pt x="12521" y="3584"/>
                  <a:pt x="12521" y="3584"/>
                </a:cubicBezTo>
                <a:cubicBezTo>
                  <a:pt x="12521" y="3584"/>
                  <a:pt x="12509" y="3610"/>
                  <a:pt x="12514" y="3620"/>
                </a:cubicBezTo>
                <a:close/>
                <a:moveTo>
                  <a:pt x="12541" y="3865"/>
                </a:moveTo>
                <a:cubicBezTo>
                  <a:pt x="12526" y="3854"/>
                  <a:pt x="12526" y="3854"/>
                  <a:pt x="12526" y="3854"/>
                </a:cubicBezTo>
                <a:cubicBezTo>
                  <a:pt x="12514" y="3870"/>
                  <a:pt x="12514" y="3870"/>
                  <a:pt x="12514" y="3870"/>
                </a:cubicBezTo>
                <a:cubicBezTo>
                  <a:pt x="12539" y="3892"/>
                  <a:pt x="12539" y="3892"/>
                  <a:pt x="12539" y="3892"/>
                </a:cubicBezTo>
                <a:lnTo>
                  <a:pt x="12541" y="3865"/>
                </a:lnTo>
                <a:close/>
                <a:moveTo>
                  <a:pt x="12673" y="3627"/>
                </a:moveTo>
                <a:cubicBezTo>
                  <a:pt x="12654" y="3620"/>
                  <a:pt x="12654" y="3620"/>
                  <a:pt x="12654" y="3620"/>
                </a:cubicBezTo>
                <a:cubicBezTo>
                  <a:pt x="12654" y="3620"/>
                  <a:pt x="12646" y="3610"/>
                  <a:pt x="12642" y="3602"/>
                </a:cubicBezTo>
                <a:cubicBezTo>
                  <a:pt x="12639" y="3594"/>
                  <a:pt x="12615" y="3599"/>
                  <a:pt x="12615" y="3599"/>
                </a:cubicBezTo>
                <a:cubicBezTo>
                  <a:pt x="12618" y="3628"/>
                  <a:pt x="12618" y="3628"/>
                  <a:pt x="12618" y="3628"/>
                </a:cubicBezTo>
                <a:cubicBezTo>
                  <a:pt x="12634" y="3622"/>
                  <a:pt x="12634" y="3622"/>
                  <a:pt x="12634" y="3622"/>
                </a:cubicBezTo>
                <a:cubicBezTo>
                  <a:pt x="12640" y="3638"/>
                  <a:pt x="12640" y="3638"/>
                  <a:pt x="12640" y="3638"/>
                </a:cubicBezTo>
                <a:cubicBezTo>
                  <a:pt x="12673" y="3663"/>
                  <a:pt x="12673" y="3663"/>
                  <a:pt x="12673" y="3663"/>
                </a:cubicBezTo>
                <a:lnTo>
                  <a:pt x="12673" y="3627"/>
                </a:lnTo>
                <a:close/>
                <a:moveTo>
                  <a:pt x="12737" y="4360"/>
                </a:moveTo>
                <a:cubicBezTo>
                  <a:pt x="12737" y="4360"/>
                  <a:pt x="12730" y="4379"/>
                  <a:pt x="12744" y="4388"/>
                </a:cubicBezTo>
                <a:cubicBezTo>
                  <a:pt x="12757" y="4398"/>
                  <a:pt x="12776" y="4394"/>
                  <a:pt x="12776" y="4394"/>
                </a:cubicBezTo>
                <a:cubicBezTo>
                  <a:pt x="12784" y="4383"/>
                  <a:pt x="12772" y="4356"/>
                  <a:pt x="12772" y="4356"/>
                </a:cubicBezTo>
                <a:cubicBezTo>
                  <a:pt x="12760" y="4359"/>
                  <a:pt x="12760" y="4359"/>
                  <a:pt x="12760" y="4359"/>
                </a:cubicBezTo>
                <a:cubicBezTo>
                  <a:pt x="12751" y="4349"/>
                  <a:pt x="12751" y="4349"/>
                  <a:pt x="12751" y="4349"/>
                </a:cubicBezTo>
                <a:lnTo>
                  <a:pt x="12737" y="4360"/>
                </a:lnTo>
                <a:close/>
                <a:moveTo>
                  <a:pt x="12681" y="3971"/>
                </a:moveTo>
                <a:cubicBezTo>
                  <a:pt x="12692" y="3949"/>
                  <a:pt x="12692" y="3949"/>
                  <a:pt x="12692" y="3949"/>
                </a:cubicBezTo>
                <a:cubicBezTo>
                  <a:pt x="12677" y="3944"/>
                  <a:pt x="12677" y="3944"/>
                  <a:pt x="12677" y="3944"/>
                </a:cubicBezTo>
                <a:lnTo>
                  <a:pt x="12681" y="3971"/>
                </a:lnTo>
                <a:close/>
                <a:moveTo>
                  <a:pt x="12619" y="3680"/>
                </a:moveTo>
                <a:cubicBezTo>
                  <a:pt x="12640" y="3678"/>
                  <a:pt x="12640" y="3678"/>
                  <a:pt x="12640" y="3678"/>
                </a:cubicBezTo>
                <a:cubicBezTo>
                  <a:pt x="12643" y="3661"/>
                  <a:pt x="12643" y="3661"/>
                  <a:pt x="12643" y="3661"/>
                </a:cubicBezTo>
                <a:cubicBezTo>
                  <a:pt x="12625" y="3655"/>
                  <a:pt x="12625" y="3655"/>
                  <a:pt x="12625" y="3655"/>
                </a:cubicBezTo>
                <a:lnTo>
                  <a:pt x="12619" y="3680"/>
                </a:lnTo>
                <a:close/>
                <a:moveTo>
                  <a:pt x="12387" y="4660"/>
                </a:moveTo>
                <a:cubicBezTo>
                  <a:pt x="12392" y="4643"/>
                  <a:pt x="12391" y="4631"/>
                  <a:pt x="12382" y="4628"/>
                </a:cubicBezTo>
                <a:cubicBezTo>
                  <a:pt x="12373" y="4625"/>
                  <a:pt x="12366" y="4631"/>
                  <a:pt x="12366" y="4631"/>
                </a:cubicBezTo>
                <a:cubicBezTo>
                  <a:pt x="12335" y="4624"/>
                  <a:pt x="12335" y="4624"/>
                  <a:pt x="12335" y="4624"/>
                </a:cubicBezTo>
                <a:cubicBezTo>
                  <a:pt x="12354" y="4651"/>
                  <a:pt x="12354" y="4651"/>
                  <a:pt x="12354" y="4651"/>
                </a:cubicBezTo>
                <a:cubicBezTo>
                  <a:pt x="12354" y="4651"/>
                  <a:pt x="12381" y="4678"/>
                  <a:pt x="12387" y="4660"/>
                </a:cubicBezTo>
                <a:close/>
                <a:moveTo>
                  <a:pt x="12297" y="4695"/>
                </a:moveTo>
                <a:cubicBezTo>
                  <a:pt x="12312" y="4693"/>
                  <a:pt x="12312" y="4693"/>
                  <a:pt x="12312" y="4693"/>
                </a:cubicBezTo>
                <a:cubicBezTo>
                  <a:pt x="12318" y="4679"/>
                  <a:pt x="12318" y="4679"/>
                  <a:pt x="12318" y="4679"/>
                </a:cubicBezTo>
                <a:cubicBezTo>
                  <a:pt x="12337" y="4690"/>
                  <a:pt x="12337" y="4690"/>
                  <a:pt x="12337" y="4690"/>
                </a:cubicBezTo>
                <a:cubicBezTo>
                  <a:pt x="12356" y="4668"/>
                  <a:pt x="12356" y="4668"/>
                  <a:pt x="12356" y="4668"/>
                </a:cubicBezTo>
                <a:cubicBezTo>
                  <a:pt x="12322" y="4656"/>
                  <a:pt x="12322" y="4656"/>
                  <a:pt x="12322" y="4656"/>
                </a:cubicBezTo>
                <a:cubicBezTo>
                  <a:pt x="12311" y="4659"/>
                  <a:pt x="12311" y="4659"/>
                  <a:pt x="12311" y="4659"/>
                </a:cubicBezTo>
                <a:cubicBezTo>
                  <a:pt x="12311" y="4659"/>
                  <a:pt x="12297" y="4644"/>
                  <a:pt x="12289" y="4646"/>
                </a:cubicBezTo>
                <a:cubicBezTo>
                  <a:pt x="12280" y="4647"/>
                  <a:pt x="12261" y="4676"/>
                  <a:pt x="12261" y="4676"/>
                </a:cubicBezTo>
                <a:cubicBezTo>
                  <a:pt x="12296" y="4681"/>
                  <a:pt x="12296" y="4681"/>
                  <a:pt x="12296" y="4681"/>
                </a:cubicBezTo>
                <a:lnTo>
                  <a:pt x="12297" y="4695"/>
                </a:lnTo>
                <a:close/>
                <a:moveTo>
                  <a:pt x="12293" y="3762"/>
                </a:moveTo>
                <a:cubicBezTo>
                  <a:pt x="12313" y="3743"/>
                  <a:pt x="12313" y="3743"/>
                  <a:pt x="12313" y="3743"/>
                </a:cubicBezTo>
                <a:cubicBezTo>
                  <a:pt x="12313" y="3743"/>
                  <a:pt x="12310" y="3728"/>
                  <a:pt x="12318" y="3728"/>
                </a:cubicBezTo>
                <a:cubicBezTo>
                  <a:pt x="12327" y="3728"/>
                  <a:pt x="12337" y="3725"/>
                  <a:pt x="12344" y="3720"/>
                </a:cubicBezTo>
                <a:cubicBezTo>
                  <a:pt x="12351" y="3715"/>
                  <a:pt x="12344" y="3699"/>
                  <a:pt x="12353" y="3689"/>
                </a:cubicBezTo>
                <a:cubicBezTo>
                  <a:pt x="12361" y="3679"/>
                  <a:pt x="12409" y="3664"/>
                  <a:pt x="12409" y="3653"/>
                </a:cubicBezTo>
                <a:cubicBezTo>
                  <a:pt x="12409" y="3641"/>
                  <a:pt x="12399" y="3630"/>
                  <a:pt x="12397" y="3620"/>
                </a:cubicBezTo>
                <a:cubicBezTo>
                  <a:pt x="12396" y="3610"/>
                  <a:pt x="12399" y="3589"/>
                  <a:pt x="12399" y="3589"/>
                </a:cubicBezTo>
                <a:cubicBezTo>
                  <a:pt x="12389" y="3574"/>
                  <a:pt x="12389" y="3574"/>
                  <a:pt x="12389" y="3574"/>
                </a:cubicBezTo>
                <a:cubicBezTo>
                  <a:pt x="12385" y="3591"/>
                  <a:pt x="12385" y="3591"/>
                  <a:pt x="12385" y="3591"/>
                </a:cubicBezTo>
                <a:cubicBezTo>
                  <a:pt x="12385" y="3591"/>
                  <a:pt x="12366" y="3607"/>
                  <a:pt x="12373" y="3622"/>
                </a:cubicBezTo>
                <a:cubicBezTo>
                  <a:pt x="12380" y="3636"/>
                  <a:pt x="12397" y="3636"/>
                  <a:pt x="12387" y="3643"/>
                </a:cubicBezTo>
                <a:cubicBezTo>
                  <a:pt x="12377" y="3649"/>
                  <a:pt x="12361" y="3658"/>
                  <a:pt x="12361" y="3658"/>
                </a:cubicBezTo>
                <a:cubicBezTo>
                  <a:pt x="12354" y="3676"/>
                  <a:pt x="12354" y="3676"/>
                  <a:pt x="12354" y="3676"/>
                </a:cubicBezTo>
                <a:cubicBezTo>
                  <a:pt x="12339" y="3685"/>
                  <a:pt x="12339" y="3685"/>
                  <a:pt x="12339" y="3685"/>
                </a:cubicBezTo>
                <a:cubicBezTo>
                  <a:pt x="12339" y="3685"/>
                  <a:pt x="12344" y="3694"/>
                  <a:pt x="12337" y="3700"/>
                </a:cubicBezTo>
                <a:cubicBezTo>
                  <a:pt x="12330" y="3707"/>
                  <a:pt x="12305" y="3718"/>
                  <a:pt x="12305" y="3718"/>
                </a:cubicBezTo>
                <a:cubicBezTo>
                  <a:pt x="12305" y="3718"/>
                  <a:pt x="12282" y="3754"/>
                  <a:pt x="12293" y="3762"/>
                </a:cubicBezTo>
                <a:close/>
                <a:moveTo>
                  <a:pt x="12382" y="3239"/>
                </a:moveTo>
                <a:cubicBezTo>
                  <a:pt x="12374" y="3251"/>
                  <a:pt x="12376" y="3243"/>
                  <a:pt x="12383" y="3255"/>
                </a:cubicBezTo>
                <a:cubicBezTo>
                  <a:pt x="12386" y="3260"/>
                  <a:pt x="12390" y="3269"/>
                  <a:pt x="12392" y="3275"/>
                </a:cubicBezTo>
                <a:cubicBezTo>
                  <a:pt x="12394" y="3281"/>
                  <a:pt x="12395" y="3288"/>
                  <a:pt x="12394" y="3295"/>
                </a:cubicBezTo>
                <a:cubicBezTo>
                  <a:pt x="12393" y="3302"/>
                  <a:pt x="12385" y="3308"/>
                  <a:pt x="12385" y="3313"/>
                </a:cubicBezTo>
                <a:cubicBezTo>
                  <a:pt x="12385" y="3321"/>
                  <a:pt x="12396" y="3323"/>
                  <a:pt x="12392" y="3331"/>
                </a:cubicBezTo>
                <a:cubicBezTo>
                  <a:pt x="12390" y="3336"/>
                  <a:pt x="12378" y="3339"/>
                  <a:pt x="12374" y="3338"/>
                </a:cubicBezTo>
                <a:cubicBezTo>
                  <a:pt x="12374" y="3332"/>
                  <a:pt x="12372" y="3326"/>
                  <a:pt x="12367" y="3324"/>
                </a:cubicBezTo>
                <a:cubicBezTo>
                  <a:pt x="12366" y="3347"/>
                  <a:pt x="12369" y="3361"/>
                  <a:pt x="12385" y="3380"/>
                </a:cubicBezTo>
                <a:cubicBezTo>
                  <a:pt x="12397" y="3393"/>
                  <a:pt x="12409" y="3403"/>
                  <a:pt x="12417" y="3419"/>
                </a:cubicBezTo>
                <a:cubicBezTo>
                  <a:pt x="12422" y="3431"/>
                  <a:pt x="12438" y="3461"/>
                  <a:pt x="12453" y="3460"/>
                </a:cubicBezTo>
                <a:cubicBezTo>
                  <a:pt x="12463" y="3459"/>
                  <a:pt x="12467" y="3446"/>
                  <a:pt x="12478" y="3445"/>
                </a:cubicBezTo>
                <a:cubicBezTo>
                  <a:pt x="12489" y="3444"/>
                  <a:pt x="12494" y="3454"/>
                  <a:pt x="12501" y="3460"/>
                </a:cubicBezTo>
                <a:cubicBezTo>
                  <a:pt x="12523" y="3479"/>
                  <a:pt x="12522" y="3461"/>
                  <a:pt x="12512" y="3444"/>
                </a:cubicBezTo>
                <a:cubicBezTo>
                  <a:pt x="12530" y="3442"/>
                  <a:pt x="12537" y="3451"/>
                  <a:pt x="12541" y="3465"/>
                </a:cubicBezTo>
                <a:cubicBezTo>
                  <a:pt x="12544" y="3477"/>
                  <a:pt x="12554" y="3489"/>
                  <a:pt x="12568" y="3495"/>
                </a:cubicBezTo>
                <a:cubicBezTo>
                  <a:pt x="12593" y="3508"/>
                  <a:pt x="12595" y="3447"/>
                  <a:pt x="12564" y="3450"/>
                </a:cubicBezTo>
                <a:cubicBezTo>
                  <a:pt x="12563" y="3444"/>
                  <a:pt x="12568" y="3442"/>
                  <a:pt x="12570" y="3437"/>
                </a:cubicBezTo>
                <a:cubicBezTo>
                  <a:pt x="12558" y="3436"/>
                  <a:pt x="12554" y="3422"/>
                  <a:pt x="12541" y="3426"/>
                </a:cubicBezTo>
                <a:cubicBezTo>
                  <a:pt x="12533" y="3443"/>
                  <a:pt x="12518" y="3422"/>
                  <a:pt x="12506" y="3422"/>
                </a:cubicBezTo>
                <a:cubicBezTo>
                  <a:pt x="12490" y="3421"/>
                  <a:pt x="12483" y="3445"/>
                  <a:pt x="12470" y="3425"/>
                </a:cubicBezTo>
                <a:cubicBezTo>
                  <a:pt x="12463" y="3414"/>
                  <a:pt x="12466" y="3399"/>
                  <a:pt x="12466" y="3387"/>
                </a:cubicBezTo>
                <a:cubicBezTo>
                  <a:pt x="12466" y="3375"/>
                  <a:pt x="12462" y="3356"/>
                  <a:pt x="12467" y="3345"/>
                </a:cubicBezTo>
                <a:cubicBezTo>
                  <a:pt x="12474" y="3329"/>
                  <a:pt x="12485" y="3334"/>
                  <a:pt x="12484" y="3314"/>
                </a:cubicBezTo>
                <a:cubicBezTo>
                  <a:pt x="12484" y="3300"/>
                  <a:pt x="12473" y="3291"/>
                  <a:pt x="12475" y="3279"/>
                </a:cubicBezTo>
                <a:cubicBezTo>
                  <a:pt x="12476" y="3266"/>
                  <a:pt x="12484" y="3250"/>
                  <a:pt x="12480" y="3236"/>
                </a:cubicBezTo>
                <a:cubicBezTo>
                  <a:pt x="12477" y="3230"/>
                  <a:pt x="12470" y="3227"/>
                  <a:pt x="12467" y="3221"/>
                </a:cubicBezTo>
                <a:cubicBezTo>
                  <a:pt x="12464" y="3215"/>
                  <a:pt x="12467" y="3208"/>
                  <a:pt x="12466" y="3202"/>
                </a:cubicBezTo>
                <a:cubicBezTo>
                  <a:pt x="12465" y="3197"/>
                  <a:pt x="12463" y="3186"/>
                  <a:pt x="12454" y="3186"/>
                </a:cubicBezTo>
                <a:cubicBezTo>
                  <a:pt x="12449" y="3187"/>
                  <a:pt x="12447" y="3195"/>
                  <a:pt x="12444" y="3198"/>
                </a:cubicBezTo>
                <a:cubicBezTo>
                  <a:pt x="12427" y="3212"/>
                  <a:pt x="12424" y="3195"/>
                  <a:pt x="12408" y="3196"/>
                </a:cubicBezTo>
                <a:cubicBezTo>
                  <a:pt x="12399" y="3199"/>
                  <a:pt x="12399" y="3199"/>
                  <a:pt x="12399" y="3199"/>
                </a:cubicBezTo>
                <a:cubicBezTo>
                  <a:pt x="12396" y="3206"/>
                  <a:pt x="12399" y="3213"/>
                  <a:pt x="12397" y="3220"/>
                </a:cubicBezTo>
                <a:cubicBezTo>
                  <a:pt x="12395" y="3227"/>
                  <a:pt x="12386" y="3233"/>
                  <a:pt x="12382" y="3239"/>
                </a:cubicBezTo>
                <a:close/>
                <a:moveTo>
                  <a:pt x="12457" y="3879"/>
                </a:moveTo>
                <a:cubicBezTo>
                  <a:pt x="12469" y="3886"/>
                  <a:pt x="12469" y="3886"/>
                  <a:pt x="12469" y="3886"/>
                </a:cubicBezTo>
                <a:cubicBezTo>
                  <a:pt x="12481" y="3868"/>
                  <a:pt x="12481" y="3868"/>
                  <a:pt x="12481" y="3868"/>
                </a:cubicBezTo>
                <a:cubicBezTo>
                  <a:pt x="12464" y="3858"/>
                  <a:pt x="12464" y="3858"/>
                  <a:pt x="12464" y="3858"/>
                </a:cubicBezTo>
                <a:lnTo>
                  <a:pt x="12457" y="3879"/>
                </a:lnTo>
                <a:close/>
                <a:moveTo>
                  <a:pt x="12603" y="3523"/>
                </a:moveTo>
                <a:cubicBezTo>
                  <a:pt x="12594" y="3543"/>
                  <a:pt x="12627" y="3558"/>
                  <a:pt x="12627" y="3558"/>
                </a:cubicBezTo>
                <a:cubicBezTo>
                  <a:pt x="12652" y="3571"/>
                  <a:pt x="12652" y="3571"/>
                  <a:pt x="12652" y="3571"/>
                </a:cubicBezTo>
                <a:cubicBezTo>
                  <a:pt x="12652" y="3587"/>
                  <a:pt x="12628" y="3579"/>
                  <a:pt x="12628" y="3579"/>
                </a:cubicBezTo>
                <a:cubicBezTo>
                  <a:pt x="12671" y="3613"/>
                  <a:pt x="12671" y="3613"/>
                  <a:pt x="12671" y="3613"/>
                </a:cubicBezTo>
                <a:cubicBezTo>
                  <a:pt x="12673" y="3599"/>
                  <a:pt x="12673" y="3599"/>
                  <a:pt x="12673" y="3599"/>
                </a:cubicBezTo>
                <a:cubicBezTo>
                  <a:pt x="12690" y="3604"/>
                  <a:pt x="12690" y="3604"/>
                  <a:pt x="12690" y="3604"/>
                </a:cubicBezTo>
                <a:cubicBezTo>
                  <a:pt x="12676" y="3581"/>
                  <a:pt x="12676" y="3581"/>
                  <a:pt x="12676" y="3581"/>
                </a:cubicBezTo>
                <a:cubicBezTo>
                  <a:pt x="12676" y="3581"/>
                  <a:pt x="12673" y="3556"/>
                  <a:pt x="12661" y="3543"/>
                </a:cubicBezTo>
                <a:cubicBezTo>
                  <a:pt x="12649" y="3530"/>
                  <a:pt x="12610" y="3507"/>
                  <a:pt x="12603" y="3523"/>
                </a:cubicBezTo>
                <a:close/>
                <a:moveTo>
                  <a:pt x="12473" y="3501"/>
                </a:moveTo>
                <a:cubicBezTo>
                  <a:pt x="12473" y="3501"/>
                  <a:pt x="12471" y="3481"/>
                  <a:pt x="12464" y="3474"/>
                </a:cubicBezTo>
                <a:cubicBezTo>
                  <a:pt x="12457" y="3468"/>
                  <a:pt x="12428" y="3471"/>
                  <a:pt x="12428" y="3471"/>
                </a:cubicBezTo>
                <a:cubicBezTo>
                  <a:pt x="12449" y="3499"/>
                  <a:pt x="12449" y="3499"/>
                  <a:pt x="12449" y="3499"/>
                </a:cubicBezTo>
                <a:cubicBezTo>
                  <a:pt x="12462" y="3543"/>
                  <a:pt x="12462" y="3543"/>
                  <a:pt x="12462" y="3543"/>
                </a:cubicBezTo>
                <a:cubicBezTo>
                  <a:pt x="12462" y="3543"/>
                  <a:pt x="12474" y="3533"/>
                  <a:pt x="12479" y="3525"/>
                </a:cubicBezTo>
                <a:cubicBezTo>
                  <a:pt x="12485" y="3517"/>
                  <a:pt x="12473" y="3501"/>
                  <a:pt x="12473" y="3501"/>
                </a:cubicBezTo>
                <a:close/>
                <a:moveTo>
                  <a:pt x="12600" y="3631"/>
                </a:moveTo>
                <a:cubicBezTo>
                  <a:pt x="12607" y="3685"/>
                  <a:pt x="12607" y="3685"/>
                  <a:pt x="12607" y="3685"/>
                </a:cubicBezTo>
                <a:cubicBezTo>
                  <a:pt x="12615" y="3635"/>
                  <a:pt x="12615" y="3635"/>
                  <a:pt x="12615" y="3635"/>
                </a:cubicBezTo>
                <a:cubicBezTo>
                  <a:pt x="12598" y="3600"/>
                  <a:pt x="12598" y="3600"/>
                  <a:pt x="12598" y="3600"/>
                </a:cubicBezTo>
                <a:cubicBezTo>
                  <a:pt x="12583" y="3600"/>
                  <a:pt x="12583" y="3600"/>
                  <a:pt x="12583" y="3600"/>
                </a:cubicBezTo>
                <a:lnTo>
                  <a:pt x="12600" y="3631"/>
                </a:lnTo>
                <a:close/>
                <a:moveTo>
                  <a:pt x="11367" y="4106"/>
                </a:moveTo>
                <a:cubicBezTo>
                  <a:pt x="11359" y="4106"/>
                  <a:pt x="11349" y="4119"/>
                  <a:pt x="11361" y="4127"/>
                </a:cubicBezTo>
                <a:cubicBezTo>
                  <a:pt x="11373" y="4135"/>
                  <a:pt x="11377" y="4165"/>
                  <a:pt x="11389" y="4165"/>
                </a:cubicBezTo>
                <a:cubicBezTo>
                  <a:pt x="11396" y="4165"/>
                  <a:pt x="11397" y="4134"/>
                  <a:pt x="11393" y="4130"/>
                </a:cubicBezTo>
                <a:cubicBezTo>
                  <a:pt x="11389" y="4126"/>
                  <a:pt x="11375" y="4106"/>
                  <a:pt x="11367" y="4106"/>
                </a:cubicBezTo>
                <a:close/>
                <a:moveTo>
                  <a:pt x="12889" y="4333"/>
                </a:moveTo>
                <a:cubicBezTo>
                  <a:pt x="12873" y="4329"/>
                  <a:pt x="12863" y="4339"/>
                  <a:pt x="12852" y="4344"/>
                </a:cubicBezTo>
                <a:cubicBezTo>
                  <a:pt x="12846" y="4346"/>
                  <a:pt x="12838" y="4342"/>
                  <a:pt x="12834" y="4345"/>
                </a:cubicBezTo>
                <a:cubicBezTo>
                  <a:pt x="12821" y="4353"/>
                  <a:pt x="12817" y="4369"/>
                  <a:pt x="12821" y="4372"/>
                </a:cubicBezTo>
                <a:cubicBezTo>
                  <a:pt x="12828" y="4378"/>
                  <a:pt x="12835" y="4364"/>
                  <a:pt x="12835" y="4364"/>
                </a:cubicBezTo>
                <a:cubicBezTo>
                  <a:pt x="12835" y="4364"/>
                  <a:pt x="12835" y="4380"/>
                  <a:pt x="12846" y="4382"/>
                </a:cubicBezTo>
                <a:cubicBezTo>
                  <a:pt x="12857" y="4383"/>
                  <a:pt x="12859" y="4363"/>
                  <a:pt x="12859" y="4363"/>
                </a:cubicBezTo>
                <a:cubicBezTo>
                  <a:pt x="12859" y="4363"/>
                  <a:pt x="12867" y="4374"/>
                  <a:pt x="12874" y="4374"/>
                </a:cubicBezTo>
                <a:cubicBezTo>
                  <a:pt x="12881" y="4374"/>
                  <a:pt x="12899" y="4359"/>
                  <a:pt x="12899" y="4359"/>
                </a:cubicBezTo>
                <a:cubicBezTo>
                  <a:pt x="12909" y="4394"/>
                  <a:pt x="12909" y="4394"/>
                  <a:pt x="12909" y="4394"/>
                </a:cubicBezTo>
                <a:cubicBezTo>
                  <a:pt x="12928" y="4380"/>
                  <a:pt x="12928" y="4380"/>
                  <a:pt x="12928" y="4380"/>
                </a:cubicBezTo>
                <a:cubicBezTo>
                  <a:pt x="12950" y="4404"/>
                  <a:pt x="12950" y="4404"/>
                  <a:pt x="12950" y="4404"/>
                </a:cubicBezTo>
                <a:cubicBezTo>
                  <a:pt x="12955" y="4387"/>
                  <a:pt x="12955" y="4387"/>
                  <a:pt x="12955" y="4387"/>
                </a:cubicBezTo>
                <a:cubicBezTo>
                  <a:pt x="12941" y="4375"/>
                  <a:pt x="12941" y="4375"/>
                  <a:pt x="12941" y="4375"/>
                </a:cubicBezTo>
                <a:cubicBezTo>
                  <a:pt x="12942" y="4364"/>
                  <a:pt x="12942" y="4364"/>
                  <a:pt x="12942" y="4364"/>
                </a:cubicBezTo>
                <a:cubicBezTo>
                  <a:pt x="12942" y="4364"/>
                  <a:pt x="12936" y="4343"/>
                  <a:pt x="12889" y="4333"/>
                </a:cubicBezTo>
                <a:close/>
                <a:moveTo>
                  <a:pt x="14187" y="4617"/>
                </a:moveTo>
                <a:cubicBezTo>
                  <a:pt x="14165" y="4620"/>
                  <a:pt x="14165" y="4620"/>
                  <a:pt x="14165" y="4620"/>
                </a:cubicBezTo>
                <a:cubicBezTo>
                  <a:pt x="14165" y="4634"/>
                  <a:pt x="14165" y="4634"/>
                  <a:pt x="14165" y="4634"/>
                </a:cubicBezTo>
                <a:cubicBezTo>
                  <a:pt x="14178" y="4639"/>
                  <a:pt x="14178" y="4639"/>
                  <a:pt x="14178" y="4639"/>
                </a:cubicBezTo>
                <a:lnTo>
                  <a:pt x="14187" y="4617"/>
                </a:lnTo>
                <a:close/>
                <a:moveTo>
                  <a:pt x="13173" y="4238"/>
                </a:moveTo>
                <a:cubicBezTo>
                  <a:pt x="13192" y="4247"/>
                  <a:pt x="13200" y="4238"/>
                  <a:pt x="13185" y="4231"/>
                </a:cubicBezTo>
                <a:cubicBezTo>
                  <a:pt x="13171" y="4225"/>
                  <a:pt x="13165" y="4234"/>
                  <a:pt x="13173" y="4238"/>
                </a:cubicBezTo>
                <a:close/>
                <a:moveTo>
                  <a:pt x="14186" y="4564"/>
                </a:moveTo>
                <a:cubicBezTo>
                  <a:pt x="14174" y="4550"/>
                  <a:pt x="14174" y="4550"/>
                  <a:pt x="14174" y="4550"/>
                </a:cubicBezTo>
                <a:cubicBezTo>
                  <a:pt x="14167" y="4566"/>
                  <a:pt x="14167" y="4566"/>
                  <a:pt x="14167" y="4566"/>
                </a:cubicBezTo>
                <a:cubicBezTo>
                  <a:pt x="14180" y="4582"/>
                  <a:pt x="14180" y="4582"/>
                  <a:pt x="14180" y="4582"/>
                </a:cubicBezTo>
                <a:lnTo>
                  <a:pt x="14186" y="4564"/>
                </a:lnTo>
                <a:close/>
                <a:moveTo>
                  <a:pt x="13241" y="4291"/>
                </a:moveTo>
                <a:cubicBezTo>
                  <a:pt x="13241" y="4291"/>
                  <a:pt x="13217" y="4281"/>
                  <a:pt x="13212" y="4280"/>
                </a:cubicBezTo>
                <a:cubicBezTo>
                  <a:pt x="13208" y="4279"/>
                  <a:pt x="13179" y="4285"/>
                  <a:pt x="13179" y="4285"/>
                </a:cubicBezTo>
                <a:cubicBezTo>
                  <a:pt x="13179" y="4285"/>
                  <a:pt x="13195" y="4298"/>
                  <a:pt x="13205" y="4298"/>
                </a:cubicBezTo>
                <a:cubicBezTo>
                  <a:pt x="13214" y="4298"/>
                  <a:pt x="13241" y="4291"/>
                  <a:pt x="13241" y="4291"/>
                </a:cubicBezTo>
                <a:close/>
                <a:moveTo>
                  <a:pt x="14072" y="4509"/>
                </a:moveTo>
                <a:cubicBezTo>
                  <a:pt x="14089" y="4541"/>
                  <a:pt x="14089" y="4541"/>
                  <a:pt x="14089" y="4541"/>
                </a:cubicBezTo>
                <a:cubicBezTo>
                  <a:pt x="14132" y="4584"/>
                  <a:pt x="14132" y="4584"/>
                  <a:pt x="14132" y="4584"/>
                </a:cubicBezTo>
                <a:cubicBezTo>
                  <a:pt x="14130" y="4533"/>
                  <a:pt x="14130" y="4533"/>
                  <a:pt x="14130" y="4533"/>
                </a:cubicBezTo>
                <a:cubicBezTo>
                  <a:pt x="14089" y="4486"/>
                  <a:pt x="14089" y="4486"/>
                  <a:pt x="14089" y="4486"/>
                </a:cubicBezTo>
                <a:cubicBezTo>
                  <a:pt x="14089" y="4486"/>
                  <a:pt x="14085" y="4461"/>
                  <a:pt x="14066" y="4469"/>
                </a:cubicBezTo>
                <a:cubicBezTo>
                  <a:pt x="14055" y="4474"/>
                  <a:pt x="14061" y="4490"/>
                  <a:pt x="14061" y="4490"/>
                </a:cubicBezTo>
                <a:lnTo>
                  <a:pt x="14072" y="4509"/>
                </a:lnTo>
                <a:close/>
                <a:moveTo>
                  <a:pt x="14665" y="6212"/>
                </a:moveTo>
                <a:cubicBezTo>
                  <a:pt x="14657" y="6204"/>
                  <a:pt x="14647" y="6222"/>
                  <a:pt x="14647" y="6222"/>
                </a:cubicBezTo>
                <a:cubicBezTo>
                  <a:pt x="14647" y="6222"/>
                  <a:pt x="14641" y="6222"/>
                  <a:pt x="14632" y="6220"/>
                </a:cubicBezTo>
                <a:cubicBezTo>
                  <a:pt x="14624" y="6217"/>
                  <a:pt x="14606" y="6231"/>
                  <a:pt x="14594" y="6228"/>
                </a:cubicBezTo>
                <a:cubicBezTo>
                  <a:pt x="14582" y="6225"/>
                  <a:pt x="14587" y="6181"/>
                  <a:pt x="14587" y="6181"/>
                </a:cubicBezTo>
                <a:cubicBezTo>
                  <a:pt x="14603" y="6156"/>
                  <a:pt x="14603" y="6156"/>
                  <a:pt x="14603" y="6156"/>
                </a:cubicBezTo>
                <a:cubicBezTo>
                  <a:pt x="14603" y="6156"/>
                  <a:pt x="14603" y="6138"/>
                  <a:pt x="14593" y="6139"/>
                </a:cubicBezTo>
                <a:cubicBezTo>
                  <a:pt x="14582" y="6139"/>
                  <a:pt x="14582" y="6155"/>
                  <a:pt x="14582" y="6165"/>
                </a:cubicBezTo>
                <a:cubicBezTo>
                  <a:pt x="14581" y="6174"/>
                  <a:pt x="14569" y="6182"/>
                  <a:pt x="14569" y="6182"/>
                </a:cubicBezTo>
                <a:cubicBezTo>
                  <a:pt x="14566" y="6162"/>
                  <a:pt x="14566" y="6162"/>
                  <a:pt x="14566" y="6162"/>
                </a:cubicBezTo>
                <a:cubicBezTo>
                  <a:pt x="14552" y="6149"/>
                  <a:pt x="14552" y="6149"/>
                  <a:pt x="14552" y="6149"/>
                </a:cubicBezTo>
                <a:cubicBezTo>
                  <a:pt x="14552" y="6149"/>
                  <a:pt x="14576" y="6118"/>
                  <a:pt x="14576" y="6098"/>
                </a:cubicBezTo>
                <a:cubicBezTo>
                  <a:pt x="14577" y="6078"/>
                  <a:pt x="14543" y="6077"/>
                  <a:pt x="14543" y="6077"/>
                </a:cubicBezTo>
                <a:cubicBezTo>
                  <a:pt x="14546" y="6063"/>
                  <a:pt x="14546" y="6063"/>
                  <a:pt x="14546" y="6063"/>
                </a:cubicBezTo>
                <a:cubicBezTo>
                  <a:pt x="14533" y="6061"/>
                  <a:pt x="14533" y="6061"/>
                  <a:pt x="14533" y="6061"/>
                </a:cubicBezTo>
                <a:cubicBezTo>
                  <a:pt x="14518" y="6047"/>
                  <a:pt x="14518" y="6047"/>
                  <a:pt x="14518" y="6047"/>
                </a:cubicBezTo>
                <a:cubicBezTo>
                  <a:pt x="14525" y="6036"/>
                  <a:pt x="14525" y="6036"/>
                  <a:pt x="14525" y="6036"/>
                </a:cubicBezTo>
                <a:cubicBezTo>
                  <a:pt x="14505" y="6048"/>
                  <a:pt x="14505" y="6048"/>
                  <a:pt x="14505" y="6048"/>
                </a:cubicBezTo>
                <a:cubicBezTo>
                  <a:pt x="14518" y="6071"/>
                  <a:pt x="14518" y="6071"/>
                  <a:pt x="14518" y="6071"/>
                </a:cubicBezTo>
                <a:cubicBezTo>
                  <a:pt x="14512" y="6096"/>
                  <a:pt x="14512" y="6096"/>
                  <a:pt x="14512" y="6096"/>
                </a:cubicBezTo>
                <a:cubicBezTo>
                  <a:pt x="14527" y="6102"/>
                  <a:pt x="14527" y="6102"/>
                  <a:pt x="14527" y="6102"/>
                </a:cubicBezTo>
                <a:cubicBezTo>
                  <a:pt x="14518" y="6106"/>
                  <a:pt x="14518" y="6106"/>
                  <a:pt x="14518" y="6106"/>
                </a:cubicBezTo>
                <a:cubicBezTo>
                  <a:pt x="14522" y="6120"/>
                  <a:pt x="14522" y="6120"/>
                  <a:pt x="14522" y="6120"/>
                </a:cubicBezTo>
                <a:cubicBezTo>
                  <a:pt x="14538" y="6125"/>
                  <a:pt x="14538" y="6125"/>
                  <a:pt x="14538" y="6125"/>
                </a:cubicBezTo>
                <a:cubicBezTo>
                  <a:pt x="14522" y="6133"/>
                  <a:pt x="14522" y="6133"/>
                  <a:pt x="14522" y="6133"/>
                </a:cubicBezTo>
                <a:cubicBezTo>
                  <a:pt x="14531" y="6138"/>
                  <a:pt x="14531" y="6138"/>
                  <a:pt x="14531" y="6138"/>
                </a:cubicBezTo>
                <a:cubicBezTo>
                  <a:pt x="14531" y="6138"/>
                  <a:pt x="14528" y="6152"/>
                  <a:pt x="14528" y="6158"/>
                </a:cubicBezTo>
                <a:cubicBezTo>
                  <a:pt x="14528" y="6165"/>
                  <a:pt x="14541" y="6172"/>
                  <a:pt x="14541" y="6172"/>
                </a:cubicBezTo>
                <a:cubicBezTo>
                  <a:pt x="14528" y="6174"/>
                  <a:pt x="14528" y="6174"/>
                  <a:pt x="14528" y="6174"/>
                </a:cubicBezTo>
                <a:cubicBezTo>
                  <a:pt x="14520" y="6184"/>
                  <a:pt x="14520" y="6184"/>
                  <a:pt x="14520" y="6184"/>
                </a:cubicBezTo>
                <a:cubicBezTo>
                  <a:pt x="14531" y="6190"/>
                  <a:pt x="14531" y="6190"/>
                  <a:pt x="14531" y="6190"/>
                </a:cubicBezTo>
                <a:cubicBezTo>
                  <a:pt x="14531" y="6190"/>
                  <a:pt x="14510" y="6210"/>
                  <a:pt x="14508" y="6221"/>
                </a:cubicBezTo>
                <a:cubicBezTo>
                  <a:pt x="14507" y="6232"/>
                  <a:pt x="14517" y="6235"/>
                  <a:pt x="14517" y="6235"/>
                </a:cubicBezTo>
                <a:cubicBezTo>
                  <a:pt x="14517" y="6235"/>
                  <a:pt x="14495" y="6239"/>
                  <a:pt x="14482" y="6245"/>
                </a:cubicBezTo>
                <a:cubicBezTo>
                  <a:pt x="14469" y="6250"/>
                  <a:pt x="14472" y="6253"/>
                  <a:pt x="14456" y="6265"/>
                </a:cubicBezTo>
                <a:cubicBezTo>
                  <a:pt x="14439" y="6278"/>
                  <a:pt x="14425" y="6279"/>
                  <a:pt x="14404" y="6291"/>
                </a:cubicBezTo>
                <a:cubicBezTo>
                  <a:pt x="14383" y="6304"/>
                  <a:pt x="14402" y="6338"/>
                  <a:pt x="14402" y="6338"/>
                </a:cubicBezTo>
                <a:cubicBezTo>
                  <a:pt x="14402" y="6338"/>
                  <a:pt x="14425" y="6336"/>
                  <a:pt x="14435" y="6338"/>
                </a:cubicBezTo>
                <a:cubicBezTo>
                  <a:pt x="14445" y="6340"/>
                  <a:pt x="14435" y="6359"/>
                  <a:pt x="14435" y="6374"/>
                </a:cubicBezTo>
                <a:cubicBezTo>
                  <a:pt x="14436" y="6390"/>
                  <a:pt x="14419" y="6389"/>
                  <a:pt x="14402" y="6395"/>
                </a:cubicBezTo>
                <a:cubicBezTo>
                  <a:pt x="14385" y="6401"/>
                  <a:pt x="14393" y="6406"/>
                  <a:pt x="14393" y="6406"/>
                </a:cubicBezTo>
                <a:cubicBezTo>
                  <a:pt x="14383" y="6417"/>
                  <a:pt x="14383" y="6417"/>
                  <a:pt x="14383" y="6417"/>
                </a:cubicBezTo>
                <a:cubicBezTo>
                  <a:pt x="14383" y="6417"/>
                  <a:pt x="14401" y="6430"/>
                  <a:pt x="14415" y="6426"/>
                </a:cubicBezTo>
                <a:cubicBezTo>
                  <a:pt x="14428" y="6421"/>
                  <a:pt x="14459" y="6387"/>
                  <a:pt x="14470" y="6376"/>
                </a:cubicBezTo>
                <a:cubicBezTo>
                  <a:pt x="14481" y="6365"/>
                  <a:pt x="14508" y="6357"/>
                  <a:pt x="14513" y="6357"/>
                </a:cubicBezTo>
                <a:cubicBezTo>
                  <a:pt x="14518" y="6356"/>
                  <a:pt x="14523" y="6344"/>
                  <a:pt x="14523" y="6344"/>
                </a:cubicBezTo>
                <a:cubicBezTo>
                  <a:pt x="14523" y="6344"/>
                  <a:pt x="14530" y="6341"/>
                  <a:pt x="14541" y="6337"/>
                </a:cubicBezTo>
                <a:cubicBezTo>
                  <a:pt x="14552" y="6332"/>
                  <a:pt x="14541" y="6313"/>
                  <a:pt x="14541" y="6313"/>
                </a:cubicBezTo>
                <a:cubicBezTo>
                  <a:pt x="14541" y="6313"/>
                  <a:pt x="14551" y="6305"/>
                  <a:pt x="14564" y="6299"/>
                </a:cubicBezTo>
                <a:cubicBezTo>
                  <a:pt x="14578" y="6293"/>
                  <a:pt x="14588" y="6305"/>
                  <a:pt x="14600" y="6302"/>
                </a:cubicBezTo>
                <a:cubicBezTo>
                  <a:pt x="14612" y="6300"/>
                  <a:pt x="14608" y="6276"/>
                  <a:pt x="14608" y="6276"/>
                </a:cubicBezTo>
                <a:cubicBezTo>
                  <a:pt x="14608" y="6276"/>
                  <a:pt x="14619" y="6273"/>
                  <a:pt x="14631" y="6272"/>
                </a:cubicBezTo>
                <a:cubicBezTo>
                  <a:pt x="14642" y="6271"/>
                  <a:pt x="14634" y="6257"/>
                  <a:pt x="14641" y="6251"/>
                </a:cubicBezTo>
                <a:cubicBezTo>
                  <a:pt x="14649" y="6246"/>
                  <a:pt x="14657" y="6249"/>
                  <a:pt x="14667" y="6241"/>
                </a:cubicBezTo>
                <a:cubicBezTo>
                  <a:pt x="14677" y="6233"/>
                  <a:pt x="14673" y="6219"/>
                  <a:pt x="14665" y="6212"/>
                </a:cubicBezTo>
                <a:close/>
                <a:moveTo>
                  <a:pt x="13733" y="4291"/>
                </a:moveTo>
                <a:cubicBezTo>
                  <a:pt x="13720" y="4284"/>
                  <a:pt x="13698" y="4303"/>
                  <a:pt x="13698" y="4303"/>
                </a:cubicBezTo>
                <a:cubicBezTo>
                  <a:pt x="13717" y="4315"/>
                  <a:pt x="13717" y="4315"/>
                  <a:pt x="13717" y="4315"/>
                </a:cubicBezTo>
                <a:cubicBezTo>
                  <a:pt x="13735" y="4319"/>
                  <a:pt x="13746" y="4298"/>
                  <a:pt x="13733" y="4291"/>
                </a:cubicBezTo>
                <a:close/>
                <a:moveTo>
                  <a:pt x="14204" y="4676"/>
                </a:moveTo>
                <a:cubicBezTo>
                  <a:pt x="14229" y="4673"/>
                  <a:pt x="14229" y="4673"/>
                  <a:pt x="14229" y="4673"/>
                </a:cubicBezTo>
                <a:cubicBezTo>
                  <a:pt x="14197" y="4653"/>
                  <a:pt x="14197" y="4653"/>
                  <a:pt x="14197" y="4653"/>
                </a:cubicBezTo>
                <a:lnTo>
                  <a:pt x="14204" y="4676"/>
                </a:lnTo>
                <a:close/>
                <a:moveTo>
                  <a:pt x="13947" y="4386"/>
                </a:moveTo>
                <a:cubicBezTo>
                  <a:pt x="13953" y="4391"/>
                  <a:pt x="13973" y="4393"/>
                  <a:pt x="13978" y="4406"/>
                </a:cubicBezTo>
                <a:cubicBezTo>
                  <a:pt x="13982" y="4419"/>
                  <a:pt x="13964" y="4463"/>
                  <a:pt x="13991" y="4465"/>
                </a:cubicBezTo>
                <a:cubicBezTo>
                  <a:pt x="14006" y="4466"/>
                  <a:pt x="14014" y="4434"/>
                  <a:pt x="14001" y="4415"/>
                </a:cubicBezTo>
                <a:cubicBezTo>
                  <a:pt x="13988" y="4396"/>
                  <a:pt x="13966" y="4378"/>
                  <a:pt x="13966" y="4378"/>
                </a:cubicBezTo>
                <a:cubicBezTo>
                  <a:pt x="13957" y="4378"/>
                  <a:pt x="13957" y="4378"/>
                  <a:pt x="13957" y="4378"/>
                </a:cubicBezTo>
                <a:cubicBezTo>
                  <a:pt x="13957" y="4378"/>
                  <a:pt x="13926" y="4344"/>
                  <a:pt x="13922" y="4342"/>
                </a:cubicBezTo>
                <a:cubicBezTo>
                  <a:pt x="13918" y="4339"/>
                  <a:pt x="13910" y="4339"/>
                  <a:pt x="13910" y="4339"/>
                </a:cubicBezTo>
                <a:cubicBezTo>
                  <a:pt x="13896" y="4315"/>
                  <a:pt x="13896" y="4315"/>
                  <a:pt x="13896" y="4315"/>
                </a:cubicBezTo>
                <a:cubicBezTo>
                  <a:pt x="13888" y="4347"/>
                  <a:pt x="13888" y="4347"/>
                  <a:pt x="13888" y="4347"/>
                </a:cubicBezTo>
                <a:cubicBezTo>
                  <a:pt x="13918" y="4353"/>
                  <a:pt x="13918" y="4353"/>
                  <a:pt x="13918" y="4353"/>
                </a:cubicBezTo>
                <a:cubicBezTo>
                  <a:pt x="13918" y="4353"/>
                  <a:pt x="13941" y="4380"/>
                  <a:pt x="13947" y="4386"/>
                </a:cubicBezTo>
                <a:close/>
                <a:moveTo>
                  <a:pt x="13865" y="4544"/>
                </a:moveTo>
                <a:cubicBezTo>
                  <a:pt x="13876" y="4535"/>
                  <a:pt x="13876" y="4535"/>
                  <a:pt x="13876" y="4535"/>
                </a:cubicBezTo>
                <a:cubicBezTo>
                  <a:pt x="13876" y="4535"/>
                  <a:pt x="13888" y="4535"/>
                  <a:pt x="13901" y="4534"/>
                </a:cubicBezTo>
                <a:cubicBezTo>
                  <a:pt x="13915" y="4532"/>
                  <a:pt x="13925" y="4512"/>
                  <a:pt x="13925" y="4512"/>
                </a:cubicBezTo>
                <a:cubicBezTo>
                  <a:pt x="13944" y="4507"/>
                  <a:pt x="13944" y="4507"/>
                  <a:pt x="13944" y="4507"/>
                </a:cubicBezTo>
                <a:cubicBezTo>
                  <a:pt x="13938" y="4490"/>
                  <a:pt x="13938" y="4490"/>
                  <a:pt x="13938" y="4490"/>
                </a:cubicBezTo>
                <a:cubicBezTo>
                  <a:pt x="13956" y="4493"/>
                  <a:pt x="13956" y="4493"/>
                  <a:pt x="13956" y="4493"/>
                </a:cubicBezTo>
                <a:cubicBezTo>
                  <a:pt x="13956" y="4493"/>
                  <a:pt x="13964" y="4441"/>
                  <a:pt x="13957" y="4424"/>
                </a:cubicBezTo>
                <a:cubicBezTo>
                  <a:pt x="13950" y="4406"/>
                  <a:pt x="13919" y="4425"/>
                  <a:pt x="13910" y="4434"/>
                </a:cubicBezTo>
                <a:cubicBezTo>
                  <a:pt x="13901" y="4443"/>
                  <a:pt x="13923" y="4455"/>
                  <a:pt x="13923" y="4455"/>
                </a:cubicBezTo>
                <a:cubicBezTo>
                  <a:pt x="13925" y="4468"/>
                  <a:pt x="13925" y="4468"/>
                  <a:pt x="13925" y="4468"/>
                </a:cubicBezTo>
                <a:cubicBezTo>
                  <a:pt x="13878" y="4493"/>
                  <a:pt x="13878" y="4493"/>
                  <a:pt x="13878" y="4493"/>
                </a:cubicBezTo>
                <a:cubicBezTo>
                  <a:pt x="13878" y="4493"/>
                  <a:pt x="13854" y="4491"/>
                  <a:pt x="13838" y="4494"/>
                </a:cubicBezTo>
                <a:cubicBezTo>
                  <a:pt x="13822" y="4497"/>
                  <a:pt x="13816" y="4506"/>
                  <a:pt x="13806" y="4512"/>
                </a:cubicBezTo>
                <a:cubicBezTo>
                  <a:pt x="13796" y="4518"/>
                  <a:pt x="13790" y="4506"/>
                  <a:pt x="13784" y="4518"/>
                </a:cubicBezTo>
                <a:cubicBezTo>
                  <a:pt x="13800" y="4541"/>
                  <a:pt x="13800" y="4541"/>
                  <a:pt x="13800" y="4541"/>
                </a:cubicBezTo>
                <a:lnTo>
                  <a:pt x="13865" y="4544"/>
                </a:lnTo>
                <a:close/>
                <a:moveTo>
                  <a:pt x="12118" y="4562"/>
                </a:moveTo>
                <a:cubicBezTo>
                  <a:pt x="12113" y="4587"/>
                  <a:pt x="12134" y="4581"/>
                  <a:pt x="12134" y="4581"/>
                </a:cubicBezTo>
                <a:cubicBezTo>
                  <a:pt x="12172" y="4554"/>
                  <a:pt x="12172" y="4554"/>
                  <a:pt x="12172" y="4554"/>
                </a:cubicBezTo>
                <a:cubicBezTo>
                  <a:pt x="12169" y="4548"/>
                  <a:pt x="12169" y="4548"/>
                  <a:pt x="12169" y="4548"/>
                </a:cubicBezTo>
                <a:cubicBezTo>
                  <a:pt x="12169" y="4548"/>
                  <a:pt x="12119" y="4552"/>
                  <a:pt x="12118" y="4562"/>
                </a:cubicBezTo>
                <a:close/>
                <a:moveTo>
                  <a:pt x="14218" y="4641"/>
                </a:moveTo>
                <a:cubicBezTo>
                  <a:pt x="14216" y="4631"/>
                  <a:pt x="14216" y="4631"/>
                  <a:pt x="14216" y="4631"/>
                </a:cubicBezTo>
                <a:cubicBezTo>
                  <a:pt x="14190" y="4631"/>
                  <a:pt x="14190" y="4631"/>
                  <a:pt x="14190" y="4631"/>
                </a:cubicBezTo>
                <a:cubicBezTo>
                  <a:pt x="14191" y="4647"/>
                  <a:pt x="14191" y="4647"/>
                  <a:pt x="14191" y="4647"/>
                </a:cubicBezTo>
                <a:lnTo>
                  <a:pt x="14218" y="4641"/>
                </a:lnTo>
                <a:close/>
                <a:moveTo>
                  <a:pt x="14303" y="4652"/>
                </a:moveTo>
                <a:cubicBezTo>
                  <a:pt x="14319" y="4650"/>
                  <a:pt x="14251" y="4580"/>
                  <a:pt x="14246" y="4591"/>
                </a:cubicBezTo>
                <a:cubicBezTo>
                  <a:pt x="14240" y="4601"/>
                  <a:pt x="14295" y="4654"/>
                  <a:pt x="14303" y="4652"/>
                </a:cubicBezTo>
                <a:close/>
                <a:moveTo>
                  <a:pt x="14412" y="4765"/>
                </a:moveTo>
                <a:cubicBezTo>
                  <a:pt x="14370" y="4743"/>
                  <a:pt x="14370" y="4743"/>
                  <a:pt x="14370" y="4743"/>
                </a:cubicBezTo>
                <a:cubicBezTo>
                  <a:pt x="14403" y="4785"/>
                  <a:pt x="14403" y="4785"/>
                  <a:pt x="14403" y="4785"/>
                </a:cubicBezTo>
                <a:lnTo>
                  <a:pt x="14412" y="4765"/>
                </a:lnTo>
                <a:close/>
                <a:moveTo>
                  <a:pt x="14293" y="4692"/>
                </a:moveTo>
                <a:cubicBezTo>
                  <a:pt x="14293" y="4692"/>
                  <a:pt x="14289" y="4711"/>
                  <a:pt x="14307" y="4719"/>
                </a:cubicBezTo>
                <a:cubicBezTo>
                  <a:pt x="14333" y="4730"/>
                  <a:pt x="14348" y="4722"/>
                  <a:pt x="14348" y="4722"/>
                </a:cubicBezTo>
                <a:cubicBezTo>
                  <a:pt x="14348" y="4722"/>
                  <a:pt x="14347" y="4710"/>
                  <a:pt x="14328" y="4699"/>
                </a:cubicBezTo>
                <a:cubicBezTo>
                  <a:pt x="14310" y="4689"/>
                  <a:pt x="14293" y="4692"/>
                  <a:pt x="14293" y="4692"/>
                </a:cubicBezTo>
                <a:close/>
                <a:moveTo>
                  <a:pt x="12286" y="4345"/>
                </a:moveTo>
                <a:cubicBezTo>
                  <a:pt x="12291" y="4338"/>
                  <a:pt x="12310" y="4288"/>
                  <a:pt x="12310" y="4288"/>
                </a:cubicBezTo>
                <a:cubicBezTo>
                  <a:pt x="12310" y="4288"/>
                  <a:pt x="12292" y="4286"/>
                  <a:pt x="12289" y="4273"/>
                </a:cubicBezTo>
                <a:cubicBezTo>
                  <a:pt x="12286" y="4261"/>
                  <a:pt x="12292" y="4246"/>
                  <a:pt x="12297" y="4233"/>
                </a:cubicBezTo>
                <a:cubicBezTo>
                  <a:pt x="12303" y="4219"/>
                  <a:pt x="12325" y="4221"/>
                  <a:pt x="12338" y="4219"/>
                </a:cubicBezTo>
                <a:cubicBezTo>
                  <a:pt x="12350" y="4218"/>
                  <a:pt x="12357" y="4194"/>
                  <a:pt x="12356" y="4186"/>
                </a:cubicBezTo>
                <a:cubicBezTo>
                  <a:pt x="12354" y="4178"/>
                  <a:pt x="12334" y="4186"/>
                  <a:pt x="12334" y="4186"/>
                </a:cubicBezTo>
                <a:cubicBezTo>
                  <a:pt x="12334" y="4186"/>
                  <a:pt x="12331" y="4173"/>
                  <a:pt x="12343" y="4160"/>
                </a:cubicBezTo>
                <a:cubicBezTo>
                  <a:pt x="12356" y="4149"/>
                  <a:pt x="12383" y="4154"/>
                  <a:pt x="12394" y="4156"/>
                </a:cubicBezTo>
                <a:cubicBezTo>
                  <a:pt x="12405" y="4159"/>
                  <a:pt x="12405" y="4142"/>
                  <a:pt x="12405" y="4142"/>
                </a:cubicBezTo>
                <a:cubicBezTo>
                  <a:pt x="12379" y="4120"/>
                  <a:pt x="12379" y="4120"/>
                  <a:pt x="12379" y="4120"/>
                </a:cubicBezTo>
                <a:cubicBezTo>
                  <a:pt x="12379" y="4093"/>
                  <a:pt x="12379" y="4093"/>
                  <a:pt x="12379" y="4093"/>
                </a:cubicBezTo>
                <a:cubicBezTo>
                  <a:pt x="12379" y="4093"/>
                  <a:pt x="12360" y="4092"/>
                  <a:pt x="12360" y="4084"/>
                </a:cubicBezTo>
                <a:cubicBezTo>
                  <a:pt x="12360" y="4076"/>
                  <a:pt x="12372" y="4064"/>
                  <a:pt x="12371" y="4053"/>
                </a:cubicBezTo>
                <a:cubicBezTo>
                  <a:pt x="12370" y="4041"/>
                  <a:pt x="12337" y="4038"/>
                  <a:pt x="12337" y="4038"/>
                </a:cubicBezTo>
                <a:cubicBezTo>
                  <a:pt x="12348" y="4020"/>
                  <a:pt x="12348" y="4020"/>
                  <a:pt x="12348" y="4020"/>
                </a:cubicBezTo>
                <a:cubicBezTo>
                  <a:pt x="12337" y="4015"/>
                  <a:pt x="12337" y="4015"/>
                  <a:pt x="12337" y="4015"/>
                </a:cubicBezTo>
                <a:cubicBezTo>
                  <a:pt x="12341" y="3995"/>
                  <a:pt x="12341" y="3995"/>
                  <a:pt x="12341" y="3995"/>
                </a:cubicBezTo>
                <a:cubicBezTo>
                  <a:pt x="12333" y="3984"/>
                  <a:pt x="12333" y="3984"/>
                  <a:pt x="12333" y="3984"/>
                </a:cubicBezTo>
                <a:cubicBezTo>
                  <a:pt x="12333" y="3984"/>
                  <a:pt x="12333" y="3984"/>
                  <a:pt x="12333" y="3984"/>
                </a:cubicBezTo>
                <a:cubicBezTo>
                  <a:pt x="12332" y="3983"/>
                  <a:pt x="12332" y="3983"/>
                  <a:pt x="12332" y="3983"/>
                </a:cubicBezTo>
                <a:cubicBezTo>
                  <a:pt x="12345" y="3980"/>
                  <a:pt x="12345" y="3980"/>
                  <a:pt x="12345" y="3980"/>
                </a:cubicBezTo>
                <a:cubicBezTo>
                  <a:pt x="12336" y="3938"/>
                  <a:pt x="12336" y="3938"/>
                  <a:pt x="12336" y="3938"/>
                </a:cubicBezTo>
                <a:cubicBezTo>
                  <a:pt x="12336" y="3938"/>
                  <a:pt x="12351" y="3954"/>
                  <a:pt x="12360" y="3956"/>
                </a:cubicBezTo>
                <a:cubicBezTo>
                  <a:pt x="12370" y="3957"/>
                  <a:pt x="12385" y="3954"/>
                  <a:pt x="12385" y="3954"/>
                </a:cubicBezTo>
                <a:cubicBezTo>
                  <a:pt x="12385" y="3954"/>
                  <a:pt x="12360" y="3930"/>
                  <a:pt x="12366" y="3920"/>
                </a:cubicBezTo>
                <a:cubicBezTo>
                  <a:pt x="12371" y="3909"/>
                  <a:pt x="12402" y="3925"/>
                  <a:pt x="12402" y="3925"/>
                </a:cubicBezTo>
                <a:cubicBezTo>
                  <a:pt x="12419" y="3905"/>
                  <a:pt x="12419" y="3905"/>
                  <a:pt x="12419" y="3905"/>
                </a:cubicBezTo>
                <a:cubicBezTo>
                  <a:pt x="12402" y="3899"/>
                  <a:pt x="12402" y="3899"/>
                  <a:pt x="12402" y="3899"/>
                </a:cubicBezTo>
                <a:cubicBezTo>
                  <a:pt x="12402" y="3899"/>
                  <a:pt x="12399" y="3887"/>
                  <a:pt x="12391" y="3882"/>
                </a:cubicBezTo>
                <a:cubicBezTo>
                  <a:pt x="12383" y="3876"/>
                  <a:pt x="12351" y="3871"/>
                  <a:pt x="12351" y="3871"/>
                </a:cubicBezTo>
                <a:cubicBezTo>
                  <a:pt x="12351" y="3871"/>
                  <a:pt x="12350" y="3852"/>
                  <a:pt x="12338" y="3840"/>
                </a:cubicBezTo>
                <a:cubicBezTo>
                  <a:pt x="12325" y="3827"/>
                  <a:pt x="12312" y="3836"/>
                  <a:pt x="12312" y="3836"/>
                </a:cubicBezTo>
                <a:cubicBezTo>
                  <a:pt x="12301" y="3795"/>
                  <a:pt x="12301" y="3795"/>
                  <a:pt x="12301" y="3795"/>
                </a:cubicBezTo>
                <a:cubicBezTo>
                  <a:pt x="12297" y="3808"/>
                  <a:pt x="12297" y="3808"/>
                  <a:pt x="12297" y="3808"/>
                </a:cubicBezTo>
                <a:cubicBezTo>
                  <a:pt x="12287" y="3794"/>
                  <a:pt x="12287" y="3794"/>
                  <a:pt x="12287" y="3794"/>
                </a:cubicBezTo>
                <a:cubicBezTo>
                  <a:pt x="12281" y="3835"/>
                  <a:pt x="12281" y="3835"/>
                  <a:pt x="12281" y="3835"/>
                </a:cubicBezTo>
                <a:cubicBezTo>
                  <a:pt x="12281" y="3835"/>
                  <a:pt x="12266" y="3839"/>
                  <a:pt x="12259" y="3844"/>
                </a:cubicBezTo>
                <a:cubicBezTo>
                  <a:pt x="12252" y="3849"/>
                  <a:pt x="12251" y="3871"/>
                  <a:pt x="12251" y="3871"/>
                </a:cubicBezTo>
                <a:cubicBezTo>
                  <a:pt x="12234" y="3877"/>
                  <a:pt x="12234" y="3877"/>
                  <a:pt x="12234" y="3877"/>
                </a:cubicBezTo>
                <a:cubicBezTo>
                  <a:pt x="12241" y="3901"/>
                  <a:pt x="12241" y="3901"/>
                  <a:pt x="12241" y="3901"/>
                </a:cubicBezTo>
                <a:cubicBezTo>
                  <a:pt x="12241" y="3901"/>
                  <a:pt x="12217" y="3898"/>
                  <a:pt x="12201" y="3895"/>
                </a:cubicBezTo>
                <a:cubicBezTo>
                  <a:pt x="12186" y="3891"/>
                  <a:pt x="12185" y="3930"/>
                  <a:pt x="12185" y="3930"/>
                </a:cubicBezTo>
                <a:cubicBezTo>
                  <a:pt x="12158" y="3960"/>
                  <a:pt x="12158" y="3960"/>
                  <a:pt x="12158" y="3960"/>
                </a:cubicBezTo>
                <a:cubicBezTo>
                  <a:pt x="12158" y="3960"/>
                  <a:pt x="12150" y="3995"/>
                  <a:pt x="12134" y="4007"/>
                </a:cubicBezTo>
                <a:cubicBezTo>
                  <a:pt x="12118" y="4018"/>
                  <a:pt x="12077" y="4026"/>
                  <a:pt x="12068" y="4029"/>
                </a:cubicBezTo>
                <a:cubicBezTo>
                  <a:pt x="12059" y="4031"/>
                  <a:pt x="12027" y="4056"/>
                  <a:pt x="12027" y="4056"/>
                </a:cubicBezTo>
                <a:cubicBezTo>
                  <a:pt x="12018" y="4079"/>
                  <a:pt x="12018" y="4079"/>
                  <a:pt x="12018" y="4079"/>
                </a:cubicBezTo>
                <a:cubicBezTo>
                  <a:pt x="12018" y="4079"/>
                  <a:pt x="12042" y="4097"/>
                  <a:pt x="12023" y="4111"/>
                </a:cubicBezTo>
                <a:cubicBezTo>
                  <a:pt x="12005" y="4125"/>
                  <a:pt x="11992" y="4102"/>
                  <a:pt x="11981" y="4099"/>
                </a:cubicBezTo>
                <a:cubicBezTo>
                  <a:pt x="11971" y="4097"/>
                  <a:pt x="11958" y="4116"/>
                  <a:pt x="11958" y="4116"/>
                </a:cubicBezTo>
                <a:cubicBezTo>
                  <a:pt x="11958" y="4116"/>
                  <a:pt x="11939" y="4098"/>
                  <a:pt x="11926" y="4112"/>
                </a:cubicBezTo>
                <a:cubicBezTo>
                  <a:pt x="11912" y="4127"/>
                  <a:pt x="11905" y="4163"/>
                  <a:pt x="11905" y="4163"/>
                </a:cubicBezTo>
                <a:cubicBezTo>
                  <a:pt x="11921" y="4185"/>
                  <a:pt x="11921" y="4185"/>
                  <a:pt x="11921" y="4185"/>
                </a:cubicBezTo>
                <a:cubicBezTo>
                  <a:pt x="11928" y="4220"/>
                  <a:pt x="11928" y="4220"/>
                  <a:pt x="11928" y="4220"/>
                </a:cubicBezTo>
                <a:cubicBezTo>
                  <a:pt x="11959" y="4238"/>
                  <a:pt x="11959" y="4238"/>
                  <a:pt x="11959" y="4238"/>
                </a:cubicBezTo>
                <a:cubicBezTo>
                  <a:pt x="11954" y="4262"/>
                  <a:pt x="11954" y="4262"/>
                  <a:pt x="11954" y="4262"/>
                </a:cubicBezTo>
                <a:cubicBezTo>
                  <a:pt x="11971" y="4273"/>
                  <a:pt x="11971" y="4273"/>
                  <a:pt x="11971" y="4273"/>
                </a:cubicBezTo>
                <a:cubicBezTo>
                  <a:pt x="11960" y="4292"/>
                  <a:pt x="11960" y="4292"/>
                  <a:pt x="11960" y="4292"/>
                </a:cubicBezTo>
                <a:cubicBezTo>
                  <a:pt x="11973" y="4310"/>
                  <a:pt x="11973" y="4310"/>
                  <a:pt x="11973" y="4310"/>
                </a:cubicBezTo>
                <a:cubicBezTo>
                  <a:pt x="11962" y="4317"/>
                  <a:pt x="11962" y="4317"/>
                  <a:pt x="11962" y="4317"/>
                </a:cubicBezTo>
                <a:cubicBezTo>
                  <a:pt x="11972" y="4355"/>
                  <a:pt x="11972" y="4355"/>
                  <a:pt x="11972" y="4355"/>
                </a:cubicBezTo>
                <a:cubicBezTo>
                  <a:pt x="12000" y="4351"/>
                  <a:pt x="12000" y="4351"/>
                  <a:pt x="12000" y="4351"/>
                </a:cubicBezTo>
                <a:cubicBezTo>
                  <a:pt x="12020" y="4358"/>
                  <a:pt x="12020" y="4358"/>
                  <a:pt x="12020" y="4358"/>
                </a:cubicBezTo>
                <a:cubicBezTo>
                  <a:pt x="12020" y="4358"/>
                  <a:pt x="12032" y="4336"/>
                  <a:pt x="12044" y="4336"/>
                </a:cubicBezTo>
                <a:cubicBezTo>
                  <a:pt x="12056" y="4336"/>
                  <a:pt x="12044" y="4368"/>
                  <a:pt x="12056" y="4378"/>
                </a:cubicBezTo>
                <a:cubicBezTo>
                  <a:pt x="12067" y="4387"/>
                  <a:pt x="12077" y="4357"/>
                  <a:pt x="12077" y="4357"/>
                </a:cubicBezTo>
                <a:cubicBezTo>
                  <a:pt x="12095" y="4369"/>
                  <a:pt x="12095" y="4369"/>
                  <a:pt x="12095" y="4369"/>
                </a:cubicBezTo>
                <a:cubicBezTo>
                  <a:pt x="12095" y="4369"/>
                  <a:pt x="12111" y="4355"/>
                  <a:pt x="12120" y="4355"/>
                </a:cubicBezTo>
                <a:cubicBezTo>
                  <a:pt x="12129" y="4354"/>
                  <a:pt x="12123" y="4380"/>
                  <a:pt x="12133" y="4383"/>
                </a:cubicBezTo>
                <a:cubicBezTo>
                  <a:pt x="12143" y="4387"/>
                  <a:pt x="12174" y="4371"/>
                  <a:pt x="12190" y="4374"/>
                </a:cubicBezTo>
                <a:cubicBezTo>
                  <a:pt x="12206" y="4378"/>
                  <a:pt x="12191" y="4427"/>
                  <a:pt x="12191" y="4427"/>
                </a:cubicBezTo>
                <a:cubicBezTo>
                  <a:pt x="12191" y="4427"/>
                  <a:pt x="12205" y="4423"/>
                  <a:pt x="12221" y="4416"/>
                </a:cubicBezTo>
                <a:cubicBezTo>
                  <a:pt x="12237" y="4408"/>
                  <a:pt x="12259" y="4369"/>
                  <a:pt x="12259" y="4369"/>
                </a:cubicBezTo>
                <a:cubicBezTo>
                  <a:pt x="12259" y="4369"/>
                  <a:pt x="12280" y="4352"/>
                  <a:pt x="12286" y="4345"/>
                </a:cubicBezTo>
                <a:close/>
                <a:moveTo>
                  <a:pt x="12956" y="4630"/>
                </a:moveTo>
                <a:cubicBezTo>
                  <a:pt x="12975" y="4615"/>
                  <a:pt x="12975" y="4615"/>
                  <a:pt x="12975" y="4615"/>
                </a:cubicBezTo>
                <a:cubicBezTo>
                  <a:pt x="12975" y="4615"/>
                  <a:pt x="12997" y="4623"/>
                  <a:pt x="12997" y="4601"/>
                </a:cubicBezTo>
                <a:cubicBezTo>
                  <a:pt x="12997" y="4579"/>
                  <a:pt x="12946" y="4605"/>
                  <a:pt x="12946" y="4624"/>
                </a:cubicBezTo>
                <a:lnTo>
                  <a:pt x="12956" y="4630"/>
                </a:lnTo>
                <a:close/>
                <a:moveTo>
                  <a:pt x="12188" y="4632"/>
                </a:moveTo>
                <a:cubicBezTo>
                  <a:pt x="12185" y="4651"/>
                  <a:pt x="12185" y="4651"/>
                  <a:pt x="12185" y="4651"/>
                </a:cubicBezTo>
                <a:cubicBezTo>
                  <a:pt x="12185" y="4651"/>
                  <a:pt x="12195" y="4679"/>
                  <a:pt x="12208" y="4668"/>
                </a:cubicBezTo>
                <a:cubicBezTo>
                  <a:pt x="12221" y="4658"/>
                  <a:pt x="12224" y="4632"/>
                  <a:pt x="12214" y="4632"/>
                </a:cubicBezTo>
                <a:cubicBezTo>
                  <a:pt x="12204" y="4632"/>
                  <a:pt x="12188" y="4632"/>
                  <a:pt x="12188" y="4632"/>
                </a:cubicBezTo>
                <a:close/>
                <a:moveTo>
                  <a:pt x="12905" y="4830"/>
                </a:moveTo>
                <a:cubicBezTo>
                  <a:pt x="12914" y="4840"/>
                  <a:pt x="12930" y="4808"/>
                  <a:pt x="12930" y="4808"/>
                </a:cubicBezTo>
                <a:cubicBezTo>
                  <a:pt x="12920" y="4794"/>
                  <a:pt x="12896" y="4819"/>
                  <a:pt x="12905" y="4830"/>
                </a:cubicBezTo>
                <a:close/>
                <a:moveTo>
                  <a:pt x="12245" y="4630"/>
                </a:moveTo>
                <a:cubicBezTo>
                  <a:pt x="12235" y="4629"/>
                  <a:pt x="12229" y="4640"/>
                  <a:pt x="12229" y="4640"/>
                </a:cubicBezTo>
                <a:cubicBezTo>
                  <a:pt x="12229" y="4640"/>
                  <a:pt x="12246" y="4655"/>
                  <a:pt x="12257" y="4648"/>
                </a:cubicBezTo>
                <a:cubicBezTo>
                  <a:pt x="12267" y="4640"/>
                  <a:pt x="12255" y="4632"/>
                  <a:pt x="12245" y="4630"/>
                </a:cubicBezTo>
                <a:close/>
                <a:moveTo>
                  <a:pt x="13136" y="4491"/>
                </a:moveTo>
                <a:cubicBezTo>
                  <a:pt x="13117" y="4495"/>
                  <a:pt x="13117" y="4495"/>
                  <a:pt x="13117" y="4495"/>
                </a:cubicBezTo>
                <a:cubicBezTo>
                  <a:pt x="13112" y="4516"/>
                  <a:pt x="13112" y="4516"/>
                  <a:pt x="13112" y="4516"/>
                </a:cubicBezTo>
                <a:cubicBezTo>
                  <a:pt x="13102" y="4526"/>
                  <a:pt x="13102" y="4526"/>
                  <a:pt x="13102" y="4526"/>
                </a:cubicBezTo>
                <a:cubicBezTo>
                  <a:pt x="13104" y="4561"/>
                  <a:pt x="13104" y="4561"/>
                  <a:pt x="13104" y="4561"/>
                </a:cubicBezTo>
                <a:cubicBezTo>
                  <a:pt x="13115" y="4564"/>
                  <a:pt x="13115" y="4564"/>
                  <a:pt x="13115" y="4564"/>
                </a:cubicBezTo>
                <a:cubicBezTo>
                  <a:pt x="13114" y="4551"/>
                  <a:pt x="13114" y="4551"/>
                  <a:pt x="13114" y="4551"/>
                </a:cubicBezTo>
                <a:cubicBezTo>
                  <a:pt x="13121" y="4548"/>
                  <a:pt x="13121" y="4548"/>
                  <a:pt x="13121" y="4548"/>
                </a:cubicBezTo>
                <a:cubicBezTo>
                  <a:pt x="13120" y="4533"/>
                  <a:pt x="13120" y="4533"/>
                  <a:pt x="13120" y="4533"/>
                </a:cubicBezTo>
                <a:cubicBezTo>
                  <a:pt x="13111" y="4533"/>
                  <a:pt x="13111" y="4533"/>
                  <a:pt x="13111" y="4533"/>
                </a:cubicBezTo>
                <a:cubicBezTo>
                  <a:pt x="13123" y="4513"/>
                  <a:pt x="13123" y="4513"/>
                  <a:pt x="13123" y="4513"/>
                </a:cubicBezTo>
                <a:lnTo>
                  <a:pt x="13136" y="4491"/>
                </a:lnTo>
                <a:close/>
                <a:moveTo>
                  <a:pt x="14354" y="4634"/>
                </a:moveTo>
                <a:cubicBezTo>
                  <a:pt x="14354" y="4634"/>
                  <a:pt x="14343" y="4669"/>
                  <a:pt x="14349" y="4680"/>
                </a:cubicBezTo>
                <a:cubicBezTo>
                  <a:pt x="14356" y="4690"/>
                  <a:pt x="14383" y="4710"/>
                  <a:pt x="14383" y="4710"/>
                </a:cubicBezTo>
                <a:lnTo>
                  <a:pt x="14354" y="4634"/>
                </a:lnTo>
                <a:close/>
                <a:moveTo>
                  <a:pt x="11730" y="4507"/>
                </a:moveTo>
                <a:cubicBezTo>
                  <a:pt x="11735" y="4502"/>
                  <a:pt x="11735" y="4487"/>
                  <a:pt x="11735" y="4487"/>
                </a:cubicBezTo>
                <a:cubicBezTo>
                  <a:pt x="11754" y="4505"/>
                  <a:pt x="11754" y="4505"/>
                  <a:pt x="11754" y="4505"/>
                </a:cubicBezTo>
                <a:cubicBezTo>
                  <a:pt x="11754" y="4505"/>
                  <a:pt x="11762" y="4482"/>
                  <a:pt x="11762" y="4466"/>
                </a:cubicBezTo>
                <a:cubicBezTo>
                  <a:pt x="11762" y="4450"/>
                  <a:pt x="11771" y="4406"/>
                  <a:pt x="11771" y="4406"/>
                </a:cubicBezTo>
                <a:cubicBezTo>
                  <a:pt x="11771" y="4406"/>
                  <a:pt x="11762" y="4401"/>
                  <a:pt x="11762" y="4391"/>
                </a:cubicBezTo>
                <a:cubicBezTo>
                  <a:pt x="11762" y="4382"/>
                  <a:pt x="11781" y="4367"/>
                  <a:pt x="11775" y="4362"/>
                </a:cubicBezTo>
                <a:cubicBezTo>
                  <a:pt x="11770" y="4357"/>
                  <a:pt x="11765" y="4353"/>
                  <a:pt x="11765" y="4353"/>
                </a:cubicBezTo>
                <a:cubicBezTo>
                  <a:pt x="11757" y="4322"/>
                  <a:pt x="11757" y="4322"/>
                  <a:pt x="11757" y="4322"/>
                </a:cubicBezTo>
                <a:cubicBezTo>
                  <a:pt x="11729" y="4323"/>
                  <a:pt x="11729" y="4323"/>
                  <a:pt x="11729" y="4323"/>
                </a:cubicBezTo>
                <a:cubicBezTo>
                  <a:pt x="11729" y="4323"/>
                  <a:pt x="11733" y="4305"/>
                  <a:pt x="11726" y="4301"/>
                </a:cubicBezTo>
                <a:cubicBezTo>
                  <a:pt x="11719" y="4297"/>
                  <a:pt x="11705" y="4298"/>
                  <a:pt x="11705" y="4298"/>
                </a:cubicBezTo>
                <a:cubicBezTo>
                  <a:pt x="11699" y="4251"/>
                  <a:pt x="11699" y="4251"/>
                  <a:pt x="11699" y="4251"/>
                </a:cubicBezTo>
                <a:cubicBezTo>
                  <a:pt x="11699" y="4251"/>
                  <a:pt x="11657" y="4255"/>
                  <a:pt x="11654" y="4242"/>
                </a:cubicBezTo>
                <a:cubicBezTo>
                  <a:pt x="11651" y="4229"/>
                  <a:pt x="11665" y="4213"/>
                  <a:pt x="11665" y="4213"/>
                </a:cubicBezTo>
                <a:cubicBezTo>
                  <a:pt x="11649" y="4211"/>
                  <a:pt x="11649" y="4211"/>
                  <a:pt x="11649" y="4211"/>
                </a:cubicBezTo>
                <a:cubicBezTo>
                  <a:pt x="11649" y="4211"/>
                  <a:pt x="11674" y="4182"/>
                  <a:pt x="11665" y="4174"/>
                </a:cubicBezTo>
                <a:cubicBezTo>
                  <a:pt x="11655" y="4166"/>
                  <a:pt x="11613" y="4185"/>
                  <a:pt x="11613" y="4185"/>
                </a:cubicBezTo>
                <a:cubicBezTo>
                  <a:pt x="11613" y="4185"/>
                  <a:pt x="11638" y="4161"/>
                  <a:pt x="11630" y="4157"/>
                </a:cubicBezTo>
                <a:cubicBezTo>
                  <a:pt x="11622" y="4153"/>
                  <a:pt x="11598" y="4149"/>
                  <a:pt x="11598" y="4149"/>
                </a:cubicBezTo>
                <a:cubicBezTo>
                  <a:pt x="11598" y="4149"/>
                  <a:pt x="11609" y="4141"/>
                  <a:pt x="11595" y="4123"/>
                </a:cubicBezTo>
                <a:cubicBezTo>
                  <a:pt x="11582" y="4106"/>
                  <a:pt x="11559" y="4105"/>
                  <a:pt x="11559" y="4105"/>
                </a:cubicBezTo>
                <a:cubicBezTo>
                  <a:pt x="11559" y="4105"/>
                  <a:pt x="11553" y="4085"/>
                  <a:pt x="11546" y="4077"/>
                </a:cubicBezTo>
                <a:cubicBezTo>
                  <a:pt x="11539" y="4069"/>
                  <a:pt x="11530" y="4075"/>
                  <a:pt x="11530" y="4075"/>
                </a:cubicBezTo>
                <a:cubicBezTo>
                  <a:pt x="11534" y="4090"/>
                  <a:pt x="11534" y="4090"/>
                  <a:pt x="11534" y="4090"/>
                </a:cubicBezTo>
                <a:cubicBezTo>
                  <a:pt x="11534" y="4090"/>
                  <a:pt x="11509" y="4071"/>
                  <a:pt x="11503" y="4065"/>
                </a:cubicBezTo>
                <a:cubicBezTo>
                  <a:pt x="11498" y="4058"/>
                  <a:pt x="11487" y="4031"/>
                  <a:pt x="11487" y="4031"/>
                </a:cubicBezTo>
                <a:cubicBezTo>
                  <a:pt x="11487" y="4031"/>
                  <a:pt x="11457" y="4010"/>
                  <a:pt x="11443" y="3998"/>
                </a:cubicBezTo>
                <a:cubicBezTo>
                  <a:pt x="11430" y="3986"/>
                  <a:pt x="11407" y="3967"/>
                  <a:pt x="11407" y="3967"/>
                </a:cubicBezTo>
                <a:cubicBezTo>
                  <a:pt x="11407" y="3967"/>
                  <a:pt x="11411" y="3962"/>
                  <a:pt x="11406" y="3957"/>
                </a:cubicBezTo>
                <a:cubicBezTo>
                  <a:pt x="11401" y="3951"/>
                  <a:pt x="11394" y="3945"/>
                  <a:pt x="11394" y="3945"/>
                </a:cubicBezTo>
                <a:cubicBezTo>
                  <a:pt x="11394" y="3945"/>
                  <a:pt x="11383" y="3926"/>
                  <a:pt x="11375" y="3919"/>
                </a:cubicBezTo>
                <a:cubicBezTo>
                  <a:pt x="11367" y="3913"/>
                  <a:pt x="11359" y="3914"/>
                  <a:pt x="11359" y="3914"/>
                </a:cubicBezTo>
                <a:cubicBezTo>
                  <a:pt x="11302" y="3910"/>
                  <a:pt x="11302" y="3910"/>
                  <a:pt x="11302" y="3910"/>
                </a:cubicBezTo>
                <a:cubicBezTo>
                  <a:pt x="11302" y="3910"/>
                  <a:pt x="11282" y="3885"/>
                  <a:pt x="11271" y="3887"/>
                </a:cubicBezTo>
                <a:cubicBezTo>
                  <a:pt x="11261" y="3890"/>
                  <a:pt x="11255" y="3914"/>
                  <a:pt x="11262" y="3926"/>
                </a:cubicBezTo>
                <a:cubicBezTo>
                  <a:pt x="11269" y="3938"/>
                  <a:pt x="11343" y="4006"/>
                  <a:pt x="11343" y="4006"/>
                </a:cubicBezTo>
                <a:cubicBezTo>
                  <a:pt x="11366" y="4042"/>
                  <a:pt x="11366" y="4042"/>
                  <a:pt x="11366" y="4042"/>
                </a:cubicBezTo>
                <a:cubicBezTo>
                  <a:pt x="11374" y="4039"/>
                  <a:pt x="11374" y="4039"/>
                  <a:pt x="11374" y="4039"/>
                </a:cubicBezTo>
                <a:cubicBezTo>
                  <a:pt x="11374" y="4039"/>
                  <a:pt x="11377" y="4063"/>
                  <a:pt x="11383" y="4069"/>
                </a:cubicBezTo>
                <a:cubicBezTo>
                  <a:pt x="11390" y="4074"/>
                  <a:pt x="11425" y="4087"/>
                  <a:pt x="11433" y="4103"/>
                </a:cubicBezTo>
                <a:cubicBezTo>
                  <a:pt x="11441" y="4119"/>
                  <a:pt x="11449" y="4151"/>
                  <a:pt x="11449" y="4151"/>
                </a:cubicBezTo>
                <a:cubicBezTo>
                  <a:pt x="11449" y="4151"/>
                  <a:pt x="11446" y="4186"/>
                  <a:pt x="11454" y="4186"/>
                </a:cubicBezTo>
                <a:cubicBezTo>
                  <a:pt x="11462" y="4186"/>
                  <a:pt x="11474" y="4178"/>
                  <a:pt x="11477" y="4187"/>
                </a:cubicBezTo>
                <a:cubicBezTo>
                  <a:pt x="11479" y="4197"/>
                  <a:pt x="11485" y="4213"/>
                  <a:pt x="11485" y="4213"/>
                </a:cubicBezTo>
                <a:cubicBezTo>
                  <a:pt x="11510" y="4234"/>
                  <a:pt x="11510" y="4234"/>
                  <a:pt x="11510" y="4234"/>
                </a:cubicBezTo>
                <a:cubicBezTo>
                  <a:pt x="11509" y="4250"/>
                  <a:pt x="11509" y="4250"/>
                  <a:pt x="11509" y="4250"/>
                </a:cubicBezTo>
                <a:cubicBezTo>
                  <a:pt x="11530" y="4293"/>
                  <a:pt x="11530" y="4293"/>
                  <a:pt x="11530" y="4293"/>
                </a:cubicBezTo>
                <a:cubicBezTo>
                  <a:pt x="11530" y="4293"/>
                  <a:pt x="11523" y="4306"/>
                  <a:pt x="11533" y="4321"/>
                </a:cubicBezTo>
                <a:cubicBezTo>
                  <a:pt x="11542" y="4335"/>
                  <a:pt x="11551" y="4338"/>
                  <a:pt x="11551" y="4338"/>
                </a:cubicBezTo>
                <a:cubicBezTo>
                  <a:pt x="11551" y="4338"/>
                  <a:pt x="11561" y="4362"/>
                  <a:pt x="11569" y="4370"/>
                </a:cubicBezTo>
                <a:cubicBezTo>
                  <a:pt x="11577" y="4378"/>
                  <a:pt x="11598" y="4386"/>
                  <a:pt x="11598" y="4386"/>
                </a:cubicBezTo>
                <a:cubicBezTo>
                  <a:pt x="11598" y="4411"/>
                  <a:pt x="11598" y="4411"/>
                  <a:pt x="11598" y="4411"/>
                </a:cubicBezTo>
                <a:cubicBezTo>
                  <a:pt x="11598" y="4411"/>
                  <a:pt x="11647" y="4453"/>
                  <a:pt x="11650" y="4457"/>
                </a:cubicBezTo>
                <a:cubicBezTo>
                  <a:pt x="11653" y="4461"/>
                  <a:pt x="11666" y="4462"/>
                  <a:pt x="11666" y="4462"/>
                </a:cubicBezTo>
                <a:cubicBezTo>
                  <a:pt x="11666" y="4462"/>
                  <a:pt x="11677" y="4487"/>
                  <a:pt x="11685" y="4491"/>
                </a:cubicBezTo>
                <a:cubicBezTo>
                  <a:pt x="11693" y="4495"/>
                  <a:pt x="11695" y="4517"/>
                  <a:pt x="11699" y="4515"/>
                </a:cubicBezTo>
                <a:cubicBezTo>
                  <a:pt x="11703" y="4514"/>
                  <a:pt x="11697" y="4493"/>
                  <a:pt x="11702" y="4490"/>
                </a:cubicBezTo>
                <a:cubicBezTo>
                  <a:pt x="11707" y="4487"/>
                  <a:pt x="11725" y="4513"/>
                  <a:pt x="11730" y="4507"/>
                </a:cubicBezTo>
                <a:close/>
                <a:moveTo>
                  <a:pt x="13238" y="6397"/>
                </a:moveTo>
                <a:cubicBezTo>
                  <a:pt x="13229" y="6391"/>
                  <a:pt x="13218" y="6411"/>
                  <a:pt x="13218" y="6411"/>
                </a:cubicBezTo>
                <a:cubicBezTo>
                  <a:pt x="13218" y="6411"/>
                  <a:pt x="13214" y="6405"/>
                  <a:pt x="13210" y="6405"/>
                </a:cubicBezTo>
                <a:cubicBezTo>
                  <a:pt x="13206" y="6404"/>
                  <a:pt x="13183" y="6408"/>
                  <a:pt x="13183" y="6408"/>
                </a:cubicBezTo>
                <a:cubicBezTo>
                  <a:pt x="13180" y="6416"/>
                  <a:pt x="13180" y="6416"/>
                  <a:pt x="13180" y="6416"/>
                </a:cubicBezTo>
                <a:cubicBezTo>
                  <a:pt x="13167" y="6405"/>
                  <a:pt x="13167" y="6405"/>
                  <a:pt x="13167" y="6405"/>
                </a:cubicBezTo>
                <a:cubicBezTo>
                  <a:pt x="13142" y="6403"/>
                  <a:pt x="13142" y="6403"/>
                  <a:pt x="13142" y="6403"/>
                </a:cubicBezTo>
                <a:cubicBezTo>
                  <a:pt x="13127" y="6385"/>
                  <a:pt x="13127" y="6385"/>
                  <a:pt x="13127" y="6385"/>
                </a:cubicBezTo>
                <a:cubicBezTo>
                  <a:pt x="13127" y="6385"/>
                  <a:pt x="13122" y="6388"/>
                  <a:pt x="13116" y="6389"/>
                </a:cubicBezTo>
                <a:cubicBezTo>
                  <a:pt x="13111" y="6390"/>
                  <a:pt x="13094" y="6370"/>
                  <a:pt x="13094" y="6370"/>
                </a:cubicBezTo>
                <a:cubicBezTo>
                  <a:pt x="13090" y="6381"/>
                  <a:pt x="13090" y="6381"/>
                  <a:pt x="13090" y="6381"/>
                </a:cubicBezTo>
                <a:cubicBezTo>
                  <a:pt x="13094" y="6394"/>
                  <a:pt x="13094" y="6394"/>
                  <a:pt x="13094" y="6394"/>
                </a:cubicBezTo>
                <a:cubicBezTo>
                  <a:pt x="13094" y="6394"/>
                  <a:pt x="13095" y="6410"/>
                  <a:pt x="13093" y="6415"/>
                </a:cubicBezTo>
                <a:cubicBezTo>
                  <a:pt x="13091" y="6420"/>
                  <a:pt x="13085" y="6428"/>
                  <a:pt x="13091" y="6439"/>
                </a:cubicBezTo>
                <a:cubicBezTo>
                  <a:pt x="13097" y="6450"/>
                  <a:pt x="13090" y="6456"/>
                  <a:pt x="13082" y="6459"/>
                </a:cubicBezTo>
                <a:cubicBezTo>
                  <a:pt x="13073" y="6461"/>
                  <a:pt x="13066" y="6451"/>
                  <a:pt x="13066" y="6451"/>
                </a:cubicBezTo>
                <a:cubicBezTo>
                  <a:pt x="13066" y="6451"/>
                  <a:pt x="13062" y="6465"/>
                  <a:pt x="13061" y="6478"/>
                </a:cubicBezTo>
                <a:cubicBezTo>
                  <a:pt x="13060" y="6492"/>
                  <a:pt x="13072" y="6513"/>
                  <a:pt x="13072" y="6513"/>
                </a:cubicBezTo>
                <a:cubicBezTo>
                  <a:pt x="13087" y="6515"/>
                  <a:pt x="13087" y="6515"/>
                  <a:pt x="13087" y="6515"/>
                </a:cubicBezTo>
                <a:cubicBezTo>
                  <a:pt x="13074" y="6522"/>
                  <a:pt x="13074" y="6522"/>
                  <a:pt x="13074" y="6522"/>
                </a:cubicBezTo>
                <a:cubicBezTo>
                  <a:pt x="13079" y="6539"/>
                  <a:pt x="13079" y="6539"/>
                  <a:pt x="13079" y="6539"/>
                </a:cubicBezTo>
                <a:cubicBezTo>
                  <a:pt x="13079" y="6539"/>
                  <a:pt x="13091" y="6534"/>
                  <a:pt x="13097" y="6531"/>
                </a:cubicBezTo>
                <a:cubicBezTo>
                  <a:pt x="13104" y="6528"/>
                  <a:pt x="13109" y="6538"/>
                  <a:pt x="13120" y="6534"/>
                </a:cubicBezTo>
                <a:cubicBezTo>
                  <a:pt x="13131" y="6529"/>
                  <a:pt x="13138" y="6513"/>
                  <a:pt x="13145" y="6517"/>
                </a:cubicBezTo>
                <a:cubicBezTo>
                  <a:pt x="13153" y="6522"/>
                  <a:pt x="13142" y="6533"/>
                  <a:pt x="13142" y="6533"/>
                </a:cubicBezTo>
                <a:cubicBezTo>
                  <a:pt x="13153" y="6537"/>
                  <a:pt x="13153" y="6537"/>
                  <a:pt x="13153" y="6537"/>
                </a:cubicBezTo>
                <a:cubicBezTo>
                  <a:pt x="13153" y="6537"/>
                  <a:pt x="13174" y="6509"/>
                  <a:pt x="13183" y="6503"/>
                </a:cubicBezTo>
                <a:cubicBezTo>
                  <a:pt x="13191" y="6498"/>
                  <a:pt x="13174" y="6491"/>
                  <a:pt x="13174" y="6491"/>
                </a:cubicBezTo>
                <a:cubicBezTo>
                  <a:pt x="13188" y="6471"/>
                  <a:pt x="13188" y="6471"/>
                  <a:pt x="13188" y="6471"/>
                </a:cubicBezTo>
                <a:cubicBezTo>
                  <a:pt x="13188" y="6471"/>
                  <a:pt x="13198" y="6475"/>
                  <a:pt x="13209" y="6469"/>
                </a:cubicBezTo>
                <a:cubicBezTo>
                  <a:pt x="13220" y="6464"/>
                  <a:pt x="13211" y="6443"/>
                  <a:pt x="13221" y="6432"/>
                </a:cubicBezTo>
                <a:cubicBezTo>
                  <a:pt x="13232" y="6421"/>
                  <a:pt x="13246" y="6403"/>
                  <a:pt x="13238" y="6397"/>
                </a:cubicBezTo>
                <a:close/>
                <a:moveTo>
                  <a:pt x="11483" y="4331"/>
                </a:moveTo>
                <a:cubicBezTo>
                  <a:pt x="11475" y="4338"/>
                  <a:pt x="11493" y="4347"/>
                  <a:pt x="11493" y="4347"/>
                </a:cubicBezTo>
                <a:cubicBezTo>
                  <a:pt x="11493" y="4347"/>
                  <a:pt x="11505" y="4371"/>
                  <a:pt x="11513" y="4363"/>
                </a:cubicBezTo>
                <a:cubicBezTo>
                  <a:pt x="11521" y="4355"/>
                  <a:pt x="11489" y="4327"/>
                  <a:pt x="11483" y="4331"/>
                </a:cubicBezTo>
                <a:close/>
                <a:moveTo>
                  <a:pt x="13775" y="5539"/>
                </a:moveTo>
                <a:cubicBezTo>
                  <a:pt x="13775" y="5539"/>
                  <a:pt x="13772" y="5498"/>
                  <a:pt x="13771" y="5492"/>
                </a:cubicBezTo>
                <a:cubicBezTo>
                  <a:pt x="13769" y="5486"/>
                  <a:pt x="13749" y="5485"/>
                  <a:pt x="13749" y="5485"/>
                </a:cubicBezTo>
                <a:cubicBezTo>
                  <a:pt x="13749" y="5471"/>
                  <a:pt x="13749" y="5471"/>
                  <a:pt x="13749" y="5471"/>
                </a:cubicBezTo>
                <a:cubicBezTo>
                  <a:pt x="13736" y="5463"/>
                  <a:pt x="13736" y="5463"/>
                  <a:pt x="13736" y="5463"/>
                </a:cubicBezTo>
                <a:cubicBezTo>
                  <a:pt x="13736" y="5463"/>
                  <a:pt x="13741" y="5446"/>
                  <a:pt x="13736" y="5439"/>
                </a:cubicBezTo>
                <a:cubicBezTo>
                  <a:pt x="13731" y="5432"/>
                  <a:pt x="13711" y="5425"/>
                  <a:pt x="13711" y="5425"/>
                </a:cubicBezTo>
                <a:cubicBezTo>
                  <a:pt x="13711" y="5425"/>
                  <a:pt x="13746" y="5419"/>
                  <a:pt x="13748" y="5406"/>
                </a:cubicBezTo>
                <a:cubicBezTo>
                  <a:pt x="13750" y="5392"/>
                  <a:pt x="13728" y="5388"/>
                  <a:pt x="13728" y="5388"/>
                </a:cubicBezTo>
                <a:cubicBezTo>
                  <a:pt x="13728" y="5388"/>
                  <a:pt x="13721" y="5367"/>
                  <a:pt x="13710" y="5368"/>
                </a:cubicBezTo>
                <a:cubicBezTo>
                  <a:pt x="13698" y="5369"/>
                  <a:pt x="13703" y="5387"/>
                  <a:pt x="13703" y="5387"/>
                </a:cubicBezTo>
                <a:cubicBezTo>
                  <a:pt x="13689" y="5384"/>
                  <a:pt x="13689" y="5384"/>
                  <a:pt x="13689" y="5384"/>
                </a:cubicBezTo>
                <a:cubicBezTo>
                  <a:pt x="13689" y="5384"/>
                  <a:pt x="13702" y="5343"/>
                  <a:pt x="13702" y="5333"/>
                </a:cubicBezTo>
                <a:cubicBezTo>
                  <a:pt x="13701" y="5324"/>
                  <a:pt x="13681" y="5322"/>
                  <a:pt x="13677" y="5312"/>
                </a:cubicBezTo>
                <a:cubicBezTo>
                  <a:pt x="13674" y="5303"/>
                  <a:pt x="13687" y="5286"/>
                  <a:pt x="13683" y="5272"/>
                </a:cubicBezTo>
                <a:cubicBezTo>
                  <a:pt x="13679" y="5259"/>
                  <a:pt x="13619" y="5230"/>
                  <a:pt x="13619" y="5230"/>
                </a:cubicBezTo>
                <a:cubicBezTo>
                  <a:pt x="13613" y="5236"/>
                  <a:pt x="13613" y="5236"/>
                  <a:pt x="13613" y="5236"/>
                </a:cubicBezTo>
                <a:cubicBezTo>
                  <a:pt x="13613" y="5236"/>
                  <a:pt x="13585" y="5204"/>
                  <a:pt x="13583" y="5182"/>
                </a:cubicBezTo>
                <a:cubicBezTo>
                  <a:pt x="13582" y="5159"/>
                  <a:pt x="13591" y="5146"/>
                  <a:pt x="13591" y="5126"/>
                </a:cubicBezTo>
                <a:cubicBezTo>
                  <a:pt x="13591" y="5106"/>
                  <a:pt x="13572" y="5063"/>
                  <a:pt x="13568" y="5047"/>
                </a:cubicBezTo>
                <a:cubicBezTo>
                  <a:pt x="13564" y="5031"/>
                  <a:pt x="13575" y="5021"/>
                  <a:pt x="13577" y="5012"/>
                </a:cubicBezTo>
                <a:cubicBezTo>
                  <a:pt x="13579" y="5003"/>
                  <a:pt x="13572" y="4965"/>
                  <a:pt x="13572" y="4965"/>
                </a:cubicBezTo>
                <a:cubicBezTo>
                  <a:pt x="13555" y="4957"/>
                  <a:pt x="13555" y="4957"/>
                  <a:pt x="13555" y="4957"/>
                </a:cubicBezTo>
                <a:cubicBezTo>
                  <a:pt x="13555" y="4957"/>
                  <a:pt x="13541" y="4942"/>
                  <a:pt x="13531" y="4942"/>
                </a:cubicBezTo>
                <a:cubicBezTo>
                  <a:pt x="13521" y="4941"/>
                  <a:pt x="13515" y="4956"/>
                  <a:pt x="13515" y="4956"/>
                </a:cubicBezTo>
                <a:cubicBezTo>
                  <a:pt x="13515" y="4956"/>
                  <a:pt x="13508" y="4941"/>
                  <a:pt x="13507" y="4932"/>
                </a:cubicBezTo>
                <a:cubicBezTo>
                  <a:pt x="13506" y="4924"/>
                  <a:pt x="13513" y="4900"/>
                  <a:pt x="13513" y="4900"/>
                </a:cubicBezTo>
                <a:cubicBezTo>
                  <a:pt x="13502" y="4885"/>
                  <a:pt x="13502" y="4885"/>
                  <a:pt x="13502" y="4885"/>
                </a:cubicBezTo>
                <a:cubicBezTo>
                  <a:pt x="13502" y="4829"/>
                  <a:pt x="13502" y="4829"/>
                  <a:pt x="13502" y="4829"/>
                </a:cubicBezTo>
                <a:cubicBezTo>
                  <a:pt x="13502" y="4829"/>
                  <a:pt x="13481" y="4815"/>
                  <a:pt x="13484" y="4806"/>
                </a:cubicBezTo>
                <a:cubicBezTo>
                  <a:pt x="13488" y="4797"/>
                  <a:pt x="13492" y="4785"/>
                  <a:pt x="13487" y="4780"/>
                </a:cubicBezTo>
                <a:cubicBezTo>
                  <a:pt x="13482" y="4776"/>
                  <a:pt x="13470" y="4774"/>
                  <a:pt x="13470" y="4774"/>
                </a:cubicBezTo>
                <a:cubicBezTo>
                  <a:pt x="13471" y="4765"/>
                  <a:pt x="13471" y="4765"/>
                  <a:pt x="13471" y="4765"/>
                </a:cubicBezTo>
                <a:cubicBezTo>
                  <a:pt x="13451" y="4770"/>
                  <a:pt x="13451" y="4770"/>
                  <a:pt x="13451" y="4770"/>
                </a:cubicBezTo>
                <a:cubicBezTo>
                  <a:pt x="13447" y="4783"/>
                  <a:pt x="13447" y="4783"/>
                  <a:pt x="13447" y="4783"/>
                </a:cubicBezTo>
                <a:cubicBezTo>
                  <a:pt x="13447" y="4783"/>
                  <a:pt x="13435" y="4791"/>
                  <a:pt x="13429" y="4795"/>
                </a:cubicBezTo>
                <a:cubicBezTo>
                  <a:pt x="13424" y="4799"/>
                  <a:pt x="13437" y="4825"/>
                  <a:pt x="13437" y="4835"/>
                </a:cubicBezTo>
                <a:cubicBezTo>
                  <a:pt x="13436" y="4846"/>
                  <a:pt x="13402" y="4883"/>
                  <a:pt x="13402" y="4883"/>
                </a:cubicBezTo>
                <a:cubicBezTo>
                  <a:pt x="13413" y="4892"/>
                  <a:pt x="13413" y="4892"/>
                  <a:pt x="13413" y="4892"/>
                </a:cubicBezTo>
                <a:cubicBezTo>
                  <a:pt x="13413" y="4892"/>
                  <a:pt x="13398" y="4912"/>
                  <a:pt x="13396" y="4920"/>
                </a:cubicBezTo>
                <a:cubicBezTo>
                  <a:pt x="13394" y="4928"/>
                  <a:pt x="13400" y="4954"/>
                  <a:pt x="13400" y="4954"/>
                </a:cubicBezTo>
                <a:cubicBezTo>
                  <a:pt x="13400" y="4954"/>
                  <a:pt x="13379" y="5038"/>
                  <a:pt x="13378" y="5050"/>
                </a:cubicBezTo>
                <a:cubicBezTo>
                  <a:pt x="13377" y="5061"/>
                  <a:pt x="13350" y="5090"/>
                  <a:pt x="13350" y="5090"/>
                </a:cubicBezTo>
                <a:cubicBezTo>
                  <a:pt x="13350" y="5090"/>
                  <a:pt x="13351" y="5123"/>
                  <a:pt x="13334" y="5131"/>
                </a:cubicBezTo>
                <a:cubicBezTo>
                  <a:pt x="13317" y="5138"/>
                  <a:pt x="13281" y="5146"/>
                  <a:pt x="13281" y="5146"/>
                </a:cubicBezTo>
                <a:cubicBezTo>
                  <a:pt x="13281" y="5146"/>
                  <a:pt x="13260" y="5112"/>
                  <a:pt x="13255" y="5102"/>
                </a:cubicBezTo>
                <a:cubicBezTo>
                  <a:pt x="13250" y="5093"/>
                  <a:pt x="13209" y="5079"/>
                  <a:pt x="13189" y="5071"/>
                </a:cubicBezTo>
                <a:cubicBezTo>
                  <a:pt x="13168" y="5064"/>
                  <a:pt x="13155" y="5031"/>
                  <a:pt x="13152" y="5027"/>
                </a:cubicBezTo>
                <a:cubicBezTo>
                  <a:pt x="13149" y="5024"/>
                  <a:pt x="13129" y="5025"/>
                  <a:pt x="13129" y="5025"/>
                </a:cubicBezTo>
                <a:cubicBezTo>
                  <a:pt x="13113" y="4996"/>
                  <a:pt x="13113" y="4996"/>
                  <a:pt x="13113" y="4996"/>
                </a:cubicBezTo>
                <a:cubicBezTo>
                  <a:pt x="13126" y="4982"/>
                  <a:pt x="13126" y="4982"/>
                  <a:pt x="13126" y="4982"/>
                </a:cubicBezTo>
                <a:cubicBezTo>
                  <a:pt x="13126" y="4982"/>
                  <a:pt x="13119" y="4971"/>
                  <a:pt x="13127" y="4960"/>
                </a:cubicBezTo>
                <a:cubicBezTo>
                  <a:pt x="13135" y="4949"/>
                  <a:pt x="13145" y="4946"/>
                  <a:pt x="13145" y="4946"/>
                </a:cubicBezTo>
                <a:cubicBezTo>
                  <a:pt x="13141" y="4916"/>
                  <a:pt x="13141" y="4916"/>
                  <a:pt x="13141" y="4916"/>
                </a:cubicBezTo>
                <a:cubicBezTo>
                  <a:pt x="13154" y="4904"/>
                  <a:pt x="13154" y="4904"/>
                  <a:pt x="13154" y="4904"/>
                </a:cubicBezTo>
                <a:cubicBezTo>
                  <a:pt x="13154" y="4904"/>
                  <a:pt x="13168" y="4911"/>
                  <a:pt x="13173" y="4909"/>
                </a:cubicBezTo>
                <a:cubicBezTo>
                  <a:pt x="13179" y="4907"/>
                  <a:pt x="13180" y="4884"/>
                  <a:pt x="13180" y="4884"/>
                </a:cubicBezTo>
                <a:cubicBezTo>
                  <a:pt x="13205" y="4860"/>
                  <a:pt x="13205" y="4860"/>
                  <a:pt x="13205" y="4860"/>
                </a:cubicBezTo>
                <a:cubicBezTo>
                  <a:pt x="13205" y="4860"/>
                  <a:pt x="13191" y="4837"/>
                  <a:pt x="13175" y="4834"/>
                </a:cubicBezTo>
                <a:cubicBezTo>
                  <a:pt x="13158" y="4832"/>
                  <a:pt x="13137" y="4857"/>
                  <a:pt x="13137" y="4857"/>
                </a:cubicBezTo>
                <a:cubicBezTo>
                  <a:pt x="13135" y="4843"/>
                  <a:pt x="13135" y="4843"/>
                  <a:pt x="13135" y="4843"/>
                </a:cubicBezTo>
                <a:cubicBezTo>
                  <a:pt x="13115" y="4845"/>
                  <a:pt x="13115" y="4845"/>
                  <a:pt x="13115" y="4845"/>
                </a:cubicBezTo>
                <a:cubicBezTo>
                  <a:pt x="13106" y="4854"/>
                  <a:pt x="13106" y="4854"/>
                  <a:pt x="13106" y="4854"/>
                </a:cubicBezTo>
                <a:cubicBezTo>
                  <a:pt x="13100" y="4843"/>
                  <a:pt x="13100" y="4843"/>
                  <a:pt x="13100" y="4843"/>
                </a:cubicBezTo>
                <a:cubicBezTo>
                  <a:pt x="13076" y="4840"/>
                  <a:pt x="13076" y="4840"/>
                  <a:pt x="13076" y="4840"/>
                </a:cubicBezTo>
                <a:cubicBezTo>
                  <a:pt x="13076" y="4840"/>
                  <a:pt x="13050" y="4821"/>
                  <a:pt x="13045" y="4821"/>
                </a:cubicBezTo>
                <a:cubicBezTo>
                  <a:pt x="13041" y="4822"/>
                  <a:pt x="13007" y="4818"/>
                  <a:pt x="13007" y="4818"/>
                </a:cubicBezTo>
                <a:cubicBezTo>
                  <a:pt x="13007" y="4818"/>
                  <a:pt x="12999" y="4796"/>
                  <a:pt x="12992" y="4793"/>
                </a:cubicBezTo>
                <a:cubicBezTo>
                  <a:pt x="12986" y="4789"/>
                  <a:pt x="12984" y="4803"/>
                  <a:pt x="12984" y="4803"/>
                </a:cubicBezTo>
                <a:cubicBezTo>
                  <a:pt x="12984" y="4803"/>
                  <a:pt x="12959" y="4790"/>
                  <a:pt x="12953" y="4795"/>
                </a:cubicBezTo>
                <a:cubicBezTo>
                  <a:pt x="12947" y="4799"/>
                  <a:pt x="12956" y="4807"/>
                  <a:pt x="12956" y="4807"/>
                </a:cubicBezTo>
                <a:cubicBezTo>
                  <a:pt x="12956" y="4807"/>
                  <a:pt x="12943" y="4806"/>
                  <a:pt x="12941" y="4811"/>
                </a:cubicBezTo>
                <a:cubicBezTo>
                  <a:pt x="12938" y="4817"/>
                  <a:pt x="12955" y="4823"/>
                  <a:pt x="12966" y="4826"/>
                </a:cubicBezTo>
                <a:cubicBezTo>
                  <a:pt x="12977" y="4829"/>
                  <a:pt x="12983" y="4821"/>
                  <a:pt x="12983" y="4821"/>
                </a:cubicBezTo>
                <a:cubicBezTo>
                  <a:pt x="13005" y="4830"/>
                  <a:pt x="13005" y="4830"/>
                  <a:pt x="13005" y="4830"/>
                </a:cubicBezTo>
                <a:cubicBezTo>
                  <a:pt x="13005" y="4830"/>
                  <a:pt x="12983" y="4843"/>
                  <a:pt x="12971" y="4848"/>
                </a:cubicBezTo>
                <a:cubicBezTo>
                  <a:pt x="12960" y="4853"/>
                  <a:pt x="12926" y="4849"/>
                  <a:pt x="12918" y="4851"/>
                </a:cubicBezTo>
                <a:cubicBezTo>
                  <a:pt x="12911" y="4853"/>
                  <a:pt x="12861" y="4879"/>
                  <a:pt x="12861" y="4879"/>
                </a:cubicBezTo>
                <a:cubicBezTo>
                  <a:pt x="12861" y="4879"/>
                  <a:pt x="12855" y="4896"/>
                  <a:pt x="12854" y="4907"/>
                </a:cubicBezTo>
                <a:cubicBezTo>
                  <a:pt x="12853" y="4917"/>
                  <a:pt x="12874" y="4926"/>
                  <a:pt x="12874" y="4926"/>
                </a:cubicBezTo>
                <a:cubicBezTo>
                  <a:pt x="12841" y="4928"/>
                  <a:pt x="12841" y="4928"/>
                  <a:pt x="12841" y="4928"/>
                </a:cubicBezTo>
                <a:cubicBezTo>
                  <a:pt x="12818" y="4950"/>
                  <a:pt x="12818" y="4950"/>
                  <a:pt x="12818" y="4950"/>
                </a:cubicBezTo>
                <a:cubicBezTo>
                  <a:pt x="12818" y="4950"/>
                  <a:pt x="12822" y="4970"/>
                  <a:pt x="12816" y="4977"/>
                </a:cubicBezTo>
                <a:cubicBezTo>
                  <a:pt x="12810" y="4984"/>
                  <a:pt x="12833" y="4991"/>
                  <a:pt x="12842" y="4996"/>
                </a:cubicBezTo>
                <a:cubicBezTo>
                  <a:pt x="12852" y="5000"/>
                  <a:pt x="12848" y="5021"/>
                  <a:pt x="12848" y="5021"/>
                </a:cubicBezTo>
                <a:cubicBezTo>
                  <a:pt x="12833" y="5007"/>
                  <a:pt x="12833" y="5007"/>
                  <a:pt x="12833" y="5007"/>
                </a:cubicBezTo>
                <a:cubicBezTo>
                  <a:pt x="12813" y="5009"/>
                  <a:pt x="12813" y="5009"/>
                  <a:pt x="12813" y="5009"/>
                </a:cubicBezTo>
                <a:cubicBezTo>
                  <a:pt x="12805" y="5021"/>
                  <a:pt x="12805" y="5021"/>
                  <a:pt x="12805" y="5021"/>
                </a:cubicBezTo>
                <a:cubicBezTo>
                  <a:pt x="12778" y="5000"/>
                  <a:pt x="12778" y="5000"/>
                  <a:pt x="12778" y="5000"/>
                </a:cubicBezTo>
                <a:cubicBezTo>
                  <a:pt x="12775" y="5021"/>
                  <a:pt x="12775" y="5021"/>
                  <a:pt x="12775" y="5021"/>
                </a:cubicBezTo>
                <a:cubicBezTo>
                  <a:pt x="12759" y="5026"/>
                  <a:pt x="12759" y="5026"/>
                  <a:pt x="12759" y="5026"/>
                </a:cubicBezTo>
                <a:cubicBezTo>
                  <a:pt x="12762" y="5044"/>
                  <a:pt x="12762" y="5044"/>
                  <a:pt x="12762" y="5044"/>
                </a:cubicBezTo>
                <a:cubicBezTo>
                  <a:pt x="12743" y="5041"/>
                  <a:pt x="12743" y="5041"/>
                  <a:pt x="12743" y="5041"/>
                </a:cubicBezTo>
                <a:cubicBezTo>
                  <a:pt x="12762" y="4997"/>
                  <a:pt x="12762" y="4997"/>
                  <a:pt x="12762" y="4997"/>
                </a:cubicBezTo>
                <a:cubicBezTo>
                  <a:pt x="12762" y="4997"/>
                  <a:pt x="12757" y="4991"/>
                  <a:pt x="12754" y="4980"/>
                </a:cubicBezTo>
                <a:cubicBezTo>
                  <a:pt x="12752" y="4968"/>
                  <a:pt x="12733" y="4970"/>
                  <a:pt x="12733" y="4970"/>
                </a:cubicBezTo>
                <a:cubicBezTo>
                  <a:pt x="12722" y="4952"/>
                  <a:pt x="12722" y="4952"/>
                  <a:pt x="12722" y="4952"/>
                </a:cubicBezTo>
                <a:cubicBezTo>
                  <a:pt x="12722" y="4952"/>
                  <a:pt x="12731" y="4932"/>
                  <a:pt x="12720" y="4924"/>
                </a:cubicBezTo>
                <a:cubicBezTo>
                  <a:pt x="12708" y="4916"/>
                  <a:pt x="12693" y="4927"/>
                  <a:pt x="12693" y="4934"/>
                </a:cubicBezTo>
                <a:cubicBezTo>
                  <a:pt x="12692" y="4941"/>
                  <a:pt x="12698" y="4941"/>
                  <a:pt x="12698" y="4941"/>
                </a:cubicBezTo>
                <a:cubicBezTo>
                  <a:pt x="12694" y="4950"/>
                  <a:pt x="12694" y="4950"/>
                  <a:pt x="12694" y="4950"/>
                </a:cubicBezTo>
                <a:cubicBezTo>
                  <a:pt x="12674" y="4949"/>
                  <a:pt x="12674" y="4949"/>
                  <a:pt x="12674" y="4949"/>
                </a:cubicBezTo>
                <a:cubicBezTo>
                  <a:pt x="12677" y="4967"/>
                  <a:pt x="12677" y="4967"/>
                  <a:pt x="12677" y="4967"/>
                </a:cubicBezTo>
                <a:cubicBezTo>
                  <a:pt x="12664" y="4961"/>
                  <a:pt x="12664" y="4961"/>
                  <a:pt x="12664" y="4961"/>
                </a:cubicBezTo>
                <a:cubicBezTo>
                  <a:pt x="12652" y="4966"/>
                  <a:pt x="12652" y="4966"/>
                  <a:pt x="12652" y="4966"/>
                </a:cubicBezTo>
                <a:cubicBezTo>
                  <a:pt x="12652" y="4966"/>
                  <a:pt x="12657" y="4974"/>
                  <a:pt x="12655" y="4984"/>
                </a:cubicBezTo>
                <a:cubicBezTo>
                  <a:pt x="12653" y="4995"/>
                  <a:pt x="12637" y="5003"/>
                  <a:pt x="12637" y="5003"/>
                </a:cubicBezTo>
                <a:cubicBezTo>
                  <a:pt x="12642" y="4979"/>
                  <a:pt x="12642" y="4979"/>
                  <a:pt x="12642" y="4979"/>
                </a:cubicBezTo>
                <a:cubicBezTo>
                  <a:pt x="12630" y="4994"/>
                  <a:pt x="12630" y="4994"/>
                  <a:pt x="12630" y="4994"/>
                </a:cubicBezTo>
                <a:cubicBezTo>
                  <a:pt x="12630" y="4994"/>
                  <a:pt x="12619" y="4992"/>
                  <a:pt x="12612" y="5002"/>
                </a:cubicBezTo>
                <a:cubicBezTo>
                  <a:pt x="12605" y="5012"/>
                  <a:pt x="12616" y="5033"/>
                  <a:pt x="12616" y="5033"/>
                </a:cubicBezTo>
                <a:cubicBezTo>
                  <a:pt x="12585" y="5020"/>
                  <a:pt x="12585" y="5020"/>
                  <a:pt x="12585" y="5020"/>
                </a:cubicBezTo>
                <a:cubicBezTo>
                  <a:pt x="12582" y="5044"/>
                  <a:pt x="12582" y="5044"/>
                  <a:pt x="12582" y="5044"/>
                </a:cubicBezTo>
                <a:cubicBezTo>
                  <a:pt x="12571" y="5046"/>
                  <a:pt x="12571" y="5046"/>
                  <a:pt x="12571" y="5046"/>
                </a:cubicBezTo>
                <a:cubicBezTo>
                  <a:pt x="12582" y="5063"/>
                  <a:pt x="12582" y="5063"/>
                  <a:pt x="12582" y="5063"/>
                </a:cubicBezTo>
                <a:cubicBezTo>
                  <a:pt x="12594" y="5062"/>
                  <a:pt x="12594" y="5062"/>
                  <a:pt x="12594" y="5062"/>
                </a:cubicBezTo>
                <a:cubicBezTo>
                  <a:pt x="12591" y="5073"/>
                  <a:pt x="12591" y="5073"/>
                  <a:pt x="12591" y="5073"/>
                </a:cubicBezTo>
                <a:cubicBezTo>
                  <a:pt x="12544" y="5077"/>
                  <a:pt x="12544" y="5077"/>
                  <a:pt x="12544" y="5077"/>
                </a:cubicBezTo>
                <a:cubicBezTo>
                  <a:pt x="12544" y="5077"/>
                  <a:pt x="12530" y="5067"/>
                  <a:pt x="12520" y="5075"/>
                </a:cubicBezTo>
                <a:cubicBezTo>
                  <a:pt x="12510" y="5084"/>
                  <a:pt x="12526" y="5102"/>
                  <a:pt x="12526" y="5102"/>
                </a:cubicBezTo>
                <a:cubicBezTo>
                  <a:pt x="12528" y="5124"/>
                  <a:pt x="12528" y="5124"/>
                  <a:pt x="12528" y="5124"/>
                </a:cubicBezTo>
                <a:cubicBezTo>
                  <a:pt x="12522" y="5138"/>
                  <a:pt x="12522" y="5138"/>
                  <a:pt x="12522" y="5138"/>
                </a:cubicBezTo>
                <a:cubicBezTo>
                  <a:pt x="12526" y="5164"/>
                  <a:pt x="12526" y="5164"/>
                  <a:pt x="12526" y="5164"/>
                </a:cubicBezTo>
                <a:cubicBezTo>
                  <a:pt x="12515" y="5165"/>
                  <a:pt x="12515" y="5165"/>
                  <a:pt x="12515" y="5165"/>
                </a:cubicBezTo>
                <a:cubicBezTo>
                  <a:pt x="12512" y="5113"/>
                  <a:pt x="12512" y="5113"/>
                  <a:pt x="12512" y="5113"/>
                </a:cubicBezTo>
                <a:cubicBezTo>
                  <a:pt x="12501" y="5102"/>
                  <a:pt x="12501" y="5102"/>
                  <a:pt x="12501" y="5102"/>
                </a:cubicBezTo>
                <a:cubicBezTo>
                  <a:pt x="12499" y="5081"/>
                  <a:pt x="12499" y="5081"/>
                  <a:pt x="12499" y="5081"/>
                </a:cubicBezTo>
                <a:cubicBezTo>
                  <a:pt x="12486" y="5082"/>
                  <a:pt x="12486" y="5082"/>
                  <a:pt x="12486" y="5082"/>
                </a:cubicBezTo>
                <a:cubicBezTo>
                  <a:pt x="12475" y="5097"/>
                  <a:pt x="12475" y="5097"/>
                  <a:pt x="12475" y="5097"/>
                </a:cubicBezTo>
                <a:cubicBezTo>
                  <a:pt x="12475" y="5097"/>
                  <a:pt x="12462" y="5109"/>
                  <a:pt x="12443" y="5125"/>
                </a:cubicBezTo>
                <a:cubicBezTo>
                  <a:pt x="12425" y="5141"/>
                  <a:pt x="12437" y="5174"/>
                  <a:pt x="12437" y="5174"/>
                </a:cubicBezTo>
                <a:cubicBezTo>
                  <a:pt x="12437" y="5174"/>
                  <a:pt x="12454" y="5179"/>
                  <a:pt x="12452" y="5188"/>
                </a:cubicBezTo>
                <a:cubicBezTo>
                  <a:pt x="12449" y="5198"/>
                  <a:pt x="12416" y="5210"/>
                  <a:pt x="12410" y="5213"/>
                </a:cubicBezTo>
                <a:cubicBezTo>
                  <a:pt x="12404" y="5216"/>
                  <a:pt x="12407" y="5226"/>
                  <a:pt x="12407" y="5226"/>
                </a:cubicBezTo>
                <a:cubicBezTo>
                  <a:pt x="12407" y="5226"/>
                  <a:pt x="12386" y="5245"/>
                  <a:pt x="12369" y="5259"/>
                </a:cubicBezTo>
                <a:cubicBezTo>
                  <a:pt x="12351" y="5272"/>
                  <a:pt x="12299" y="5277"/>
                  <a:pt x="12299" y="5277"/>
                </a:cubicBezTo>
                <a:cubicBezTo>
                  <a:pt x="12265" y="5270"/>
                  <a:pt x="12265" y="5270"/>
                  <a:pt x="12265" y="5270"/>
                </a:cubicBezTo>
                <a:cubicBezTo>
                  <a:pt x="12238" y="5284"/>
                  <a:pt x="12238" y="5284"/>
                  <a:pt x="12238" y="5284"/>
                </a:cubicBezTo>
                <a:cubicBezTo>
                  <a:pt x="12201" y="5289"/>
                  <a:pt x="12201" y="5289"/>
                  <a:pt x="12201" y="5289"/>
                </a:cubicBezTo>
                <a:cubicBezTo>
                  <a:pt x="12196" y="5294"/>
                  <a:pt x="12196" y="5294"/>
                  <a:pt x="12196" y="5294"/>
                </a:cubicBezTo>
                <a:cubicBezTo>
                  <a:pt x="12196" y="5294"/>
                  <a:pt x="12186" y="5294"/>
                  <a:pt x="12177" y="5299"/>
                </a:cubicBezTo>
                <a:cubicBezTo>
                  <a:pt x="12168" y="5303"/>
                  <a:pt x="12157" y="5314"/>
                  <a:pt x="12157" y="5314"/>
                </a:cubicBezTo>
                <a:cubicBezTo>
                  <a:pt x="12157" y="5314"/>
                  <a:pt x="12138" y="5315"/>
                  <a:pt x="12124" y="5319"/>
                </a:cubicBezTo>
                <a:cubicBezTo>
                  <a:pt x="12110" y="5323"/>
                  <a:pt x="12094" y="5352"/>
                  <a:pt x="12094" y="5352"/>
                </a:cubicBezTo>
                <a:cubicBezTo>
                  <a:pt x="12094" y="5352"/>
                  <a:pt x="12059" y="5360"/>
                  <a:pt x="12052" y="5364"/>
                </a:cubicBezTo>
                <a:cubicBezTo>
                  <a:pt x="12044" y="5369"/>
                  <a:pt x="12009" y="5414"/>
                  <a:pt x="12009" y="5414"/>
                </a:cubicBezTo>
                <a:cubicBezTo>
                  <a:pt x="12015" y="5370"/>
                  <a:pt x="12015" y="5370"/>
                  <a:pt x="12015" y="5370"/>
                </a:cubicBezTo>
                <a:cubicBezTo>
                  <a:pt x="12003" y="5377"/>
                  <a:pt x="12003" y="5377"/>
                  <a:pt x="12003" y="5377"/>
                </a:cubicBezTo>
                <a:cubicBezTo>
                  <a:pt x="11989" y="5414"/>
                  <a:pt x="11989" y="5414"/>
                  <a:pt x="11989" y="5414"/>
                </a:cubicBezTo>
                <a:cubicBezTo>
                  <a:pt x="11989" y="5414"/>
                  <a:pt x="11975" y="5440"/>
                  <a:pt x="11968" y="5455"/>
                </a:cubicBezTo>
                <a:cubicBezTo>
                  <a:pt x="11962" y="5470"/>
                  <a:pt x="11985" y="5476"/>
                  <a:pt x="11985" y="5476"/>
                </a:cubicBezTo>
                <a:cubicBezTo>
                  <a:pt x="11985" y="5476"/>
                  <a:pt x="11965" y="5497"/>
                  <a:pt x="11955" y="5506"/>
                </a:cubicBezTo>
                <a:cubicBezTo>
                  <a:pt x="11944" y="5515"/>
                  <a:pt x="11964" y="5554"/>
                  <a:pt x="11965" y="5560"/>
                </a:cubicBezTo>
                <a:cubicBezTo>
                  <a:pt x="11965" y="5567"/>
                  <a:pt x="11990" y="5610"/>
                  <a:pt x="11984" y="5614"/>
                </a:cubicBezTo>
                <a:cubicBezTo>
                  <a:pt x="11978" y="5619"/>
                  <a:pt x="11954" y="5578"/>
                  <a:pt x="11954" y="5578"/>
                </a:cubicBezTo>
                <a:cubicBezTo>
                  <a:pt x="11942" y="5576"/>
                  <a:pt x="11942" y="5576"/>
                  <a:pt x="11942" y="5576"/>
                </a:cubicBezTo>
                <a:cubicBezTo>
                  <a:pt x="11952" y="5606"/>
                  <a:pt x="11952" y="5606"/>
                  <a:pt x="11952" y="5606"/>
                </a:cubicBezTo>
                <a:cubicBezTo>
                  <a:pt x="11929" y="5586"/>
                  <a:pt x="11929" y="5586"/>
                  <a:pt x="11929" y="5586"/>
                </a:cubicBezTo>
                <a:cubicBezTo>
                  <a:pt x="11929" y="5586"/>
                  <a:pt x="11925" y="5609"/>
                  <a:pt x="11928" y="5623"/>
                </a:cubicBezTo>
                <a:cubicBezTo>
                  <a:pt x="11931" y="5637"/>
                  <a:pt x="11954" y="5672"/>
                  <a:pt x="11954" y="5672"/>
                </a:cubicBezTo>
                <a:cubicBezTo>
                  <a:pt x="11954" y="5672"/>
                  <a:pt x="11943" y="5694"/>
                  <a:pt x="11941" y="5702"/>
                </a:cubicBezTo>
                <a:cubicBezTo>
                  <a:pt x="11939" y="5710"/>
                  <a:pt x="11969" y="5733"/>
                  <a:pt x="11970" y="5739"/>
                </a:cubicBezTo>
                <a:cubicBezTo>
                  <a:pt x="11971" y="5746"/>
                  <a:pt x="11972" y="5768"/>
                  <a:pt x="11966" y="5776"/>
                </a:cubicBezTo>
                <a:cubicBezTo>
                  <a:pt x="11961" y="5784"/>
                  <a:pt x="11974" y="5830"/>
                  <a:pt x="11974" y="5830"/>
                </a:cubicBezTo>
                <a:cubicBezTo>
                  <a:pt x="11974" y="5830"/>
                  <a:pt x="11970" y="5832"/>
                  <a:pt x="11962" y="5838"/>
                </a:cubicBezTo>
                <a:cubicBezTo>
                  <a:pt x="11955" y="5844"/>
                  <a:pt x="11971" y="5880"/>
                  <a:pt x="11971" y="5880"/>
                </a:cubicBezTo>
                <a:cubicBezTo>
                  <a:pt x="11971" y="5880"/>
                  <a:pt x="11991" y="5889"/>
                  <a:pt x="11993" y="5906"/>
                </a:cubicBezTo>
                <a:cubicBezTo>
                  <a:pt x="11995" y="5922"/>
                  <a:pt x="11966" y="5951"/>
                  <a:pt x="11966" y="5951"/>
                </a:cubicBezTo>
                <a:cubicBezTo>
                  <a:pt x="11966" y="5951"/>
                  <a:pt x="11975" y="5984"/>
                  <a:pt x="11958" y="6001"/>
                </a:cubicBezTo>
                <a:cubicBezTo>
                  <a:pt x="11941" y="6017"/>
                  <a:pt x="11910" y="6009"/>
                  <a:pt x="11910" y="6009"/>
                </a:cubicBezTo>
                <a:cubicBezTo>
                  <a:pt x="11906" y="6041"/>
                  <a:pt x="11906" y="6041"/>
                  <a:pt x="11906" y="6041"/>
                </a:cubicBezTo>
                <a:cubicBezTo>
                  <a:pt x="11906" y="6041"/>
                  <a:pt x="11938" y="6049"/>
                  <a:pt x="11947" y="6054"/>
                </a:cubicBezTo>
                <a:cubicBezTo>
                  <a:pt x="11956" y="6060"/>
                  <a:pt x="11962" y="6070"/>
                  <a:pt x="11962" y="6070"/>
                </a:cubicBezTo>
                <a:cubicBezTo>
                  <a:pt x="11979" y="6068"/>
                  <a:pt x="11979" y="6068"/>
                  <a:pt x="11979" y="6068"/>
                </a:cubicBezTo>
                <a:cubicBezTo>
                  <a:pt x="11979" y="6068"/>
                  <a:pt x="11988" y="6077"/>
                  <a:pt x="12002" y="6082"/>
                </a:cubicBezTo>
                <a:cubicBezTo>
                  <a:pt x="12015" y="6087"/>
                  <a:pt x="12046" y="6077"/>
                  <a:pt x="12059" y="6076"/>
                </a:cubicBezTo>
                <a:cubicBezTo>
                  <a:pt x="12071" y="6076"/>
                  <a:pt x="12061" y="6060"/>
                  <a:pt x="12061" y="6060"/>
                </a:cubicBezTo>
                <a:cubicBezTo>
                  <a:pt x="12086" y="6062"/>
                  <a:pt x="12086" y="6062"/>
                  <a:pt x="12086" y="6062"/>
                </a:cubicBezTo>
                <a:cubicBezTo>
                  <a:pt x="12092" y="6050"/>
                  <a:pt x="12092" y="6050"/>
                  <a:pt x="12092" y="6050"/>
                </a:cubicBezTo>
                <a:cubicBezTo>
                  <a:pt x="12119" y="6046"/>
                  <a:pt x="12119" y="6046"/>
                  <a:pt x="12119" y="6046"/>
                </a:cubicBezTo>
                <a:cubicBezTo>
                  <a:pt x="12119" y="6046"/>
                  <a:pt x="12143" y="6021"/>
                  <a:pt x="12156" y="6020"/>
                </a:cubicBezTo>
                <a:cubicBezTo>
                  <a:pt x="12168" y="6020"/>
                  <a:pt x="12180" y="6035"/>
                  <a:pt x="12187" y="6033"/>
                </a:cubicBezTo>
                <a:cubicBezTo>
                  <a:pt x="12195" y="6031"/>
                  <a:pt x="12232" y="6013"/>
                  <a:pt x="12232" y="6013"/>
                </a:cubicBezTo>
                <a:cubicBezTo>
                  <a:pt x="12232" y="6013"/>
                  <a:pt x="12254" y="6023"/>
                  <a:pt x="12265" y="6021"/>
                </a:cubicBezTo>
                <a:cubicBezTo>
                  <a:pt x="12276" y="6020"/>
                  <a:pt x="12283" y="6010"/>
                  <a:pt x="12290" y="6009"/>
                </a:cubicBezTo>
                <a:cubicBezTo>
                  <a:pt x="12298" y="6009"/>
                  <a:pt x="12317" y="6021"/>
                  <a:pt x="12332" y="6018"/>
                </a:cubicBezTo>
                <a:cubicBezTo>
                  <a:pt x="12347" y="6015"/>
                  <a:pt x="12344" y="5996"/>
                  <a:pt x="12344" y="5996"/>
                </a:cubicBezTo>
                <a:cubicBezTo>
                  <a:pt x="12344" y="5996"/>
                  <a:pt x="12356" y="5993"/>
                  <a:pt x="12360" y="5990"/>
                </a:cubicBezTo>
                <a:cubicBezTo>
                  <a:pt x="12365" y="5987"/>
                  <a:pt x="12371" y="5960"/>
                  <a:pt x="12384" y="5948"/>
                </a:cubicBezTo>
                <a:cubicBezTo>
                  <a:pt x="12397" y="5936"/>
                  <a:pt x="12430" y="5944"/>
                  <a:pt x="12441" y="5941"/>
                </a:cubicBezTo>
                <a:cubicBezTo>
                  <a:pt x="12451" y="5939"/>
                  <a:pt x="12485" y="5920"/>
                  <a:pt x="12500" y="5918"/>
                </a:cubicBezTo>
                <a:cubicBezTo>
                  <a:pt x="12516" y="5916"/>
                  <a:pt x="12518" y="5923"/>
                  <a:pt x="12537" y="5926"/>
                </a:cubicBezTo>
                <a:cubicBezTo>
                  <a:pt x="12556" y="5929"/>
                  <a:pt x="12603" y="5896"/>
                  <a:pt x="12622" y="5890"/>
                </a:cubicBezTo>
                <a:cubicBezTo>
                  <a:pt x="12642" y="5884"/>
                  <a:pt x="12725" y="5878"/>
                  <a:pt x="12725" y="5878"/>
                </a:cubicBezTo>
                <a:cubicBezTo>
                  <a:pt x="12732" y="5871"/>
                  <a:pt x="12732" y="5871"/>
                  <a:pt x="12732" y="5871"/>
                </a:cubicBezTo>
                <a:cubicBezTo>
                  <a:pt x="12732" y="5871"/>
                  <a:pt x="12760" y="5896"/>
                  <a:pt x="12778" y="5903"/>
                </a:cubicBezTo>
                <a:cubicBezTo>
                  <a:pt x="12795" y="5910"/>
                  <a:pt x="12802" y="5901"/>
                  <a:pt x="12802" y="5901"/>
                </a:cubicBezTo>
                <a:cubicBezTo>
                  <a:pt x="12802" y="5901"/>
                  <a:pt x="12805" y="5918"/>
                  <a:pt x="12813" y="5921"/>
                </a:cubicBezTo>
                <a:cubicBezTo>
                  <a:pt x="12821" y="5924"/>
                  <a:pt x="12826" y="5917"/>
                  <a:pt x="12826" y="5917"/>
                </a:cubicBezTo>
                <a:cubicBezTo>
                  <a:pt x="12829" y="5932"/>
                  <a:pt x="12829" y="5932"/>
                  <a:pt x="12829" y="5932"/>
                </a:cubicBezTo>
                <a:cubicBezTo>
                  <a:pt x="12829" y="5932"/>
                  <a:pt x="12841" y="5930"/>
                  <a:pt x="12842" y="5939"/>
                </a:cubicBezTo>
                <a:cubicBezTo>
                  <a:pt x="12843" y="5947"/>
                  <a:pt x="12824" y="5971"/>
                  <a:pt x="12824" y="5971"/>
                </a:cubicBezTo>
                <a:cubicBezTo>
                  <a:pt x="12838" y="5990"/>
                  <a:pt x="12838" y="5990"/>
                  <a:pt x="12838" y="5990"/>
                </a:cubicBezTo>
                <a:cubicBezTo>
                  <a:pt x="12847" y="5981"/>
                  <a:pt x="12847" y="5981"/>
                  <a:pt x="12847" y="5981"/>
                </a:cubicBezTo>
                <a:cubicBezTo>
                  <a:pt x="12860" y="6008"/>
                  <a:pt x="12860" y="6008"/>
                  <a:pt x="12860" y="6008"/>
                </a:cubicBezTo>
                <a:cubicBezTo>
                  <a:pt x="12860" y="6008"/>
                  <a:pt x="12869" y="6035"/>
                  <a:pt x="12870" y="6044"/>
                </a:cubicBezTo>
                <a:cubicBezTo>
                  <a:pt x="12871" y="6052"/>
                  <a:pt x="12843" y="6045"/>
                  <a:pt x="12843" y="6045"/>
                </a:cubicBezTo>
                <a:cubicBezTo>
                  <a:pt x="12850" y="6068"/>
                  <a:pt x="12850" y="6068"/>
                  <a:pt x="12850" y="6068"/>
                </a:cubicBezTo>
                <a:cubicBezTo>
                  <a:pt x="12850" y="6068"/>
                  <a:pt x="12859" y="6068"/>
                  <a:pt x="12868" y="6069"/>
                </a:cubicBezTo>
                <a:cubicBezTo>
                  <a:pt x="12877" y="6069"/>
                  <a:pt x="12876" y="6076"/>
                  <a:pt x="12876" y="6076"/>
                </a:cubicBezTo>
                <a:cubicBezTo>
                  <a:pt x="12889" y="6073"/>
                  <a:pt x="12889" y="6073"/>
                  <a:pt x="12889" y="6073"/>
                </a:cubicBezTo>
                <a:cubicBezTo>
                  <a:pt x="12889" y="6073"/>
                  <a:pt x="12885" y="6059"/>
                  <a:pt x="12885" y="6048"/>
                </a:cubicBezTo>
                <a:cubicBezTo>
                  <a:pt x="12886" y="6037"/>
                  <a:pt x="12904" y="6028"/>
                  <a:pt x="12916" y="6026"/>
                </a:cubicBezTo>
                <a:cubicBezTo>
                  <a:pt x="12928" y="6023"/>
                  <a:pt x="12951" y="5987"/>
                  <a:pt x="12951" y="5987"/>
                </a:cubicBezTo>
                <a:cubicBezTo>
                  <a:pt x="12966" y="5989"/>
                  <a:pt x="12966" y="5989"/>
                  <a:pt x="12966" y="5989"/>
                </a:cubicBezTo>
                <a:cubicBezTo>
                  <a:pt x="12980" y="5956"/>
                  <a:pt x="12980" y="5956"/>
                  <a:pt x="12980" y="5956"/>
                </a:cubicBezTo>
                <a:cubicBezTo>
                  <a:pt x="12980" y="5956"/>
                  <a:pt x="12999" y="5953"/>
                  <a:pt x="13008" y="5952"/>
                </a:cubicBezTo>
                <a:cubicBezTo>
                  <a:pt x="13016" y="5951"/>
                  <a:pt x="13021" y="5921"/>
                  <a:pt x="13021" y="5921"/>
                </a:cubicBezTo>
                <a:cubicBezTo>
                  <a:pt x="13021" y="5921"/>
                  <a:pt x="13026" y="5945"/>
                  <a:pt x="13027" y="5952"/>
                </a:cubicBezTo>
                <a:cubicBezTo>
                  <a:pt x="13028" y="5960"/>
                  <a:pt x="12999" y="5974"/>
                  <a:pt x="12999" y="5974"/>
                </a:cubicBezTo>
                <a:cubicBezTo>
                  <a:pt x="12989" y="5975"/>
                  <a:pt x="12989" y="5975"/>
                  <a:pt x="12989" y="5975"/>
                </a:cubicBezTo>
                <a:cubicBezTo>
                  <a:pt x="12984" y="5982"/>
                  <a:pt x="12984" y="5982"/>
                  <a:pt x="12984" y="5982"/>
                </a:cubicBezTo>
                <a:cubicBezTo>
                  <a:pt x="12995" y="6005"/>
                  <a:pt x="12995" y="6005"/>
                  <a:pt x="12995" y="6005"/>
                </a:cubicBezTo>
                <a:cubicBezTo>
                  <a:pt x="12995" y="6005"/>
                  <a:pt x="12985" y="6009"/>
                  <a:pt x="12978" y="6013"/>
                </a:cubicBezTo>
                <a:cubicBezTo>
                  <a:pt x="12971" y="6018"/>
                  <a:pt x="12953" y="6041"/>
                  <a:pt x="12953" y="6041"/>
                </a:cubicBezTo>
                <a:cubicBezTo>
                  <a:pt x="12953" y="6041"/>
                  <a:pt x="12948" y="6060"/>
                  <a:pt x="12941" y="6064"/>
                </a:cubicBezTo>
                <a:cubicBezTo>
                  <a:pt x="12934" y="6069"/>
                  <a:pt x="12910" y="6078"/>
                  <a:pt x="12917" y="6084"/>
                </a:cubicBezTo>
                <a:cubicBezTo>
                  <a:pt x="12924" y="6091"/>
                  <a:pt x="12951" y="6081"/>
                  <a:pt x="12960" y="6078"/>
                </a:cubicBezTo>
                <a:cubicBezTo>
                  <a:pt x="12968" y="6074"/>
                  <a:pt x="12969" y="6061"/>
                  <a:pt x="12975" y="6052"/>
                </a:cubicBezTo>
                <a:cubicBezTo>
                  <a:pt x="12982" y="6042"/>
                  <a:pt x="12996" y="6032"/>
                  <a:pt x="12996" y="6032"/>
                </a:cubicBezTo>
                <a:cubicBezTo>
                  <a:pt x="12996" y="6032"/>
                  <a:pt x="12999" y="6057"/>
                  <a:pt x="13001" y="6063"/>
                </a:cubicBezTo>
                <a:cubicBezTo>
                  <a:pt x="13003" y="6069"/>
                  <a:pt x="12990" y="6080"/>
                  <a:pt x="12981" y="6085"/>
                </a:cubicBezTo>
                <a:cubicBezTo>
                  <a:pt x="12973" y="6090"/>
                  <a:pt x="12972" y="6098"/>
                  <a:pt x="12978" y="6104"/>
                </a:cubicBezTo>
                <a:cubicBezTo>
                  <a:pt x="12985" y="6109"/>
                  <a:pt x="13016" y="6109"/>
                  <a:pt x="13016" y="6109"/>
                </a:cubicBezTo>
                <a:cubicBezTo>
                  <a:pt x="13021" y="6116"/>
                  <a:pt x="13021" y="6116"/>
                  <a:pt x="13021" y="6116"/>
                </a:cubicBezTo>
                <a:cubicBezTo>
                  <a:pt x="13006" y="6129"/>
                  <a:pt x="13006" y="6129"/>
                  <a:pt x="13006" y="6129"/>
                </a:cubicBezTo>
                <a:cubicBezTo>
                  <a:pt x="13006" y="6129"/>
                  <a:pt x="13022" y="6158"/>
                  <a:pt x="13024" y="6168"/>
                </a:cubicBezTo>
                <a:cubicBezTo>
                  <a:pt x="13027" y="6179"/>
                  <a:pt x="13003" y="6195"/>
                  <a:pt x="12994" y="6206"/>
                </a:cubicBezTo>
                <a:cubicBezTo>
                  <a:pt x="12984" y="6217"/>
                  <a:pt x="13016" y="6239"/>
                  <a:pt x="13024" y="6242"/>
                </a:cubicBezTo>
                <a:cubicBezTo>
                  <a:pt x="13031" y="6245"/>
                  <a:pt x="13045" y="6265"/>
                  <a:pt x="13060" y="6270"/>
                </a:cubicBezTo>
                <a:cubicBezTo>
                  <a:pt x="13075" y="6275"/>
                  <a:pt x="13086" y="6266"/>
                  <a:pt x="13100" y="6269"/>
                </a:cubicBezTo>
                <a:cubicBezTo>
                  <a:pt x="13113" y="6272"/>
                  <a:pt x="13116" y="6289"/>
                  <a:pt x="13135" y="6292"/>
                </a:cubicBezTo>
                <a:cubicBezTo>
                  <a:pt x="13155" y="6296"/>
                  <a:pt x="13203" y="6263"/>
                  <a:pt x="13203" y="6263"/>
                </a:cubicBezTo>
                <a:cubicBezTo>
                  <a:pt x="13203" y="6263"/>
                  <a:pt x="13196" y="6249"/>
                  <a:pt x="13211" y="6240"/>
                </a:cubicBezTo>
                <a:cubicBezTo>
                  <a:pt x="13226" y="6231"/>
                  <a:pt x="13225" y="6267"/>
                  <a:pt x="13225" y="6267"/>
                </a:cubicBezTo>
                <a:cubicBezTo>
                  <a:pt x="13236" y="6266"/>
                  <a:pt x="13236" y="6266"/>
                  <a:pt x="13236" y="6266"/>
                </a:cubicBezTo>
                <a:cubicBezTo>
                  <a:pt x="13226" y="6282"/>
                  <a:pt x="13226" y="6282"/>
                  <a:pt x="13226" y="6282"/>
                </a:cubicBezTo>
                <a:cubicBezTo>
                  <a:pt x="13239" y="6283"/>
                  <a:pt x="13239" y="6283"/>
                  <a:pt x="13239" y="6283"/>
                </a:cubicBezTo>
                <a:cubicBezTo>
                  <a:pt x="13239" y="6283"/>
                  <a:pt x="13240" y="6295"/>
                  <a:pt x="13247" y="6304"/>
                </a:cubicBezTo>
                <a:cubicBezTo>
                  <a:pt x="13253" y="6312"/>
                  <a:pt x="13260" y="6308"/>
                  <a:pt x="13260" y="6308"/>
                </a:cubicBezTo>
                <a:cubicBezTo>
                  <a:pt x="13266" y="6297"/>
                  <a:pt x="13266" y="6297"/>
                  <a:pt x="13266" y="6297"/>
                </a:cubicBezTo>
                <a:cubicBezTo>
                  <a:pt x="13266" y="6297"/>
                  <a:pt x="13284" y="6295"/>
                  <a:pt x="13294" y="6286"/>
                </a:cubicBezTo>
                <a:cubicBezTo>
                  <a:pt x="13305" y="6278"/>
                  <a:pt x="13349" y="6247"/>
                  <a:pt x="13349" y="6247"/>
                </a:cubicBezTo>
                <a:cubicBezTo>
                  <a:pt x="13344" y="6237"/>
                  <a:pt x="13344" y="6237"/>
                  <a:pt x="13344" y="6237"/>
                </a:cubicBezTo>
                <a:cubicBezTo>
                  <a:pt x="13368" y="6233"/>
                  <a:pt x="13368" y="6233"/>
                  <a:pt x="13368" y="6233"/>
                </a:cubicBezTo>
                <a:cubicBezTo>
                  <a:pt x="13377" y="6241"/>
                  <a:pt x="13377" y="6241"/>
                  <a:pt x="13377" y="6241"/>
                </a:cubicBezTo>
                <a:cubicBezTo>
                  <a:pt x="13377" y="6241"/>
                  <a:pt x="13416" y="6234"/>
                  <a:pt x="13439" y="6226"/>
                </a:cubicBezTo>
                <a:cubicBezTo>
                  <a:pt x="13461" y="6217"/>
                  <a:pt x="13463" y="6173"/>
                  <a:pt x="13466" y="6161"/>
                </a:cubicBezTo>
                <a:cubicBezTo>
                  <a:pt x="13470" y="6150"/>
                  <a:pt x="13496" y="6135"/>
                  <a:pt x="13496" y="6135"/>
                </a:cubicBezTo>
                <a:cubicBezTo>
                  <a:pt x="13496" y="6120"/>
                  <a:pt x="13496" y="6120"/>
                  <a:pt x="13496" y="6120"/>
                </a:cubicBezTo>
                <a:cubicBezTo>
                  <a:pt x="13496" y="6120"/>
                  <a:pt x="13511" y="6114"/>
                  <a:pt x="13519" y="6103"/>
                </a:cubicBezTo>
                <a:cubicBezTo>
                  <a:pt x="13526" y="6093"/>
                  <a:pt x="13537" y="6079"/>
                  <a:pt x="13537" y="6079"/>
                </a:cubicBezTo>
                <a:cubicBezTo>
                  <a:pt x="13537" y="6079"/>
                  <a:pt x="13539" y="6050"/>
                  <a:pt x="13547" y="6040"/>
                </a:cubicBezTo>
                <a:cubicBezTo>
                  <a:pt x="13554" y="6031"/>
                  <a:pt x="13588" y="5993"/>
                  <a:pt x="13601" y="5987"/>
                </a:cubicBezTo>
                <a:cubicBezTo>
                  <a:pt x="13613" y="5981"/>
                  <a:pt x="13615" y="5950"/>
                  <a:pt x="13615" y="5950"/>
                </a:cubicBezTo>
                <a:cubicBezTo>
                  <a:pt x="13615" y="5950"/>
                  <a:pt x="13638" y="5954"/>
                  <a:pt x="13647" y="5944"/>
                </a:cubicBezTo>
                <a:cubicBezTo>
                  <a:pt x="13656" y="5935"/>
                  <a:pt x="13703" y="5876"/>
                  <a:pt x="13706" y="5869"/>
                </a:cubicBezTo>
                <a:cubicBezTo>
                  <a:pt x="13710" y="5863"/>
                  <a:pt x="13709" y="5832"/>
                  <a:pt x="13719" y="5825"/>
                </a:cubicBezTo>
                <a:cubicBezTo>
                  <a:pt x="13728" y="5818"/>
                  <a:pt x="13770" y="5736"/>
                  <a:pt x="13780" y="5717"/>
                </a:cubicBezTo>
                <a:cubicBezTo>
                  <a:pt x="13790" y="5698"/>
                  <a:pt x="13778" y="5685"/>
                  <a:pt x="13777" y="5672"/>
                </a:cubicBezTo>
                <a:cubicBezTo>
                  <a:pt x="13776" y="5659"/>
                  <a:pt x="13786" y="5638"/>
                  <a:pt x="13795" y="5624"/>
                </a:cubicBezTo>
                <a:cubicBezTo>
                  <a:pt x="13804" y="5610"/>
                  <a:pt x="13794" y="5548"/>
                  <a:pt x="13794" y="5548"/>
                </a:cubicBezTo>
                <a:lnTo>
                  <a:pt x="13775" y="5539"/>
                </a:lnTo>
                <a:close/>
                <a:moveTo>
                  <a:pt x="11992" y="4641"/>
                </a:moveTo>
                <a:cubicBezTo>
                  <a:pt x="12002" y="4650"/>
                  <a:pt x="12035" y="4656"/>
                  <a:pt x="12049" y="4657"/>
                </a:cubicBezTo>
                <a:cubicBezTo>
                  <a:pt x="12064" y="4659"/>
                  <a:pt x="12070" y="4656"/>
                  <a:pt x="12092" y="4657"/>
                </a:cubicBezTo>
                <a:cubicBezTo>
                  <a:pt x="12114" y="4659"/>
                  <a:pt x="12132" y="4686"/>
                  <a:pt x="12140" y="4691"/>
                </a:cubicBezTo>
                <a:cubicBezTo>
                  <a:pt x="12149" y="4695"/>
                  <a:pt x="12159" y="4686"/>
                  <a:pt x="12159" y="4686"/>
                </a:cubicBezTo>
                <a:cubicBezTo>
                  <a:pt x="12159" y="4686"/>
                  <a:pt x="12176" y="4695"/>
                  <a:pt x="12176" y="4689"/>
                </a:cubicBezTo>
                <a:cubicBezTo>
                  <a:pt x="12176" y="4678"/>
                  <a:pt x="12165" y="4663"/>
                  <a:pt x="12165" y="4663"/>
                </a:cubicBezTo>
                <a:cubicBezTo>
                  <a:pt x="12165" y="4663"/>
                  <a:pt x="12176" y="4657"/>
                  <a:pt x="12176" y="4638"/>
                </a:cubicBezTo>
                <a:cubicBezTo>
                  <a:pt x="12176" y="4619"/>
                  <a:pt x="12149" y="4619"/>
                  <a:pt x="12134" y="4616"/>
                </a:cubicBezTo>
                <a:cubicBezTo>
                  <a:pt x="12120" y="4613"/>
                  <a:pt x="12121" y="4644"/>
                  <a:pt x="12121" y="4644"/>
                </a:cubicBezTo>
                <a:cubicBezTo>
                  <a:pt x="12096" y="4625"/>
                  <a:pt x="12096" y="4625"/>
                  <a:pt x="12096" y="4625"/>
                </a:cubicBezTo>
                <a:cubicBezTo>
                  <a:pt x="12096" y="4625"/>
                  <a:pt x="12102" y="4609"/>
                  <a:pt x="12102" y="4585"/>
                </a:cubicBezTo>
                <a:cubicBezTo>
                  <a:pt x="12102" y="4562"/>
                  <a:pt x="12054" y="4571"/>
                  <a:pt x="12054" y="4571"/>
                </a:cubicBezTo>
                <a:cubicBezTo>
                  <a:pt x="12033" y="4559"/>
                  <a:pt x="12033" y="4559"/>
                  <a:pt x="12033" y="4559"/>
                </a:cubicBezTo>
                <a:cubicBezTo>
                  <a:pt x="12030" y="4544"/>
                  <a:pt x="12030" y="4544"/>
                  <a:pt x="12030" y="4544"/>
                </a:cubicBezTo>
                <a:cubicBezTo>
                  <a:pt x="12004" y="4544"/>
                  <a:pt x="12004" y="4544"/>
                  <a:pt x="12004" y="4544"/>
                </a:cubicBezTo>
                <a:cubicBezTo>
                  <a:pt x="12004" y="4544"/>
                  <a:pt x="11999" y="4565"/>
                  <a:pt x="11999" y="4569"/>
                </a:cubicBezTo>
                <a:cubicBezTo>
                  <a:pt x="11999" y="4573"/>
                  <a:pt x="11964" y="4562"/>
                  <a:pt x="11948" y="4559"/>
                </a:cubicBezTo>
                <a:cubicBezTo>
                  <a:pt x="11932" y="4556"/>
                  <a:pt x="11903" y="4557"/>
                  <a:pt x="11903" y="4557"/>
                </a:cubicBezTo>
                <a:cubicBezTo>
                  <a:pt x="11903" y="4557"/>
                  <a:pt x="11885" y="4535"/>
                  <a:pt x="11876" y="4525"/>
                </a:cubicBezTo>
                <a:cubicBezTo>
                  <a:pt x="11867" y="4515"/>
                  <a:pt x="11853" y="4526"/>
                  <a:pt x="11853" y="4526"/>
                </a:cubicBezTo>
                <a:cubicBezTo>
                  <a:pt x="11853" y="4526"/>
                  <a:pt x="11828" y="4513"/>
                  <a:pt x="11822" y="4512"/>
                </a:cubicBezTo>
                <a:cubicBezTo>
                  <a:pt x="11816" y="4510"/>
                  <a:pt x="11790" y="4509"/>
                  <a:pt x="11790" y="4509"/>
                </a:cubicBezTo>
                <a:cubicBezTo>
                  <a:pt x="11790" y="4509"/>
                  <a:pt x="11779" y="4500"/>
                  <a:pt x="11766" y="4504"/>
                </a:cubicBezTo>
                <a:cubicBezTo>
                  <a:pt x="11753" y="4509"/>
                  <a:pt x="11753" y="4537"/>
                  <a:pt x="11746" y="4541"/>
                </a:cubicBezTo>
                <a:cubicBezTo>
                  <a:pt x="11738" y="4546"/>
                  <a:pt x="11724" y="4551"/>
                  <a:pt x="11727" y="4562"/>
                </a:cubicBezTo>
                <a:cubicBezTo>
                  <a:pt x="11751" y="4557"/>
                  <a:pt x="11751" y="4557"/>
                  <a:pt x="11751" y="4557"/>
                </a:cubicBezTo>
                <a:cubicBezTo>
                  <a:pt x="11782" y="4560"/>
                  <a:pt x="11782" y="4560"/>
                  <a:pt x="11782" y="4560"/>
                </a:cubicBezTo>
                <a:cubicBezTo>
                  <a:pt x="11782" y="4560"/>
                  <a:pt x="11759" y="4573"/>
                  <a:pt x="11769" y="4584"/>
                </a:cubicBezTo>
                <a:cubicBezTo>
                  <a:pt x="11779" y="4594"/>
                  <a:pt x="11813" y="4576"/>
                  <a:pt x="11813" y="4576"/>
                </a:cubicBezTo>
                <a:cubicBezTo>
                  <a:pt x="11813" y="4576"/>
                  <a:pt x="11863" y="4603"/>
                  <a:pt x="11878" y="4607"/>
                </a:cubicBezTo>
                <a:cubicBezTo>
                  <a:pt x="11892" y="4612"/>
                  <a:pt x="11942" y="4613"/>
                  <a:pt x="11960" y="4613"/>
                </a:cubicBezTo>
                <a:cubicBezTo>
                  <a:pt x="11977" y="4613"/>
                  <a:pt x="11982" y="4632"/>
                  <a:pt x="11992" y="4641"/>
                </a:cubicBezTo>
                <a:close/>
                <a:moveTo>
                  <a:pt x="12892" y="6106"/>
                </a:moveTo>
                <a:cubicBezTo>
                  <a:pt x="12878" y="6108"/>
                  <a:pt x="12860" y="6113"/>
                  <a:pt x="12867" y="6119"/>
                </a:cubicBezTo>
                <a:cubicBezTo>
                  <a:pt x="12874" y="6125"/>
                  <a:pt x="12877" y="6132"/>
                  <a:pt x="12877" y="6132"/>
                </a:cubicBezTo>
                <a:cubicBezTo>
                  <a:pt x="12891" y="6132"/>
                  <a:pt x="12905" y="6124"/>
                  <a:pt x="12905" y="6124"/>
                </a:cubicBezTo>
                <a:cubicBezTo>
                  <a:pt x="12913" y="6124"/>
                  <a:pt x="12913" y="6124"/>
                  <a:pt x="12913" y="6124"/>
                </a:cubicBezTo>
                <a:cubicBezTo>
                  <a:pt x="12917" y="6121"/>
                  <a:pt x="12917" y="6121"/>
                  <a:pt x="12917" y="6121"/>
                </a:cubicBezTo>
                <a:cubicBezTo>
                  <a:pt x="12928" y="6121"/>
                  <a:pt x="12928" y="6121"/>
                  <a:pt x="12928" y="6121"/>
                </a:cubicBezTo>
                <a:cubicBezTo>
                  <a:pt x="12932" y="6116"/>
                  <a:pt x="12932" y="6116"/>
                  <a:pt x="12932" y="6116"/>
                </a:cubicBezTo>
                <a:cubicBezTo>
                  <a:pt x="12914" y="6114"/>
                  <a:pt x="12914" y="6114"/>
                  <a:pt x="12914" y="6114"/>
                </a:cubicBezTo>
                <a:cubicBezTo>
                  <a:pt x="12914" y="6114"/>
                  <a:pt x="12906" y="6105"/>
                  <a:pt x="12892" y="6106"/>
                </a:cubicBezTo>
                <a:close/>
                <a:moveTo>
                  <a:pt x="11485" y="4319"/>
                </a:moveTo>
                <a:cubicBezTo>
                  <a:pt x="11494" y="4318"/>
                  <a:pt x="11481" y="4298"/>
                  <a:pt x="11473" y="4303"/>
                </a:cubicBezTo>
                <a:cubicBezTo>
                  <a:pt x="11466" y="4307"/>
                  <a:pt x="11475" y="4321"/>
                  <a:pt x="11485" y="4319"/>
                </a:cubicBezTo>
                <a:close/>
                <a:moveTo>
                  <a:pt x="13253" y="6389"/>
                </a:moveTo>
                <a:cubicBezTo>
                  <a:pt x="13255" y="6396"/>
                  <a:pt x="13279" y="6384"/>
                  <a:pt x="13270" y="6377"/>
                </a:cubicBezTo>
                <a:cubicBezTo>
                  <a:pt x="13261" y="6370"/>
                  <a:pt x="13253" y="6389"/>
                  <a:pt x="13253" y="6389"/>
                </a:cubicBezTo>
                <a:close/>
                <a:moveTo>
                  <a:pt x="11424" y="4181"/>
                </a:moveTo>
                <a:cubicBezTo>
                  <a:pt x="11409" y="4195"/>
                  <a:pt x="11409" y="4195"/>
                  <a:pt x="11409" y="4195"/>
                </a:cubicBezTo>
                <a:cubicBezTo>
                  <a:pt x="11417" y="4215"/>
                  <a:pt x="11417" y="4215"/>
                  <a:pt x="11417" y="4215"/>
                </a:cubicBezTo>
                <a:cubicBezTo>
                  <a:pt x="11417" y="4215"/>
                  <a:pt x="11407" y="4233"/>
                  <a:pt x="11419" y="4229"/>
                </a:cubicBezTo>
                <a:cubicBezTo>
                  <a:pt x="11426" y="4226"/>
                  <a:pt x="11423" y="4201"/>
                  <a:pt x="11423" y="4201"/>
                </a:cubicBezTo>
                <a:cubicBezTo>
                  <a:pt x="11430" y="4192"/>
                  <a:pt x="11430" y="4192"/>
                  <a:pt x="11430" y="4192"/>
                </a:cubicBezTo>
                <a:lnTo>
                  <a:pt x="11424" y="4181"/>
                </a:lnTo>
                <a:close/>
                <a:moveTo>
                  <a:pt x="13852" y="4748"/>
                </a:moveTo>
                <a:cubicBezTo>
                  <a:pt x="13854" y="4737"/>
                  <a:pt x="13854" y="4737"/>
                  <a:pt x="13854" y="4737"/>
                </a:cubicBezTo>
                <a:cubicBezTo>
                  <a:pt x="13827" y="4720"/>
                  <a:pt x="13827" y="4720"/>
                  <a:pt x="13827" y="4720"/>
                </a:cubicBezTo>
                <a:cubicBezTo>
                  <a:pt x="13839" y="4710"/>
                  <a:pt x="13839" y="4710"/>
                  <a:pt x="13839" y="4710"/>
                </a:cubicBezTo>
                <a:cubicBezTo>
                  <a:pt x="13839" y="4710"/>
                  <a:pt x="13815" y="4709"/>
                  <a:pt x="13808" y="4702"/>
                </a:cubicBezTo>
                <a:cubicBezTo>
                  <a:pt x="13802" y="4695"/>
                  <a:pt x="13810" y="4681"/>
                  <a:pt x="13810" y="4672"/>
                </a:cubicBezTo>
                <a:cubicBezTo>
                  <a:pt x="13810" y="4663"/>
                  <a:pt x="13777" y="4680"/>
                  <a:pt x="13777" y="4680"/>
                </a:cubicBezTo>
                <a:cubicBezTo>
                  <a:pt x="13776" y="4659"/>
                  <a:pt x="13776" y="4659"/>
                  <a:pt x="13776" y="4659"/>
                </a:cubicBezTo>
                <a:cubicBezTo>
                  <a:pt x="13759" y="4651"/>
                  <a:pt x="13759" y="4651"/>
                  <a:pt x="13759" y="4651"/>
                </a:cubicBezTo>
                <a:cubicBezTo>
                  <a:pt x="13759" y="4621"/>
                  <a:pt x="13759" y="4621"/>
                  <a:pt x="13759" y="4621"/>
                </a:cubicBezTo>
                <a:cubicBezTo>
                  <a:pt x="13723" y="4595"/>
                  <a:pt x="13723" y="4595"/>
                  <a:pt x="13723" y="4595"/>
                </a:cubicBezTo>
                <a:cubicBezTo>
                  <a:pt x="13706" y="4558"/>
                  <a:pt x="13706" y="4558"/>
                  <a:pt x="13706" y="4558"/>
                </a:cubicBezTo>
                <a:cubicBezTo>
                  <a:pt x="13706" y="4558"/>
                  <a:pt x="13744" y="4545"/>
                  <a:pt x="13744" y="4529"/>
                </a:cubicBezTo>
                <a:cubicBezTo>
                  <a:pt x="13744" y="4513"/>
                  <a:pt x="13710" y="4504"/>
                  <a:pt x="13710" y="4504"/>
                </a:cubicBezTo>
                <a:cubicBezTo>
                  <a:pt x="13708" y="4500"/>
                  <a:pt x="13658" y="4486"/>
                  <a:pt x="13658" y="4486"/>
                </a:cubicBezTo>
                <a:cubicBezTo>
                  <a:pt x="13658" y="4486"/>
                  <a:pt x="13654" y="4473"/>
                  <a:pt x="13658" y="4453"/>
                </a:cubicBezTo>
                <a:cubicBezTo>
                  <a:pt x="13662" y="4434"/>
                  <a:pt x="13634" y="4431"/>
                  <a:pt x="13634" y="4431"/>
                </a:cubicBezTo>
                <a:cubicBezTo>
                  <a:pt x="13602" y="4397"/>
                  <a:pt x="13602" y="4397"/>
                  <a:pt x="13602" y="4397"/>
                </a:cubicBezTo>
                <a:cubicBezTo>
                  <a:pt x="13577" y="4398"/>
                  <a:pt x="13577" y="4398"/>
                  <a:pt x="13577" y="4398"/>
                </a:cubicBezTo>
                <a:cubicBezTo>
                  <a:pt x="13553" y="4375"/>
                  <a:pt x="13553" y="4375"/>
                  <a:pt x="13553" y="4375"/>
                </a:cubicBezTo>
                <a:cubicBezTo>
                  <a:pt x="13533" y="4371"/>
                  <a:pt x="13533" y="4371"/>
                  <a:pt x="13533" y="4371"/>
                </a:cubicBezTo>
                <a:cubicBezTo>
                  <a:pt x="13451" y="4333"/>
                  <a:pt x="13451" y="4333"/>
                  <a:pt x="13451" y="4333"/>
                </a:cubicBezTo>
                <a:cubicBezTo>
                  <a:pt x="13435" y="4339"/>
                  <a:pt x="13435" y="4339"/>
                  <a:pt x="13435" y="4339"/>
                </a:cubicBezTo>
                <a:cubicBezTo>
                  <a:pt x="13408" y="4320"/>
                  <a:pt x="13408" y="4320"/>
                  <a:pt x="13408" y="4320"/>
                </a:cubicBezTo>
                <a:cubicBezTo>
                  <a:pt x="13408" y="4320"/>
                  <a:pt x="13389" y="4322"/>
                  <a:pt x="13379" y="4322"/>
                </a:cubicBezTo>
                <a:cubicBezTo>
                  <a:pt x="13368" y="4322"/>
                  <a:pt x="13300" y="4279"/>
                  <a:pt x="13287" y="4275"/>
                </a:cubicBezTo>
                <a:cubicBezTo>
                  <a:pt x="13274" y="4271"/>
                  <a:pt x="13253" y="4290"/>
                  <a:pt x="13253" y="4290"/>
                </a:cubicBezTo>
                <a:cubicBezTo>
                  <a:pt x="13262" y="4308"/>
                  <a:pt x="13262" y="4308"/>
                  <a:pt x="13262" y="4308"/>
                </a:cubicBezTo>
                <a:cubicBezTo>
                  <a:pt x="13211" y="4313"/>
                  <a:pt x="13211" y="4313"/>
                  <a:pt x="13211" y="4313"/>
                </a:cubicBezTo>
                <a:cubicBezTo>
                  <a:pt x="13215" y="4331"/>
                  <a:pt x="13215" y="4331"/>
                  <a:pt x="13215" y="4331"/>
                </a:cubicBezTo>
                <a:cubicBezTo>
                  <a:pt x="13215" y="4331"/>
                  <a:pt x="13205" y="4362"/>
                  <a:pt x="13168" y="4369"/>
                </a:cubicBezTo>
                <a:cubicBezTo>
                  <a:pt x="13131" y="4377"/>
                  <a:pt x="13141" y="4328"/>
                  <a:pt x="13135" y="4328"/>
                </a:cubicBezTo>
                <a:cubicBezTo>
                  <a:pt x="13130" y="4328"/>
                  <a:pt x="13124" y="4350"/>
                  <a:pt x="13124" y="4350"/>
                </a:cubicBezTo>
                <a:cubicBezTo>
                  <a:pt x="13124" y="4350"/>
                  <a:pt x="13116" y="4333"/>
                  <a:pt x="13116" y="4324"/>
                </a:cubicBezTo>
                <a:cubicBezTo>
                  <a:pt x="13116" y="4314"/>
                  <a:pt x="13117" y="4287"/>
                  <a:pt x="13114" y="4270"/>
                </a:cubicBezTo>
                <a:cubicBezTo>
                  <a:pt x="13112" y="4253"/>
                  <a:pt x="13101" y="4235"/>
                  <a:pt x="13101" y="4235"/>
                </a:cubicBezTo>
                <a:cubicBezTo>
                  <a:pt x="13075" y="4235"/>
                  <a:pt x="13075" y="4235"/>
                  <a:pt x="13075" y="4235"/>
                </a:cubicBezTo>
                <a:cubicBezTo>
                  <a:pt x="13075" y="4235"/>
                  <a:pt x="13054" y="4211"/>
                  <a:pt x="13036" y="4211"/>
                </a:cubicBezTo>
                <a:cubicBezTo>
                  <a:pt x="13018" y="4211"/>
                  <a:pt x="12999" y="4236"/>
                  <a:pt x="12999" y="4236"/>
                </a:cubicBezTo>
                <a:cubicBezTo>
                  <a:pt x="12983" y="4240"/>
                  <a:pt x="12983" y="4240"/>
                  <a:pt x="12983" y="4240"/>
                </a:cubicBezTo>
                <a:cubicBezTo>
                  <a:pt x="12978" y="4252"/>
                  <a:pt x="12978" y="4252"/>
                  <a:pt x="12978" y="4252"/>
                </a:cubicBezTo>
                <a:cubicBezTo>
                  <a:pt x="12966" y="4258"/>
                  <a:pt x="12966" y="4258"/>
                  <a:pt x="12966" y="4258"/>
                </a:cubicBezTo>
                <a:cubicBezTo>
                  <a:pt x="12966" y="4249"/>
                  <a:pt x="12966" y="4249"/>
                  <a:pt x="12966" y="4249"/>
                </a:cubicBezTo>
                <a:cubicBezTo>
                  <a:pt x="12966" y="4249"/>
                  <a:pt x="12959" y="4237"/>
                  <a:pt x="12948" y="4241"/>
                </a:cubicBezTo>
                <a:cubicBezTo>
                  <a:pt x="12948" y="4241"/>
                  <a:pt x="12948" y="4254"/>
                  <a:pt x="12957" y="4267"/>
                </a:cubicBezTo>
                <a:cubicBezTo>
                  <a:pt x="12966" y="4280"/>
                  <a:pt x="12987" y="4273"/>
                  <a:pt x="13004" y="4278"/>
                </a:cubicBezTo>
                <a:cubicBezTo>
                  <a:pt x="13021" y="4283"/>
                  <a:pt x="13006" y="4291"/>
                  <a:pt x="13015" y="4307"/>
                </a:cubicBezTo>
                <a:cubicBezTo>
                  <a:pt x="13024" y="4322"/>
                  <a:pt x="13054" y="4309"/>
                  <a:pt x="13076" y="4309"/>
                </a:cubicBezTo>
                <a:cubicBezTo>
                  <a:pt x="13099" y="4309"/>
                  <a:pt x="13100" y="4314"/>
                  <a:pt x="13100" y="4325"/>
                </a:cubicBezTo>
                <a:cubicBezTo>
                  <a:pt x="13100" y="4335"/>
                  <a:pt x="13074" y="4325"/>
                  <a:pt x="13066" y="4326"/>
                </a:cubicBezTo>
                <a:cubicBezTo>
                  <a:pt x="13058" y="4328"/>
                  <a:pt x="13040" y="4339"/>
                  <a:pt x="13040" y="4339"/>
                </a:cubicBezTo>
                <a:cubicBezTo>
                  <a:pt x="13040" y="4339"/>
                  <a:pt x="13012" y="4339"/>
                  <a:pt x="13006" y="4346"/>
                </a:cubicBezTo>
                <a:cubicBezTo>
                  <a:pt x="12999" y="4352"/>
                  <a:pt x="13029" y="4359"/>
                  <a:pt x="13036" y="4363"/>
                </a:cubicBezTo>
                <a:cubicBezTo>
                  <a:pt x="13042" y="4367"/>
                  <a:pt x="13052" y="4383"/>
                  <a:pt x="13052" y="4383"/>
                </a:cubicBezTo>
                <a:cubicBezTo>
                  <a:pt x="13052" y="4383"/>
                  <a:pt x="13036" y="4402"/>
                  <a:pt x="13045" y="4415"/>
                </a:cubicBezTo>
                <a:cubicBezTo>
                  <a:pt x="13054" y="4428"/>
                  <a:pt x="13074" y="4393"/>
                  <a:pt x="13074" y="4389"/>
                </a:cubicBezTo>
                <a:cubicBezTo>
                  <a:pt x="13074" y="4385"/>
                  <a:pt x="13093" y="4356"/>
                  <a:pt x="13093" y="4356"/>
                </a:cubicBezTo>
                <a:cubicBezTo>
                  <a:pt x="13091" y="4381"/>
                  <a:pt x="13091" y="4381"/>
                  <a:pt x="13091" y="4381"/>
                </a:cubicBezTo>
                <a:cubicBezTo>
                  <a:pt x="13091" y="4381"/>
                  <a:pt x="13104" y="4394"/>
                  <a:pt x="13114" y="4403"/>
                </a:cubicBezTo>
                <a:cubicBezTo>
                  <a:pt x="13125" y="4413"/>
                  <a:pt x="13146" y="4405"/>
                  <a:pt x="13146" y="4405"/>
                </a:cubicBezTo>
                <a:cubicBezTo>
                  <a:pt x="13137" y="4414"/>
                  <a:pt x="13137" y="4414"/>
                  <a:pt x="13137" y="4414"/>
                </a:cubicBezTo>
                <a:cubicBezTo>
                  <a:pt x="13158" y="4434"/>
                  <a:pt x="13158" y="4434"/>
                  <a:pt x="13158" y="4434"/>
                </a:cubicBezTo>
                <a:cubicBezTo>
                  <a:pt x="13196" y="4435"/>
                  <a:pt x="13196" y="4435"/>
                  <a:pt x="13196" y="4435"/>
                </a:cubicBezTo>
                <a:cubicBezTo>
                  <a:pt x="13219" y="4452"/>
                  <a:pt x="13219" y="4452"/>
                  <a:pt x="13219" y="4452"/>
                </a:cubicBezTo>
                <a:cubicBezTo>
                  <a:pt x="13219" y="4452"/>
                  <a:pt x="13261" y="4466"/>
                  <a:pt x="13285" y="4483"/>
                </a:cubicBezTo>
                <a:cubicBezTo>
                  <a:pt x="13308" y="4500"/>
                  <a:pt x="13303" y="4506"/>
                  <a:pt x="13304" y="4525"/>
                </a:cubicBezTo>
                <a:cubicBezTo>
                  <a:pt x="13306" y="4545"/>
                  <a:pt x="13328" y="4554"/>
                  <a:pt x="13328" y="4554"/>
                </a:cubicBezTo>
                <a:cubicBezTo>
                  <a:pt x="13328" y="4554"/>
                  <a:pt x="13311" y="4557"/>
                  <a:pt x="13311" y="4566"/>
                </a:cubicBezTo>
                <a:cubicBezTo>
                  <a:pt x="13311" y="4575"/>
                  <a:pt x="13337" y="4576"/>
                  <a:pt x="13337" y="4576"/>
                </a:cubicBezTo>
                <a:cubicBezTo>
                  <a:pt x="13321" y="4582"/>
                  <a:pt x="13321" y="4582"/>
                  <a:pt x="13321" y="4582"/>
                </a:cubicBezTo>
                <a:cubicBezTo>
                  <a:pt x="13322" y="4590"/>
                  <a:pt x="13322" y="4590"/>
                  <a:pt x="13322" y="4590"/>
                </a:cubicBezTo>
                <a:cubicBezTo>
                  <a:pt x="13327" y="4593"/>
                  <a:pt x="13327" y="4593"/>
                  <a:pt x="13327" y="4593"/>
                </a:cubicBezTo>
                <a:cubicBezTo>
                  <a:pt x="13332" y="4614"/>
                  <a:pt x="13332" y="4614"/>
                  <a:pt x="13332" y="4614"/>
                </a:cubicBezTo>
                <a:cubicBezTo>
                  <a:pt x="13322" y="4635"/>
                  <a:pt x="13322" y="4635"/>
                  <a:pt x="13322" y="4635"/>
                </a:cubicBezTo>
                <a:cubicBezTo>
                  <a:pt x="13328" y="4634"/>
                  <a:pt x="13333" y="4633"/>
                  <a:pt x="13336" y="4634"/>
                </a:cubicBezTo>
                <a:cubicBezTo>
                  <a:pt x="13341" y="4637"/>
                  <a:pt x="13375" y="4622"/>
                  <a:pt x="13375" y="4622"/>
                </a:cubicBezTo>
                <a:cubicBezTo>
                  <a:pt x="13375" y="4640"/>
                  <a:pt x="13375" y="4640"/>
                  <a:pt x="13375" y="4640"/>
                </a:cubicBezTo>
                <a:cubicBezTo>
                  <a:pt x="13375" y="4640"/>
                  <a:pt x="13402" y="4673"/>
                  <a:pt x="13414" y="4682"/>
                </a:cubicBezTo>
                <a:cubicBezTo>
                  <a:pt x="13416" y="4683"/>
                  <a:pt x="13417" y="4684"/>
                  <a:pt x="13419" y="4685"/>
                </a:cubicBezTo>
                <a:cubicBezTo>
                  <a:pt x="13419" y="4685"/>
                  <a:pt x="13419" y="4685"/>
                  <a:pt x="13419" y="4685"/>
                </a:cubicBezTo>
                <a:cubicBezTo>
                  <a:pt x="13436" y="4689"/>
                  <a:pt x="13477" y="4680"/>
                  <a:pt x="13477" y="4680"/>
                </a:cubicBezTo>
                <a:cubicBezTo>
                  <a:pt x="13490" y="4692"/>
                  <a:pt x="13490" y="4692"/>
                  <a:pt x="13490" y="4692"/>
                </a:cubicBezTo>
                <a:cubicBezTo>
                  <a:pt x="13490" y="4692"/>
                  <a:pt x="13516" y="4682"/>
                  <a:pt x="13528" y="4672"/>
                </a:cubicBezTo>
                <a:cubicBezTo>
                  <a:pt x="13540" y="4661"/>
                  <a:pt x="13473" y="4631"/>
                  <a:pt x="13473" y="4631"/>
                </a:cubicBezTo>
                <a:cubicBezTo>
                  <a:pt x="13473" y="4631"/>
                  <a:pt x="13528" y="4639"/>
                  <a:pt x="13540" y="4637"/>
                </a:cubicBezTo>
                <a:cubicBezTo>
                  <a:pt x="13552" y="4634"/>
                  <a:pt x="13532" y="4613"/>
                  <a:pt x="13532" y="4613"/>
                </a:cubicBezTo>
                <a:cubicBezTo>
                  <a:pt x="13532" y="4613"/>
                  <a:pt x="13548" y="4625"/>
                  <a:pt x="13553" y="4622"/>
                </a:cubicBezTo>
                <a:cubicBezTo>
                  <a:pt x="13558" y="4620"/>
                  <a:pt x="13548" y="4597"/>
                  <a:pt x="13548" y="4597"/>
                </a:cubicBezTo>
                <a:cubicBezTo>
                  <a:pt x="13548" y="4597"/>
                  <a:pt x="13558" y="4606"/>
                  <a:pt x="13565" y="4608"/>
                </a:cubicBezTo>
                <a:cubicBezTo>
                  <a:pt x="13571" y="4609"/>
                  <a:pt x="13581" y="4596"/>
                  <a:pt x="13587" y="4595"/>
                </a:cubicBezTo>
                <a:cubicBezTo>
                  <a:pt x="13594" y="4593"/>
                  <a:pt x="13604" y="4613"/>
                  <a:pt x="13611" y="4617"/>
                </a:cubicBezTo>
                <a:cubicBezTo>
                  <a:pt x="13617" y="4621"/>
                  <a:pt x="13642" y="4616"/>
                  <a:pt x="13660" y="4626"/>
                </a:cubicBezTo>
                <a:cubicBezTo>
                  <a:pt x="13679" y="4637"/>
                  <a:pt x="13672" y="4660"/>
                  <a:pt x="13679" y="4672"/>
                </a:cubicBezTo>
                <a:cubicBezTo>
                  <a:pt x="13685" y="4684"/>
                  <a:pt x="13698" y="4676"/>
                  <a:pt x="13704" y="4682"/>
                </a:cubicBezTo>
                <a:cubicBezTo>
                  <a:pt x="13709" y="4689"/>
                  <a:pt x="13718" y="4730"/>
                  <a:pt x="13732" y="4740"/>
                </a:cubicBezTo>
                <a:cubicBezTo>
                  <a:pt x="13747" y="4750"/>
                  <a:pt x="13811" y="4744"/>
                  <a:pt x="13820" y="4748"/>
                </a:cubicBezTo>
                <a:cubicBezTo>
                  <a:pt x="13829" y="4752"/>
                  <a:pt x="13849" y="4775"/>
                  <a:pt x="13861" y="4775"/>
                </a:cubicBezTo>
                <a:cubicBezTo>
                  <a:pt x="13873" y="4775"/>
                  <a:pt x="13852" y="4748"/>
                  <a:pt x="13852" y="4748"/>
                </a:cubicBezTo>
                <a:close/>
                <a:moveTo>
                  <a:pt x="14324" y="6411"/>
                </a:moveTo>
                <a:cubicBezTo>
                  <a:pt x="14315" y="6411"/>
                  <a:pt x="14315" y="6411"/>
                  <a:pt x="14315" y="6411"/>
                </a:cubicBezTo>
                <a:cubicBezTo>
                  <a:pt x="14321" y="6386"/>
                  <a:pt x="14321" y="6386"/>
                  <a:pt x="14321" y="6386"/>
                </a:cubicBezTo>
                <a:cubicBezTo>
                  <a:pt x="14303" y="6397"/>
                  <a:pt x="14303" y="6397"/>
                  <a:pt x="14303" y="6397"/>
                </a:cubicBezTo>
                <a:cubicBezTo>
                  <a:pt x="14303" y="6397"/>
                  <a:pt x="14316" y="6371"/>
                  <a:pt x="14304" y="6371"/>
                </a:cubicBezTo>
                <a:cubicBezTo>
                  <a:pt x="14292" y="6370"/>
                  <a:pt x="14282" y="6387"/>
                  <a:pt x="14282" y="6387"/>
                </a:cubicBezTo>
                <a:cubicBezTo>
                  <a:pt x="14271" y="6394"/>
                  <a:pt x="14271" y="6394"/>
                  <a:pt x="14271" y="6394"/>
                </a:cubicBezTo>
                <a:cubicBezTo>
                  <a:pt x="14271" y="6394"/>
                  <a:pt x="14260" y="6405"/>
                  <a:pt x="14251" y="6416"/>
                </a:cubicBezTo>
                <a:cubicBezTo>
                  <a:pt x="14243" y="6427"/>
                  <a:pt x="14222" y="6429"/>
                  <a:pt x="14207" y="6439"/>
                </a:cubicBezTo>
                <a:cubicBezTo>
                  <a:pt x="14192" y="6450"/>
                  <a:pt x="14186" y="6468"/>
                  <a:pt x="14186" y="6468"/>
                </a:cubicBezTo>
                <a:cubicBezTo>
                  <a:pt x="14186" y="6468"/>
                  <a:pt x="14139" y="6482"/>
                  <a:pt x="14126" y="6491"/>
                </a:cubicBezTo>
                <a:cubicBezTo>
                  <a:pt x="14111" y="6500"/>
                  <a:pt x="14087" y="6520"/>
                  <a:pt x="14087" y="6520"/>
                </a:cubicBezTo>
                <a:cubicBezTo>
                  <a:pt x="14087" y="6520"/>
                  <a:pt x="14060" y="6524"/>
                  <a:pt x="14043" y="6531"/>
                </a:cubicBezTo>
                <a:cubicBezTo>
                  <a:pt x="14027" y="6539"/>
                  <a:pt x="14018" y="6541"/>
                  <a:pt x="14003" y="6549"/>
                </a:cubicBezTo>
                <a:cubicBezTo>
                  <a:pt x="13987" y="6558"/>
                  <a:pt x="13957" y="6569"/>
                  <a:pt x="13945" y="6575"/>
                </a:cubicBezTo>
                <a:cubicBezTo>
                  <a:pt x="13932" y="6581"/>
                  <a:pt x="13938" y="6600"/>
                  <a:pt x="13938" y="6600"/>
                </a:cubicBezTo>
                <a:cubicBezTo>
                  <a:pt x="13928" y="6591"/>
                  <a:pt x="13928" y="6591"/>
                  <a:pt x="13928" y="6591"/>
                </a:cubicBezTo>
                <a:cubicBezTo>
                  <a:pt x="13928" y="6591"/>
                  <a:pt x="13893" y="6613"/>
                  <a:pt x="13882" y="6619"/>
                </a:cubicBezTo>
                <a:cubicBezTo>
                  <a:pt x="13870" y="6626"/>
                  <a:pt x="13865" y="6623"/>
                  <a:pt x="13849" y="6629"/>
                </a:cubicBezTo>
                <a:cubicBezTo>
                  <a:pt x="13833" y="6635"/>
                  <a:pt x="13826" y="6644"/>
                  <a:pt x="13826" y="6644"/>
                </a:cubicBezTo>
                <a:cubicBezTo>
                  <a:pt x="13826" y="6644"/>
                  <a:pt x="13846" y="6643"/>
                  <a:pt x="13844" y="6647"/>
                </a:cubicBezTo>
                <a:cubicBezTo>
                  <a:pt x="13842" y="6651"/>
                  <a:pt x="13834" y="6656"/>
                  <a:pt x="13838" y="6665"/>
                </a:cubicBezTo>
                <a:cubicBezTo>
                  <a:pt x="13843" y="6674"/>
                  <a:pt x="13866" y="6660"/>
                  <a:pt x="13866" y="6660"/>
                </a:cubicBezTo>
                <a:cubicBezTo>
                  <a:pt x="13873" y="6667"/>
                  <a:pt x="13873" y="6667"/>
                  <a:pt x="13873" y="6667"/>
                </a:cubicBezTo>
                <a:cubicBezTo>
                  <a:pt x="13889" y="6667"/>
                  <a:pt x="13889" y="6667"/>
                  <a:pt x="13889" y="6667"/>
                </a:cubicBezTo>
                <a:cubicBezTo>
                  <a:pt x="13891" y="6673"/>
                  <a:pt x="13891" y="6673"/>
                  <a:pt x="13891" y="6673"/>
                </a:cubicBezTo>
                <a:cubicBezTo>
                  <a:pt x="13913" y="6670"/>
                  <a:pt x="13913" y="6670"/>
                  <a:pt x="13913" y="6670"/>
                </a:cubicBezTo>
                <a:cubicBezTo>
                  <a:pt x="13922" y="6684"/>
                  <a:pt x="13922" y="6684"/>
                  <a:pt x="13922" y="6684"/>
                </a:cubicBezTo>
                <a:cubicBezTo>
                  <a:pt x="13944" y="6681"/>
                  <a:pt x="13944" y="6681"/>
                  <a:pt x="13944" y="6681"/>
                </a:cubicBezTo>
                <a:cubicBezTo>
                  <a:pt x="13944" y="6681"/>
                  <a:pt x="13962" y="6692"/>
                  <a:pt x="13978" y="6689"/>
                </a:cubicBezTo>
                <a:cubicBezTo>
                  <a:pt x="13993" y="6686"/>
                  <a:pt x="13998" y="6670"/>
                  <a:pt x="14008" y="6663"/>
                </a:cubicBezTo>
                <a:cubicBezTo>
                  <a:pt x="14018" y="6656"/>
                  <a:pt x="14026" y="6666"/>
                  <a:pt x="14041" y="6656"/>
                </a:cubicBezTo>
                <a:cubicBezTo>
                  <a:pt x="14056" y="6646"/>
                  <a:pt x="14046" y="6633"/>
                  <a:pt x="14058" y="6622"/>
                </a:cubicBezTo>
                <a:cubicBezTo>
                  <a:pt x="14069" y="6610"/>
                  <a:pt x="14083" y="6618"/>
                  <a:pt x="14091" y="6610"/>
                </a:cubicBezTo>
                <a:cubicBezTo>
                  <a:pt x="14099" y="6603"/>
                  <a:pt x="14091" y="6594"/>
                  <a:pt x="14091" y="6594"/>
                </a:cubicBezTo>
                <a:cubicBezTo>
                  <a:pt x="14105" y="6593"/>
                  <a:pt x="14105" y="6593"/>
                  <a:pt x="14105" y="6593"/>
                </a:cubicBezTo>
                <a:cubicBezTo>
                  <a:pt x="14144" y="6563"/>
                  <a:pt x="14144" y="6563"/>
                  <a:pt x="14144" y="6563"/>
                </a:cubicBezTo>
                <a:cubicBezTo>
                  <a:pt x="14132" y="6553"/>
                  <a:pt x="14132" y="6553"/>
                  <a:pt x="14132" y="6553"/>
                </a:cubicBezTo>
                <a:cubicBezTo>
                  <a:pt x="14159" y="6563"/>
                  <a:pt x="14159" y="6563"/>
                  <a:pt x="14159" y="6563"/>
                </a:cubicBezTo>
                <a:cubicBezTo>
                  <a:pt x="14159" y="6563"/>
                  <a:pt x="14160" y="6547"/>
                  <a:pt x="14169" y="6546"/>
                </a:cubicBezTo>
                <a:cubicBezTo>
                  <a:pt x="14178" y="6545"/>
                  <a:pt x="14186" y="6553"/>
                  <a:pt x="14198" y="6556"/>
                </a:cubicBezTo>
                <a:cubicBezTo>
                  <a:pt x="14209" y="6558"/>
                  <a:pt x="14214" y="6539"/>
                  <a:pt x="14214" y="6539"/>
                </a:cubicBezTo>
                <a:cubicBezTo>
                  <a:pt x="14204" y="6531"/>
                  <a:pt x="14204" y="6531"/>
                  <a:pt x="14204" y="6531"/>
                </a:cubicBezTo>
                <a:cubicBezTo>
                  <a:pt x="14221" y="6516"/>
                  <a:pt x="14221" y="6516"/>
                  <a:pt x="14221" y="6516"/>
                </a:cubicBezTo>
                <a:cubicBezTo>
                  <a:pt x="14233" y="6502"/>
                  <a:pt x="14233" y="6502"/>
                  <a:pt x="14233" y="6502"/>
                </a:cubicBezTo>
                <a:cubicBezTo>
                  <a:pt x="14233" y="6502"/>
                  <a:pt x="14244" y="6495"/>
                  <a:pt x="14256" y="6492"/>
                </a:cubicBezTo>
                <a:cubicBezTo>
                  <a:pt x="14268" y="6489"/>
                  <a:pt x="14273" y="6472"/>
                  <a:pt x="14273" y="6472"/>
                </a:cubicBezTo>
                <a:cubicBezTo>
                  <a:pt x="14273" y="6472"/>
                  <a:pt x="14284" y="6470"/>
                  <a:pt x="14294" y="6466"/>
                </a:cubicBezTo>
                <a:cubicBezTo>
                  <a:pt x="14305" y="6462"/>
                  <a:pt x="14314" y="6444"/>
                  <a:pt x="14314" y="6444"/>
                </a:cubicBezTo>
                <a:cubicBezTo>
                  <a:pt x="14314" y="6444"/>
                  <a:pt x="14334" y="6437"/>
                  <a:pt x="14344" y="6425"/>
                </a:cubicBezTo>
                <a:cubicBezTo>
                  <a:pt x="14355" y="6412"/>
                  <a:pt x="14342" y="6389"/>
                  <a:pt x="14342" y="6389"/>
                </a:cubicBezTo>
                <a:lnTo>
                  <a:pt x="14324" y="6411"/>
                </a:lnTo>
                <a:close/>
                <a:moveTo>
                  <a:pt x="13321" y="4635"/>
                </a:moveTo>
                <a:cubicBezTo>
                  <a:pt x="13327" y="4613"/>
                  <a:pt x="13327" y="4613"/>
                  <a:pt x="13327" y="4613"/>
                </a:cubicBezTo>
                <a:cubicBezTo>
                  <a:pt x="13323" y="4599"/>
                  <a:pt x="13323" y="4599"/>
                  <a:pt x="13323" y="4599"/>
                </a:cubicBezTo>
                <a:cubicBezTo>
                  <a:pt x="13322" y="4598"/>
                  <a:pt x="13322" y="4598"/>
                  <a:pt x="13322" y="4598"/>
                </a:cubicBezTo>
                <a:cubicBezTo>
                  <a:pt x="13320" y="4595"/>
                  <a:pt x="13311" y="4587"/>
                  <a:pt x="13292" y="4596"/>
                </a:cubicBezTo>
                <a:cubicBezTo>
                  <a:pt x="13270" y="4606"/>
                  <a:pt x="13266" y="4644"/>
                  <a:pt x="13266" y="4644"/>
                </a:cubicBezTo>
                <a:cubicBezTo>
                  <a:pt x="13308" y="4639"/>
                  <a:pt x="13308" y="4639"/>
                  <a:pt x="13308" y="4639"/>
                </a:cubicBezTo>
                <a:cubicBezTo>
                  <a:pt x="13308" y="4639"/>
                  <a:pt x="13314" y="4637"/>
                  <a:pt x="13321" y="4635"/>
                </a:cubicBezTo>
                <a:close/>
                <a:moveTo>
                  <a:pt x="11435" y="4245"/>
                </a:moveTo>
                <a:cubicBezTo>
                  <a:pt x="11425" y="4257"/>
                  <a:pt x="11431" y="4299"/>
                  <a:pt x="11453" y="4295"/>
                </a:cubicBezTo>
                <a:cubicBezTo>
                  <a:pt x="11462" y="4293"/>
                  <a:pt x="11446" y="4233"/>
                  <a:pt x="11435" y="4245"/>
                </a:cubicBezTo>
                <a:close/>
                <a:moveTo>
                  <a:pt x="13175" y="4927"/>
                </a:moveTo>
                <a:cubicBezTo>
                  <a:pt x="13169" y="4927"/>
                  <a:pt x="13165" y="4958"/>
                  <a:pt x="13165" y="4958"/>
                </a:cubicBezTo>
                <a:cubicBezTo>
                  <a:pt x="13175" y="4972"/>
                  <a:pt x="13196" y="4960"/>
                  <a:pt x="13196" y="4960"/>
                </a:cubicBezTo>
                <a:cubicBezTo>
                  <a:pt x="13192" y="4951"/>
                  <a:pt x="13192" y="4951"/>
                  <a:pt x="13192" y="4951"/>
                </a:cubicBezTo>
                <a:cubicBezTo>
                  <a:pt x="13196" y="4932"/>
                  <a:pt x="13196" y="4932"/>
                  <a:pt x="13196" y="4932"/>
                </a:cubicBezTo>
                <a:cubicBezTo>
                  <a:pt x="13196" y="4932"/>
                  <a:pt x="13180" y="4927"/>
                  <a:pt x="13175" y="4927"/>
                </a:cubicBezTo>
                <a:close/>
                <a:moveTo>
                  <a:pt x="13263" y="6362"/>
                </a:moveTo>
                <a:cubicBezTo>
                  <a:pt x="13251" y="6337"/>
                  <a:pt x="13251" y="6337"/>
                  <a:pt x="13251" y="6337"/>
                </a:cubicBezTo>
                <a:cubicBezTo>
                  <a:pt x="13251" y="6337"/>
                  <a:pt x="13239" y="6344"/>
                  <a:pt x="13238" y="6352"/>
                </a:cubicBezTo>
                <a:cubicBezTo>
                  <a:pt x="13238" y="6359"/>
                  <a:pt x="13240" y="6362"/>
                  <a:pt x="13249" y="6365"/>
                </a:cubicBezTo>
                <a:cubicBezTo>
                  <a:pt x="13258" y="6368"/>
                  <a:pt x="13263" y="6362"/>
                  <a:pt x="13263" y="6362"/>
                </a:cubicBezTo>
                <a:close/>
                <a:moveTo>
                  <a:pt x="6552" y="1145"/>
                </a:moveTo>
                <a:cubicBezTo>
                  <a:pt x="6547" y="1137"/>
                  <a:pt x="6547" y="1137"/>
                  <a:pt x="6547" y="1137"/>
                </a:cubicBezTo>
                <a:cubicBezTo>
                  <a:pt x="6541" y="1159"/>
                  <a:pt x="6541" y="1159"/>
                  <a:pt x="6541" y="1159"/>
                </a:cubicBezTo>
                <a:lnTo>
                  <a:pt x="6552" y="1145"/>
                </a:lnTo>
                <a:close/>
                <a:moveTo>
                  <a:pt x="6608" y="1224"/>
                </a:moveTo>
                <a:cubicBezTo>
                  <a:pt x="6600" y="1224"/>
                  <a:pt x="6599" y="1230"/>
                  <a:pt x="6596" y="1245"/>
                </a:cubicBezTo>
                <a:cubicBezTo>
                  <a:pt x="6594" y="1257"/>
                  <a:pt x="6616" y="1224"/>
                  <a:pt x="6608" y="1224"/>
                </a:cubicBezTo>
                <a:close/>
                <a:moveTo>
                  <a:pt x="6587" y="1127"/>
                </a:moveTo>
                <a:cubicBezTo>
                  <a:pt x="6577" y="1127"/>
                  <a:pt x="6583" y="1137"/>
                  <a:pt x="6583" y="1137"/>
                </a:cubicBezTo>
                <a:cubicBezTo>
                  <a:pt x="6583" y="1137"/>
                  <a:pt x="6575" y="1134"/>
                  <a:pt x="6572" y="1137"/>
                </a:cubicBezTo>
                <a:cubicBezTo>
                  <a:pt x="6569" y="1140"/>
                  <a:pt x="6581" y="1147"/>
                  <a:pt x="6583" y="1151"/>
                </a:cubicBezTo>
                <a:cubicBezTo>
                  <a:pt x="6585" y="1155"/>
                  <a:pt x="6600" y="1152"/>
                  <a:pt x="6600" y="1152"/>
                </a:cubicBezTo>
                <a:cubicBezTo>
                  <a:pt x="6593" y="1144"/>
                  <a:pt x="6593" y="1144"/>
                  <a:pt x="6593" y="1144"/>
                </a:cubicBezTo>
                <a:cubicBezTo>
                  <a:pt x="6593" y="1144"/>
                  <a:pt x="6597" y="1127"/>
                  <a:pt x="6587" y="1127"/>
                </a:cubicBezTo>
                <a:close/>
                <a:moveTo>
                  <a:pt x="6627" y="1237"/>
                </a:moveTo>
                <a:cubicBezTo>
                  <a:pt x="6633" y="1233"/>
                  <a:pt x="6624" y="1220"/>
                  <a:pt x="6618" y="1226"/>
                </a:cubicBezTo>
                <a:cubicBezTo>
                  <a:pt x="6612" y="1232"/>
                  <a:pt x="6620" y="1241"/>
                  <a:pt x="6627" y="1237"/>
                </a:cubicBezTo>
                <a:close/>
                <a:moveTo>
                  <a:pt x="6647" y="1293"/>
                </a:moveTo>
                <a:cubicBezTo>
                  <a:pt x="6642" y="1278"/>
                  <a:pt x="6637" y="1298"/>
                  <a:pt x="6628" y="1306"/>
                </a:cubicBezTo>
                <a:cubicBezTo>
                  <a:pt x="6628" y="1306"/>
                  <a:pt x="6652" y="1308"/>
                  <a:pt x="6647" y="1293"/>
                </a:cubicBezTo>
                <a:close/>
                <a:moveTo>
                  <a:pt x="6576" y="1101"/>
                </a:moveTo>
                <a:cubicBezTo>
                  <a:pt x="6576" y="1101"/>
                  <a:pt x="6568" y="1093"/>
                  <a:pt x="6562" y="1096"/>
                </a:cubicBezTo>
                <a:cubicBezTo>
                  <a:pt x="6557" y="1099"/>
                  <a:pt x="6563" y="1121"/>
                  <a:pt x="6563" y="1121"/>
                </a:cubicBezTo>
                <a:cubicBezTo>
                  <a:pt x="6572" y="1112"/>
                  <a:pt x="6572" y="1112"/>
                  <a:pt x="6572" y="1112"/>
                </a:cubicBezTo>
                <a:cubicBezTo>
                  <a:pt x="6572" y="1112"/>
                  <a:pt x="6578" y="1114"/>
                  <a:pt x="6584" y="1113"/>
                </a:cubicBezTo>
                <a:cubicBezTo>
                  <a:pt x="6590" y="1112"/>
                  <a:pt x="6598" y="1083"/>
                  <a:pt x="6598" y="1083"/>
                </a:cubicBezTo>
                <a:cubicBezTo>
                  <a:pt x="6598" y="1083"/>
                  <a:pt x="6590" y="1085"/>
                  <a:pt x="6584" y="1090"/>
                </a:cubicBezTo>
                <a:cubicBezTo>
                  <a:pt x="6578" y="1094"/>
                  <a:pt x="6576" y="1101"/>
                  <a:pt x="6576" y="1101"/>
                </a:cubicBezTo>
                <a:close/>
                <a:moveTo>
                  <a:pt x="6370" y="744"/>
                </a:moveTo>
                <a:cubicBezTo>
                  <a:pt x="6356" y="737"/>
                  <a:pt x="6344" y="744"/>
                  <a:pt x="6344" y="744"/>
                </a:cubicBezTo>
                <a:cubicBezTo>
                  <a:pt x="6347" y="734"/>
                  <a:pt x="6347" y="734"/>
                  <a:pt x="6347" y="734"/>
                </a:cubicBezTo>
                <a:cubicBezTo>
                  <a:pt x="6329" y="735"/>
                  <a:pt x="6329" y="735"/>
                  <a:pt x="6329" y="735"/>
                </a:cubicBezTo>
                <a:cubicBezTo>
                  <a:pt x="6339" y="720"/>
                  <a:pt x="6339" y="720"/>
                  <a:pt x="6339" y="720"/>
                </a:cubicBezTo>
                <a:cubicBezTo>
                  <a:pt x="6330" y="718"/>
                  <a:pt x="6330" y="718"/>
                  <a:pt x="6330" y="718"/>
                </a:cubicBezTo>
                <a:cubicBezTo>
                  <a:pt x="6334" y="706"/>
                  <a:pt x="6334" y="706"/>
                  <a:pt x="6334" y="706"/>
                </a:cubicBezTo>
                <a:cubicBezTo>
                  <a:pt x="6313" y="711"/>
                  <a:pt x="6313" y="711"/>
                  <a:pt x="6313" y="711"/>
                </a:cubicBezTo>
                <a:cubicBezTo>
                  <a:pt x="6313" y="711"/>
                  <a:pt x="6292" y="694"/>
                  <a:pt x="6285" y="694"/>
                </a:cubicBezTo>
                <a:cubicBezTo>
                  <a:pt x="6278" y="694"/>
                  <a:pt x="6282" y="710"/>
                  <a:pt x="6282" y="710"/>
                </a:cubicBezTo>
                <a:cubicBezTo>
                  <a:pt x="6268" y="716"/>
                  <a:pt x="6268" y="716"/>
                  <a:pt x="6268" y="716"/>
                </a:cubicBezTo>
                <a:cubicBezTo>
                  <a:pt x="6268" y="716"/>
                  <a:pt x="6256" y="713"/>
                  <a:pt x="6250" y="713"/>
                </a:cubicBezTo>
                <a:cubicBezTo>
                  <a:pt x="6244" y="713"/>
                  <a:pt x="6237" y="723"/>
                  <a:pt x="6237" y="723"/>
                </a:cubicBezTo>
                <a:cubicBezTo>
                  <a:pt x="6237" y="723"/>
                  <a:pt x="6221" y="711"/>
                  <a:pt x="6215" y="713"/>
                </a:cubicBezTo>
                <a:cubicBezTo>
                  <a:pt x="6209" y="715"/>
                  <a:pt x="6214" y="735"/>
                  <a:pt x="6214" y="735"/>
                </a:cubicBezTo>
                <a:cubicBezTo>
                  <a:pt x="6214" y="735"/>
                  <a:pt x="6196" y="710"/>
                  <a:pt x="6189" y="710"/>
                </a:cubicBezTo>
                <a:cubicBezTo>
                  <a:pt x="6182" y="710"/>
                  <a:pt x="6186" y="717"/>
                  <a:pt x="6186" y="717"/>
                </a:cubicBezTo>
                <a:cubicBezTo>
                  <a:pt x="6186" y="717"/>
                  <a:pt x="6171" y="717"/>
                  <a:pt x="6170" y="720"/>
                </a:cubicBezTo>
                <a:cubicBezTo>
                  <a:pt x="6169" y="723"/>
                  <a:pt x="6169" y="732"/>
                  <a:pt x="6169" y="732"/>
                </a:cubicBezTo>
                <a:cubicBezTo>
                  <a:pt x="6159" y="733"/>
                  <a:pt x="6159" y="733"/>
                  <a:pt x="6159" y="733"/>
                </a:cubicBezTo>
                <a:cubicBezTo>
                  <a:pt x="6159" y="733"/>
                  <a:pt x="6143" y="712"/>
                  <a:pt x="6138" y="716"/>
                </a:cubicBezTo>
                <a:cubicBezTo>
                  <a:pt x="6133" y="720"/>
                  <a:pt x="6138" y="743"/>
                  <a:pt x="6133" y="744"/>
                </a:cubicBezTo>
                <a:cubicBezTo>
                  <a:pt x="6128" y="745"/>
                  <a:pt x="6121" y="736"/>
                  <a:pt x="6117" y="736"/>
                </a:cubicBezTo>
                <a:cubicBezTo>
                  <a:pt x="6113" y="736"/>
                  <a:pt x="6100" y="757"/>
                  <a:pt x="6100" y="757"/>
                </a:cubicBezTo>
                <a:cubicBezTo>
                  <a:pt x="6098" y="750"/>
                  <a:pt x="6098" y="750"/>
                  <a:pt x="6098" y="750"/>
                </a:cubicBezTo>
                <a:cubicBezTo>
                  <a:pt x="6090" y="734"/>
                  <a:pt x="6090" y="734"/>
                  <a:pt x="6090" y="734"/>
                </a:cubicBezTo>
                <a:cubicBezTo>
                  <a:pt x="6090" y="734"/>
                  <a:pt x="6106" y="729"/>
                  <a:pt x="6100" y="720"/>
                </a:cubicBezTo>
                <a:cubicBezTo>
                  <a:pt x="6094" y="711"/>
                  <a:pt x="6061" y="697"/>
                  <a:pt x="6056" y="701"/>
                </a:cubicBezTo>
                <a:cubicBezTo>
                  <a:pt x="6051" y="705"/>
                  <a:pt x="6057" y="720"/>
                  <a:pt x="6057" y="720"/>
                </a:cubicBezTo>
                <a:cubicBezTo>
                  <a:pt x="6057" y="720"/>
                  <a:pt x="6037" y="713"/>
                  <a:pt x="6031" y="713"/>
                </a:cubicBezTo>
                <a:cubicBezTo>
                  <a:pt x="6025" y="713"/>
                  <a:pt x="6013" y="725"/>
                  <a:pt x="6013" y="725"/>
                </a:cubicBezTo>
                <a:cubicBezTo>
                  <a:pt x="6023" y="731"/>
                  <a:pt x="6023" y="731"/>
                  <a:pt x="6023" y="731"/>
                </a:cubicBezTo>
                <a:cubicBezTo>
                  <a:pt x="6023" y="731"/>
                  <a:pt x="6011" y="729"/>
                  <a:pt x="6005" y="735"/>
                </a:cubicBezTo>
                <a:cubicBezTo>
                  <a:pt x="5999" y="741"/>
                  <a:pt x="5992" y="741"/>
                  <a:pt x="5992" y="741"/>
                </a:cubicBezTo>
                <a:cubicBezTo>
                  <a:pt x="5992" y="741"/>
                  <a:pt x="6000" y="748"/>
                  <a:pt x="6008" y="748"/>
                </a:cubicBezTo>
                <a:cubicBezTo>
                  <a:pt x="6016" y="748"/>
                  <a:pt x="6043" y="737"/>
                  <a:pt x="6043" y="737"/>
                </a:cubicBezTo>
                <a:cubicBezTo>
                  <a:pt x="6078" y="743"/>
                  <a:pt x="6078" y="743"/>
                  <a:pt x="6078" y="743"/>
                </a:cubicBezTo>
                <a:cubicBezTo>
                  <a:pt x="6052" y="755"/>
                  <a:pt x="6052" y="755"/>
                  <a:pt x="6052" y="755"/>
                </a:cubicBezTo>
                <a:cubicBezTo>
                  <a:pt x="6052" y="755"/>
                  <a:pt x="6072" y="758"/>
                  <a:pt x="6072" y="762"/>
                </a:cubicBezTo>
                <a:cubicBezTo>
                  <a:pt x="6072" y="766"/>
                  <a:pt x="6027" y="766"/>
                  <a:pt x="6023" y="767"/>
                </a:cubicBezTo>
                <a:cubicBezTo>
                  <a:pt x="6019" y="768"/>
                  <a:pt x="5988" y="766"/>
                  <a:pt x="5994" y="773"/>
                </a:cubicBezTo>
                <a:cubicBezTo>
                  <a:pt x="6000" y="780"/>
                  <a:pt x="6013" y="775"/>
                  <a:pt x="6026" y="776"/>
                </a:cubicBezTo>
                <a:cubicBezTo>
                  <a:pt x="6039" y="777"/>
                  <a:pt x="6053" y="789"/>
                  <a:pt x="6053" y="789"/>
                </a:cubicBezTo>
                <a:cubicBezTo>
                  <a:pt x="6076" y="785"/>
                  <a:pt x="6076" y="785"/>
                  <a:pt x="6076" y="785"/>
                </a:cubicBezTo>
                <a:cubicBezTo>
                  <a:pt x="6063" y="795"/>
                  <a:pt x="6063" y="795"/>
                  <a:pt x="6063" y="795"/>
                </a:cubicBezTo>
                <a:cubicBezTo>
                  <a:pt x="6073" y="799"/>
                  <a:pt x="6073" y="799"/>
                  <a:pt x="6073" y="799"/>
                </a:cubicBezTo>
                <a:cubicBezTo>
                  <a:pt x="6073" y="799"/>
                  <a:pt x="6070" y="808"/>
                  <a:pt x="6063" y="812"/>
                </a:cubicBezTo>
                <a:cubicBezTo>
                  <a:pt x="6056" y="816"/>
                  <a:pt x="6023" y="810"/>
                  <a:pt x="6029" y="819"/>
                </a:cubicBezTo>
                <a:cubicBezTo>
                  <a:pt x="6035" y="828"/>
                  <a:pt x="6063" y="824"/>
                  <a:pt x="6070" y="824"/>
                </a:cubicBezTo>
                <a:cubicBezTo>
                  <a:pt x="6077" y="824"/>
                  <a:pt x="6086" y="817"/>
                  <a:pt x="6086" y="817"/>
                </a:cubicBezTo>
                <a:cubicBezTo>
                  <a:pt x="6104" y="828"/>
                  <a:pt x="6104" y="828"/>
                  <a:pt x="6104" y="828"/>
                </a:cubicBezTo>
                <a:cubicBezTo>
                  <a:pt x="6112" y="821"/>
                  <a:pt x="6112" y="821"/>
                  <a:pt x="6112" y="821"/>
                </a:cubicBezTo>
                <a:cubicBezTo>
                  <a:pt x="6112" y="821"/>
                  <a:pt x="6109" y="827"/>
                  <a:pt x="6119" y="832"/>
                </a:cubicBezTo>
                <a:cubicBezTo>
                  <a:pt x="6129" y="837"/>
                  <a:pt x="6152" y="846"/>
                  <a:pt x="6160" y="844"/>
                </a:cubicBezTo>
                <a:cubicBezTo>
                  <a:pt x="6188" y="837"/>
                  <a:pt x="6188" y="843"/>
                  <a:pt x="6195" y="838"/>
                </a:cubicBezTo>
                <a:cubicBezTo>
                  <a:pt x="6202" y="833"/>
                  <a:pt x="6199" y="825"/>
                  <a:pt x="6199" y="825"/>
                </a:cubicBezTo>
                <a:cubicBezTo>
                  <a:pt x="6199" y="825"/>
                  <a:pt x="6218" y="833"/>
                  <a:pt x="6226" y="830"/>
                </a:cubicBezTo>
                <a:cubicBezTo>
                  <a:pt x="6234" y="827"/>
                  <a:pt x="6234" y="820"/>
                  <a:pt x="6234" y="820"/>
                </a:cubicBezTo>
                <a:cubicBezTo>
                  <a:pt x="6234" y="820"/>
                  <a:pt x="6245" y="824"/>
                  <a:pt x="6250" y="824"/>
                </a:cubicBezTo>
                <a:cubicBezTo>
                  <a:pt x="6255" y="824"/>
                  <a:pt x="6293" y="801"/>
                  <a:pt x="6301" y="800"/>
                </a:cubicBezTo>
                <a:cubicBezTo>
                  <a:pt x="6309" y="799"/>
                  <a:pt x="6320" y="806"/>
                  <a:pt x="6327" y="799"/>
                </a:cubicBezTo>
                <a:cubicBezTo>
                  <a:pt x="6334" y="792"/>
                  <a:pt x="6335" y="781"/>
                  <a:pt x="6335" y="781"/>
                </a:cubicBezTo>
                <a:cubicBezTo>
                  <a:pt x="6335" y="781"/>
                  <a:pt x="6342" y="781"/>
                  <a:pt x="6351" y="777"/>
                </a:cubicBezTo>
                <a:cubicBezTo>
                  <a:pt x="6360" y="773"/>
                  <a:pt x="6371" y="763"/>
                  <a:pt x="6371" y="763"/>
                </a:cubicBezTo>
                <a:cubicBezTo>
                  <a:pt x="6361" y="762"/>
                  <a:pt x="6361" y="762"/>
                  <a:pt x="6361" y="762"/>
                </a:cubicBezTo>
                <a:cubicBezTo>
                  <a:pt x="6361" y="762"/>
                  <a:pt x="6384" y="751"/>
                  <a:pt x="6370" y="744"/>
                </a:cubicBezTo>
                <a:close/>
                <a:moveTo>
                  <a:pt x="6577" y="1229"/>
                </a:moveTo>
                <a:cubicBezTo>
                  <a:pt x="6592" y="1229"/>
                  <a:pt x="6599" y="1218"/>
                  <a:pt x="6588" y="1216"/>
                </a:cubicBezTo>
                <a:cubicBezTo>
                  <a:pt x="6577" y="1214"/>
                  <a:pt x="6568" y="1229"/>
                  <a:pt x="6577" y="1229"/>
                </a:cubicBezTo>
                <a:close/>
                <a:moveTo>
                  <a:pt x="6553" y="1123"/>
                </a:moveTo>
                <a:cubicBezTo>
                  <a:pt x="6547" y="1123"/>
                  <a:pt x="6544" y="1123"/>
                  <a:pt x="6542" y="1131"/>
                </a:cubicBezTo>
                <a:cubicBezTo>
                  <a:pt x="6556" y="1131"/>
                  <a:pt x="6556" y="1131"/>
                  <a:pt x="6556" y="1131"/>
                </a:cubicBezTo>
                <a:cubicBezTo>
                  <a:pt x="6556" y="1131"/>
                  <a:pt x="6559" y="1123"/>
                  <a:pt x="6553" y="1123"/>
                </a:cubicBezTo>
                <a:close/>
                <a:moveTo>
                  <a:pt x="6576" y="1346"/>
                </a:moveTo>
                <a:cubicBezTo>
                  <a:pt x="6576" y="1336"/>
                  <a:pt x="6567" y="1329"/>
                  <a:pt x="6567" y="1329"/>
                </a:cubicBezTo>
                <a:cubicBezTo>
                  <a:pt x="6567" y="1329"/>
                  <a:pt x="6567" y="1320"/>
                  <a:pt x="6565" y="1315"/>
                </a:cubicBezTo>
                <a:cubicBezTo>
                  <a:pt x="6565" y="1311"/>
                  <a:pt x="6574" y="1310"/>
                  <a:pt x="6579" y="1308"/>
                </a:cubicBezTo>
                <a:cubicBezTo>
                  <a:pt x="6581" y="1308"/>
                  <a:pt x="6583" y="1307"/>
                  <a:pt x="6584" y="1306"/>
                </a:cubicBezTo>
                <a:cubicBezTo>
                  <a:pt x="6587" y="1303"/>
                  <a:pt x="6589" y="1297"/>
                  <a:pt x="6589" y="1297"/>
                </a:cubicBezTo>
                <a:cubicBezTo>
                  <a:pt x="6589" y="1297"/>
                  <a:pt x="6594" y="1304"/>
                  <a:pt x="6597" y="1298"/>
                </a:cubicBezTo>
                <a:cubicBezTo>
                  <a:pt x="6600" y="1292"/>
                  <a:pt x="6607" y="1282"/>
                  <a:pt x="6600" y="1276"/>
                </a:cubicBezTo>
                <a:cubicBezTo>
                  <a:pt x="6593" y="1270"/>
                  <a:pt x="6593" y="1261"/>
                  <a:pt x="6593" y="1261"/>
                </a:cubicBezTo>
                <a:cubicBezTo>
                  <a:pt x="6588" y="1263"/>
                  <a:pt x="6588" y="1263"/>
                  <a:pt x="6588" y="1263"/>
                </a:cubicBezTo>
                <a:cubicBezTo>
                  <a:pt x="6588" y="1263"/>
                  <a:pt x="6583" y="1251"/>
                  <a:pt x="6576" y="1249"/>
                </a:cubicBezTo>
                <a:cubicBezTo>
                  <a:pt x="6569" y="1247"/>
                  <a:pt x="6551" y="1250"/>
                  <a:pt x="6551" y="1250"/>
                </a:cubicBezTo>
                <a:cubicBezTo>
                  <a:pt x="6551" y="1250"/>
                  <a:pt x="6551" y="1250"/>
                  <a:pt x="6551" y="1249"/>
                </a:cubicBezTo>
                <a:cubicBezTo>
                  <a:pt x="6550" y="1248"/>
                  <a:pt x="6548" y="1246"/>
                  <a:pt x="6543" y="1244"/>
                </a:cubicBezTo>
                <a:cubicBezTo>
                  <a:pt x="6536" y="1242"/>
                  <a:pt x="6528" y="1256"/>
                  <a:pt x="6528" y="1256"/>
                </a:cubicBezTo>
                <a:cubicBezTo>
                  <a:pt x="6524" y="1246"/>
                  <a:pt x="6524" y="1246"/>
                  <a:pt x="6524" y="1246"/>
                </a:cubicBezTo>
                <a:cubicBezTo>
                  <a:pt x="6524" y="1246"/>
                  <a:pt x="6501" y="1246"/>
                  <a:pt x="6497" y="1251"/>
                </a:cubicBezTo>
                <a:cubicBezTo>
                  <a:pt x="6493" y="1257"/>
                  <a:pt x="6489" y="1272"/>
                  <a:pt x="6489" y="1272"/>
                </a:cubicBezTo>
                <a:cubicBezTo>
                  <a:pt x="6489" y="1272"/>
                  <a:pt x="6474" y="1271"/>
                  <a:pt x="6474" y="1277"/>
                </a:cubicBezTo>
                <a:cubicBezTo>
                  <a:pt x="6474" y="1283"/>
                  <a:pt x="6496" y="1279"/>
                  <a:pt x="6492" y="1286"/>
                </a:cubicBezTo>
                <a:cubicBezTo>
                  <a:pt x="6488" y="1293"/>
                  <a:pt x="6484" y="1289"/>
                  <a:pt x="6482" y="1292"/>
                </a:cubicBezTo>
                <a:cubicBezTo>
                  <a:pt x="6480" y="1295"/>
                  <a:pt x="6477" y="1299"/>
                  <a:pt x="6477" y="1299"/>
                </a:cubicBezTo>
                <a:cubicBezTo>
                  <a:pt x="6459" y="1298"/>
                  <a:pt x="6459" y="1298"/>
                  <a:pt x="6459" y="1298"/>
                </a:cubicBezTo>
                <a:cubicBezTo>
                  <a:pt x="6459" y="1303"/>
                  <a:pt x="6459" y="1303"/>
                  <a:pt x="6459" y="1303"/>
                </a:cubicBezTo>
                <a:cubicBezTo>
                  <a:pt x="6459" y="1303"/>
                  <a:pt x="6446" y="1289"/>
                  <a:pt x="6438" y="1293"/>
                </a:cubicBezTo>
                <a:cubicBezTo>
                  <a:pt x="6430" y="1297"/>
                  <a:pt x="6420" y="1296"/>
                  <a:pt x="6420" y="1296"/>
                </a:cubicBezTo>
                <a:cubicBezTo>
                  <a:pt x="6420" y="1296"/>
                  <a:pt x="6418" y="1313"/>
                  <a:pt x="6423" y="1313"/>
                </a:cubicBezTo>
                <a:cubicBezTo>
                  <a:pt x="6428" y="1313"/>
                  <a:pt x="6432" y="1321"/>
                  <a:pt x="6432" y="1321"/>
                </a:cubicBezTo>
                <a:cubicBezTo>
                  <a:pt x="6421" y="1328"/>
                  <a:pt x="6421" y="1328"/>
                  <a:pt x="6421" y="1328"/>
                </a:cubicBezTo>
                <a:cubicBezTo>
                  <a:pt x="6421" y="1328"/>
                  <a:pt x="6410" y="1332"/>
                  <a:pt x="6415" y="1340"/>
                </a:cubicBezTo>
                <a:cubicBezTo>
                  <a:pt x="6420" y="1348"/>
                  <a:pt x="6438" y="1349"/>
                  <a:pt x="6438" y="1349"/>
                </a:cubicBezTo>
                <a:cubicBezTo>
                  <a:pt x="6438" y="1349"/>
                  <a:pt x="6457" y="1341"/>
                  <a:pt x="6456" y="1349"/>
                </a:cubicBezTo>
                <a:cubicBezTo>
                  <a:pt x="6455" y="1357"/>
                  <a:pt x="6440" y="1358"/>
                  <a:pt x="6440" y="1358"/>
                </a:cubicBezTo>
                <a:cubicBezTo>
                  <a:pt x="6440" y="1372"/>
                  <a:pt x="6440" y="1372"/>
                  <a:pt x="6440" y="1372"/>
                </a:cubicBezTo>
                <a:cubicBezTo>
                  <a:pt x="6440" y="1372"/>
                  <a:pt x="6427" y="1367"/>
                  <a:pt x="6425" y="1376"/>
                </a:cubicBezTo>
                <a:cubicBezTo>
                  <a:pt x="6423" y="1385"/>
                  <a:pt x="6420" y="1398"/>
                  <a:pt x="6420" y="1398"/>
                </a:cubicBezTo>
                <a:cubicBezTo>
                  <a:pt x="6420" y="1398"/>
                  <a:pt x="6395" y="1398"/>
                  <a:pt x="6394" y="1403"/>
                </a:cubicBezTo>
                <a:cubicBezTo>
                  <a:pt x="6393" y="1408"/>
                  <a:pt x="6405" y="1409"/>
                  <a:pt x="6405" y="1409"/>
                </a:cubicBezTo>
                <a:cubicBezTo>
                  <a:pt x="6405" y="1409"/>
                  <a:pt x="6390" y="1411"/>
                  <a:pt x="6390" y="1418"/>
                </a:cubicBezTo>
                <a:cubicBezTo>
                  <a:pt x="6390" y="1426"/>
                  <a:pt x="6397" y="1425"/>
                  <a:pt x="6397" y="1425"/>
                </a:cubicBezTo>
                <a:cubicBezTo>
                  <a:pt x="6420" y="1422"/>
                  <a:pt x="6420" y="1422"/>
                  <a:pt x="6420" y="1422"/>
                </a:cubicBezTo>
                <a:cubicBezTo>
                  <a:pt x="6409" y="1434"/>
                  <a:pt x="6409" y="1434"/>
                  <a:pt x="6409" y="1434"/>
                </a:cubicBezTo>
                <a:cubicBezTo>
                  <a:pt x="6409" y="1434"/>
                  <a:pt x="6426" y="1429"/>
                  <a:pt x="6425" y="1432"/>
                </a:cubicBezTo>
                <a:cubicBezTo>
                  <a:pt x="6424" y="1435"/>
                  <a:pt x="6404" y="1444"/>
                  <a:pt x="6419" y="1444"/>
                </a:cubicBezTo>
                <a:cubicBezTo>
                  <a:pt x="6434" y="1444"/>
                  <a:pt x="6455" y="1438"/>
                  <a:pt x="6464" y="1433"/>
                </a:cubicBezTo>
                <a:cubicBezTo>
                  <a:pt x="6473" y="1428"/>
                  <a:pt x="6473" y="1420"/>
                  <a:pt x="6473" y="1420"/>
                </a:cubicBezTo>
                <a:cubicBezTo>
                  <a:pt x="6473" y="1420"/>
                  <a:pt x="6483" y="1426"/>
                  <a:pt x="6492" y="1420"/>
                </a:cubicBezTo>
                <a:cubicBezTo>
                  <a:pt x="6501" y="1415"/>
                  <a:pt x="6502" y="1409"/>
                  <a:pt x="6514" y="1408"/>
                </a:cubicBezTo>
                <a:cubicBezTo>
                  <a:pt x="6525" y="1407"/>
                  <a:pt x="6530" y="1407"/>
                  <a:pt x="6530" y="1407"/>
                </a:cubicBezTo>
                <a:cubicBezTo>
                  <a:pt x="6533" y="1401"/>
                  <a:pt x="6533" y="1401"/>
                  <a:pt x="6533" y="1401"/>
                </a:cubicBezTo>
                <a:cubicBezTo>
                  <a:pt x="6558" y="1402"/>
                  <a:pt x="6558" y="1402"/>
                  <a:pt x="6558" y="1402"/>
                </a:cubicBezTo>
                <a:cubicBezTo>
                  <a:pt x="6557" y="1390"/>
                  <a:pt x="6557" y="1390"/>
                  <a:pt x="6557" y="1390"/>
                </a:cubicBezTo>
                <a:cubicBezTo>
                  <a:pt x="6557" y="1390"/>
                  <a:pt x="6569" y="1392"/>
                  <a:pt x="6569" y="1388"/>
                </a:cubicBezTo>
                <a:cubicBezTo>
                  <a:pt x="6569" y="1384"/>
                  <a:pt x="6564" y="1380"/>
                  <a:pt x="6568" y="1375"/>
                </a:cubicBezTo>
                <a:cubicBezTo>
                  <a:pt x="6571" y="1370"/>
                  <a:pt x="6576" y="1356"/>
                  <a:pt x="6576" y="1346"/>
                </a:cubicBezTo>
                <a:close/>
                <a:moveTo>
                  <a:pt x="6590" y="1178"/>
                </a:moveTo>
                <a:cubicBezTo>
                  <a:pt x="6586" y="1178"/>
                  <a:pt x="6580" y="1190"/>
                  <a:pt x="6584" y="1193"/>
                </a:cubicBezTo>
                <a:cubicBezTo>
                  <a:pt x="6588" y="1196"/>
                  <a:pt x="6601" y="1189"/>
                  <a:pt x="6601" y="1189"/>
                </a:cubicBezTo>
                <a:cubicBezTo>
                  <a:pt x="6601" y="1189"/>
                  <a:pt x="6594" y="1178"/>
                  <a:pt x="6590" y="1178"/>
                </a:cubicBezTo>
                <a:close/>
                <a:moveTo>
                  <a:pt x="7967" y="2161"/>
                </a:moveTo>
                <a:cubicBezTo>
                  <a:pt x="7957" y="2153"/>
                  <a:pt x="7959" y="2171"/>
                  <a:pt x="7959" y="2171"/>
                </a:cubicBezTo>
                <a:cubicBezTo>
                  <a:pt x="7973" y="2178"/>
                  <a:pt x="7977" y="2169"/>
                  <a:pt x="7967" y="2161"/>
                </a:cubicBezTo>
                <a:close/>
                <a:moveTo>
                  <a:pt x="7937" y="2078"/>
                </a:moveTo>
                <a:cubicBezTo>
                  <a:pt x="7918" y="2083"/>
                  <a:pt x="7918" y="2083"/>
                  <a:pt x="7918" y="2083"/>
                </a:cubicBezTo>
                <a:cubicBezTo>
                  <a:pt x="7919" y="2099"/>
                  <a:pt x="7932" y="2092"/>
                  <a:pt x="7932" y="2092"/>
                </a:cubicBezTo>
                <a:cubicBezTo>
                  <a:pt x="7932" y="2092"/>
                  <a:pt x="7937" y="2103"/>
                  <a:pt x="7946" y="2099"/>
                </a:cubicBezTo>
                <a:cubicBezTo>
                  <a:pt x="7955" y="2095"/>
                  <a:pt x="7937" y="2078"/>
                  <a:pt x="7937" y="2078"/>
                </a:cubicBezTo>
                <a:close/>
                <a:moveTo>
                  <a:pt x="7491" y="141"/>
                </a:moveTo>
                <a:cubicBezTo>
                  <a:pt x="7519" y="141"/>
                  <a:pt x="7519" y="141"/>
                  <a:pt x="7519" y="141"/>
                </a:cubicBezTo>
                <a:cubicBezTo>
                  <a:pt x="7519" y="141"/>
                  <a:pt x="7550" y="152"/>
                  <a:pt x="7554" y="150"/>
                </a:cubicBezTo>
                <a:cubicBezTo>
                  <a:pt x="7558" y="149"/>
                  <a:pt x="7580" y="145"/>
                  <a:pt x="7585" y="145"/>
                </a:cubicBezTo>
                <a:cubicBezTo>
                  <a:pt x="7591" y="145"/>
                  <a:pt x="7637" y="163"/>
                  <a:pt x="7637" y="163"/>
                </a:cubicBezTo>
                <a:cubicBezTo>
                  <a:pt x="7651" y="148"/>
                  <a:pt x="7651" y="148"/>
                  <a:pt x="7651" y="148"/>
                </a:cubicBezTo>
                <a:cubicBezTo>
                  <a:pt x="7691" y="149"/>
                  <a:pt x="7691" y="149"/>
                  <a:pt x="7691" y="149"/>
                </a:cubicBezTo>
                <a:cubicBezTo>
                  <a:pt x="7694" y="136"/>
                  <a:pt x="7694" y="136"/>
                  <a:pt x="7694" y="136"/>
                </a:cubicBezTo>
                <a:cubicBezTo>
                  <a:pt x="7694" y="136"/>
                  <a:pt x="7715" y="143"/>
                  <a:pt x="7726" y="122"/>
                </a:cubicBezTo>
                <a:cubicBezTo>
                  <a:pt x="7737" y="101"/>
                  <a:pt x="7691" y="118"/>
                  <a:pt x="7691" y="118"/>
                </a:cubicBezTo>
                <a:cubicBezTo>
                  <a:pt x="7691" y="118"/>
                  <a:pt x="7688" y="108"/>
                  <a:pt x="7664" y="108"/>
                </a:cubicBezTo>
                <a:cubicBezTo>
                  <a:pt x="7640" y="108"/>
                  <a:pt x="7623" y="120"/>
                  <a:pt x="7616" y="118"/>
                </a:cubicBezTo>
                <a:cubicBezTo>
                  <a:pt x="7609" y="117"/>
                  <a:pt x="7615" y="105"/>
                  <a:pt x="7596" y="105"/>
                </a:cubicBezTo>
                <a:cubicBezTo>
                  <a:pt x="7578" y="105"/>
                  <a:pt x="7573" y="121"/>
                  <a:pt x="7573" y="121"/>
                </a:cubicBezTo>
                <a:cubicBezTo>
                  <a:pt x="7529" y="105"/>
                  <a:pt x="7529" y="105"/>
                  <a:pt x="7529" y="105"/>
                </a:cubicBezTo>
                <a:cubicBezTo>
                  <a:pt x="7529" y="105"/>
                  <a:pt x="7508" y="112"/>
                  <a:pt x="7485" y="117"/>
                </a:cubicBezTo>
                <a:cubicBezTo>
                  <a:pt x="7463" y="121"/>
                  <a:pt x="7478" y="105"/>
                  <a:pt x="7478" y="105"/>
                </a:cubicBezTo>
                <a:cubicBezTo>
                  <a:pt x="7457" y="115"/>
                  <a:pt x="7457" y="115"/>
                  <a:pt x="7457" y="115"/>
                </a:cubicBezTo>
                <a:cubicBezTo>
                  <a:pt x="7467" y="129"/>
                  <a:pt x="7467" y="129"/>
                  <a:pt x="7467" y="129"/>
                </a:cubicBezTo>
                <a:lnTo>
                  <a:pt x="7491" y="141"/>
                </a:lnTo>
                <a:close/>
                <a:moveTo>
                  <a:pt x="7945" y="2230"/>
                </a:moveTo>
                <a:cubicBezTo>
                  <a:pt x="7952" y="2235"/>
                  <a:pt x="7962" y="2227"/>
                  <a:pt x="7953" y="2223"/>
                </a:cubicBezTo>
                <a:cubicBezTo>
                  <a:pt x="7944" y="2219"/>
                  <a:pt x="7940" y="2227"/>
                  <a:pt x="7945" y="2230"/>
                </a:cubicBezTo>
                <a:close/>
                <a:moveTo>
                  <a:pt x="7943" y="2171"/>
                </a:moveTo>
                <a:cubicBezTo>
                  <a:pt x="7939" y="2167"/>
                  <a:pt x="7927" y="2170"/>
                  <a:pt x="7927" y="2178"/>
                </a:cubicBezTo>
                <a:cubicBezTo>
                  <a:pt x="7927" y="2183"/>
                  <a:pt x="7947" y="2175"/>
                  <a:pt x="7943" y="2171"/>
                </a:cubicBezTo>
                <a:close/>
                <a:moveTo>
                  <a:pt x="7898" y="2198"/>
                </a:moveTo>
                <a:cubicBezTo>
                  <a:pt x="7900" y="2210"/>
                  <a:pt x="7910" y="2213"/>
                  <a:pt x="7915" y="2205"/>
                </a:cubicBezTo>
                <a:cubicBezTo>
                  <a:pt x="7921" y="2195"/>
                  <a:pt x="7896" y="2186"/>
                  <a:pt x="7898" y="2198"/>
                </a:cubicBezTo>
                <a:close/>
                <a:moveTo>
                  <a:pt x="7885" y="2175"/>
                </a:moveTo>
                <a:cubicBezTo>
                  <a:pt x="7891" y="2164"/>
                  <a:pt x="7891" y="2164"/>
                  <a:pt x="7891" y="2164"/>
                </a:cubicBezTo>
                <a:cubicBezTo>
                  <a:pt x="7869" y="2147"/>
                  <a:pt x="7869" y="2147"/>
                  <a:pt x="7869" y="2147"/>
                </a:cubicBezTo>
                <a:lnTo>
                  <a:pt x="7885" y="2175"/>
                </a:lnTo>
                <a:close/>
                <a:moveTo>
                  <a:pt x="8551" y="596"/>
                </a:moveTo>
                <a:cubicBezTo>
                  <a:pt x="8573" y="601"/>
                  <a:pt x="8581" y="594"/>
                  <a:pt x="8588" y="590"/>
                </a:cubicBezTo>
                <a:cubicBezTo>
                  <a:pt x="8595" y="586"/>
                  <a:pt x="8601" y="578"/>
                  <a:pt x="8601" y="578"/>
                </a:cubicBezTo>
                <a:cubicBezTo>
                  <a:pt x="8610" y="577"/>
                  <a:pt x="8610" y="577"/>
                  <a:pt x="8610" y="577"/>
                </a:cubicBezTo>
                <a:cubicBezTo>
                  <a:pt x="8610" y="577"/>
                  <a:pt x="8602" y="566"/>
                  <a:pt x="8576" y="560"/>
                </a:cubicBezTo>
                <a:cubicBezTo>
                  <a:pt x="8550" y="554"/>
                  <a:pt x="8535" y="577"/>
                  <a:pt x="8535" y="577"/>
                </a:cubicBezTo>
                <a:cubicBezTo>
                  <a:pt x="8535" y="580"/>
                  <a:pt x="8529" y="592"/>
                  <a:pt x="8551" y="596"/>
                </a:cubicBezTo>
                <a:close/>
                <a:moveTo>
                  <a:pt x="7829" y="2293"/>
                </a:moveTo>
                <a:cubicBezTo>
                  <a:pt x="7838" y="2303"/>
                  <a:pt x="7843" y="2296"/>
                  <a:pt x="7843" y="2296"/>
                </a:cubicBezTo>
                <a:cubicBezTo>
                  <a:pt x="7849" y="2302"/>
                  <a:pt x="7849" y="2302"/>
                  <a:pt x="7849" y="2302"/>
                </a:cubicBezTo>
                <a:cubicBezTo>
                  <a:pt x="7873" y="2303"/>
                  <a:pt x="7873" y="2303"/>
                  <a:pt x="7873" y="2303"/>
                </a:cubicBezTo>
                <a:cubicBezTo>
                  <a:pt x="7881" y="2318"/>
                  <a:pt x="7881" y="2318"/>
                  <a:pt x="7881" y="2318"/>
                </a:cubicBezTo>
                <a:cubicBezTo>
                  <a:pt x="7906" y="2317"/>
                  <a:pt x="7906" y="2317"/>
                  <a:pt x="7906" y="2317"/>
                </a:cubicBezTo>
                <a:cubicBezTo>
                  <a:pt x="7909" y="2313"/>
                  <a:pt x="7909" y="2313"/>
                  <a:pt x="7909" y="2313"/>
                </a:cubicBezTo>
                <a:cubicBezTo>
                  <a:pt x="7909" y="2313"/>
                  <a:pt x="7947" y="2318"/>
                  <a:pt x="7949" y="2304"/>
                </a:cubicBezTo>
                <a:cubicBezTo>
                  <a:pt x="7951" y="2290"/>
                  <a:pt x="7931" y="2301"/>
                  <a:pt x="7927" y="2303"/>
                </a:cubicBezTo>
                <a:cubicBezTo>
                  <a:pt x="7923" y="2305"/>
                  <a:pt x="7920" y="2293"/>
                  <a:pt x="7920" y="2293"/>
                </a:cubicBezTo>
                <a:cubicBezTo>
                  <a:pt x="7898" y="2292"/>
                  <a:pt x="7898" y="2292"/>
                  <a:pt x="7898" y="2292"/>
                </a:cubicBezTo>
                <a:cubicBezTo>
                  <a:pt x="7877" y="2287"/>
                  <a:pt x="7877" y="2287"/>
                  <a:pt x="7877" y="2287"/>
                </a:cubicBezTo>
                <a:cubicBezTo>
                  <a:pt x="7856" y="2287"/>
                  <a:pt x="7856" y="2287"/>
                  <a:pt x="7856" y="2287"/>
                </a:cubicBezTo>
                <a:cubicBezTo>
                  <a:pt x="7836" y="2276"/>
                  <a:pt x="7836" y="2276"/>
                  <a:pt x="7836" y="2276"/>
                </a:cubicBezTo>
                <a:cubicBezTo>
                  <a:pt x="7836" y="2276"/>
                  <a:pt x="7820" y="2283"/>
                  <a:pt x="7829" y="2293"/>
                </a:cubicBezTo>
                <a:close/>
                <a:moveTo>
                  <a:pt x="7851" y="2036"/>
                </a:moveTo>
                <a:cubicBezTo>
                  <a:pt x="7858" y="2029"/>
                  <a:pt x="7858" y="2029"/>
                  <a:pt x="7858" y="2029"/>
                </a:cubicBezTo>
                <a:cubicBezTo>
                  <a:pt x="7833" y="2024"/>
                  <a:pt x="7833" y="2024"/>
                  <a:pt x="7833" y="2024"/>
                </a:cubicBezTo>
                <a:lnTo>
                  <a:pt x="7851" y="2036"/>
                </a:lnTo>
                <a:close/>
                <a:moveTo>
                  <a:pt x="7934" y="2119"/>
                </a:moveTo>
                <a:cubicBezTo>
                  <a:pt x="7921" y="2119"/>
                  <a:pt x="7921" y="2119"/>
                  <a:pt x="7921" y="2119"/>
                </a:cubicBezTo>
                <a:cubicBezTo>
                  <a:pt x="7920" y="2131"/>
                  <a:pt x="7920" y="2131"/>
                  <a:pt x="7920" y="2131"/>
                </a:cubicBezTo>
                <a:cubicBezTo>
                  <a:pt x="7929" y="2147"/>
                  <a:pt x="7929" y="2147"/>
                  <a:pt x="7929" y="2147"/>
                </a:cubicBezTo>
                <a:lnTo>
                  <a:pt x="7934" y="2119"/>
                </a:lnTo>
                <a:close/>
                <a:moveTo>
                  <a:pt x="7966" y="2200"/>
                </a:moveTo>
                <a:cubicBezTo>
                  <a:pt x="7975" y="2187"/>
                  <a:pt x="7975" y="2187"/>
                  <a:pt x="7975" y="2187"/>
                </a:cubicBezTo>
                <a:cubicBezTo>
                  <a:pt x="7963" y="2187"/>
                  <a:pt x="7963" y="2187"/>
                  <a:pt x="7963" y="2187"/>
                </a:cubicBezTo>
                <a:lnTo>
                  <a:pt x="7966" y="2200"/>
                </a:lnTo>
                <a:close/>
                <a:moveTo>
                  <a:pt x="7880" y="2228"/>
                </a:moveTo>
                <a:cubicBezTo>
                  <a:pt x="7879" y="2231"/>
                  <a:pt x="7888" y="2233"/>
                  <a:pt x="7887" y="2226"/>
                </a:cubicBezTo>
                <a:cubicBezTo>
                  <a:pt x="7886" y="2219"/>
                  <a:pt x="7881" y="2222"/>
                  <a:pt x="7880" y="2228"/>
                </a:cubicBezTo>
                <a:close/>
                <a:moveTo>
                  <a:pt x="7252" y="150"/>
                </a:moveTo>
                <a:cubicBezTo>
                  <a:pt x="7259" y="155"/>
                  <a:pt x="7274" y="152"/>
                  <a:pt x="7277" y="156"/>
                </a:cubicBezTo>
                <a:cubicBezTo>
                  <a:pt x="7280" y="160"/>
                  <a:pt x="7261" y="170"/>
                  <a:pt x="7261" y="170"/>
                </a:cubicBezTo>
                <a:cubicBezTo>
                  <a:pt x="7290" y="181"/>
                  <a:pt x="7290" y="181"/>
                  <a:pt x="7290" y="181"/>
                </a:cubicBezTo>
                <a:cubicBezTo>
                  <a:pt x="7290" y="181"/>
                  <a:pt x="7305" y="191"/>
                  <a:pt x="7319" y="194"/>
                </a:cubicBezTo>
                <a:cubicBezTo>
                  <a:pt x="7333" y="197"/>
                  <a:pt x="7343" y="177"/>
                  <a:pt x="7343" y="177"/>
                </a:cubicBezTo>
                <a:cubicBezTo>
                  <a:pt x="7371" y="172"/>
                  <a:pt x="7371" y="172"/>
                  <a:pt x="7371" y="172"/>
                </a:cubicBezTo>
                <a:cubicBezTo>
                  <a:pt x="7394" y="186"/>
                  <a:pt x="7394" y="186"/>
                  <a:pt x="7394" y="186"/>
                </a:cubicBezTo>
                <a:cubicBezTo>
                  <a:pt x="7394" y="186"/>
                  <a:pt x="7375" y="191"/>
                  <a:pt x="7357" y="195"/>
                </a:cubicBezTo>
                <a:cubicBezTo>
                  <a:pt x="7339" y="200"/>
                  <a:pt x="7340" y="207"/>
                  <a:pt x="7340" y="207"/>
                </a:cubicBezTo>
                <a:cubicBezTo>
                  <a:pt x="7340" y="207"/>
                  <a:pt x="7390" y="211"/>
                  <a:pt x="7383" y="212"/>
                </a:cubicBezTo>
                <a:cubicBezTo>
                  <a:pt x="7375" y="214"/>
                  <a:pt x="7345" y="226"/>
                  <a:pt x="7345" y="226"/>
                </a:cubicBezTo>
                <a:cubicBezTo>
                  <a:pt x="7378" y="238"/>
                  <a:pt x="7378" y="238"/>
                  <a:pt x="7378" y="238"/>
                </a:cubicBezTo>
                <a:cubicBezTo>
                  <a:pt x="7378" y="238"/>
                  <a:pt x="7408" y="253"/>
                  <a:pt x="7433" y="249"/>
                </a:cubicBezTo>
                <a:cubicBezTo>
                  <a:pt x="7459" y="245"/>
                  <a:pt x="7440" y="229"/>
                  <a:pt x="7440" y="222"/>
                </a:cubicBezTo>
                <a:cubicBezTo>
                  <a:pt x="7440" y="215"/>
                  <a:pt x="7470" y="215"/>
                  <a:pt x="7470" y="215"/>
                </a:cubicBezTo>
                <a:cubicBezTo>
                  <a:pt x="7470" y="201"/>
                  <a:pt x="7470" y="201"/>
                  <a:pt x="7470" y="201"/>
                </a:cubicBezTo>
                <a:cubicBezTo>
                  <a:pt x="7489" y="197"/>
                  <a:pt x="7489" y="197"/>
                  <a:pt x="7489" y="197"/>
                </a:cubicBezTo>
                <a:cubicBezTo>
                  <a:pt x="7498" y="176"/>
                  <a:pt x="7498" y="176"/>
                  <a:pt x="7498" y="176"/>
                </a:cubicBezTo>
                <a:cubicBezTo>
                  <a:pt x="7511" y="183"/>
                  <a:pt x="7511" y="183"/>
                  <a:pt x="7511" y="183"/>
                </a:cubicBezTo>
                <a:cubicBezTo>
                  <a:pt x="7527" y="174"/>
                  <a:pt x="7527" y="174"/>
                  <a:pt x="7527" y="174"/>
                </a:cubicBezTo>
                <a:cubicBezTo>
                  <a:pt x="7527" y="174"/>
                  <a:pt x="7536" y="188"/>
                  <a:pt x="7556" y="193"/>
                </a:cubicBezTo>
                <a:cubicBezTo>
                  <a:pt x="7575" y="197"/>
                  <a:pt x="7553" y="224"/>
                  <a:pt x="7553" y="224"/>
                </a:cubicBezTo>
                <a:cubicBezTo>
                  <a:pt x="7589" y="222"/>
                  <a:pt x="7589" y="222"/>
                  <a:pt x="7589" y="222"/>
                </a:cubicBezTo>
                <a:cubicBezTo>
                  <a:pt x="7589" y="222"/>
                  <a:pt x="7608" y="238"/>
                  <a:pt x="7609" y="233"/>
                </a:cubicBezTo>
                <a:cubicBezTo>
                  <a:pt x="7610" y="229"/>
                  <a:pt x="7661" y="215"/>
                  <a:pt x="7665" y="207"/>
                </a:cubicBezTo>
                <a:cubicBezTo>
                  <a:pt x="7670" y="198"/>
                  <a:pt x="7627" y="200"/>
                  <a:pt x="7627" y="200"/>
                </a:cubicBezTo>
                <a:cubicBezTo>
                  <a:pt x="7625" y="188"/>
                  <a:pt x="7625" y="188"/>
                  <a:pt x="7625" y="188"/>
                </a:cubicBezTo>
                <a:cubicBezTo>
                  <a:pt x="7589" y="183"/>
                  <a:pt x="7589" y="183"/>
                  <a:pt x="7589" y="183"/>
                </a:cubicBezTo>
                <a:cubicBezTo>
                  <a:pt x="7588" y="172"/>
                  <a:pt x="7588" y="172"/>
                  <a:pt x="7588" y="172"/>
                </a:cubicBezTo>
                <a:cubicBezTo>
                  <a:pt x="7567" y="174"/>
                  <a:pt x="7567" y="174"/>
                  <a:pt x="7567" y="174"/>
                </a:cubicBezTo>
                <a:cubicBezTo>
                  <a:pt x="7570" y="162"/>
                  <a:pt x="7570" y="162"/>
                  <a:pt x="7570" y="162"/>
                </a:cubicBezTo>
                <a:cubicBezTo>
                  <a:pt x="7519" y="163"/>
                  <a:pt x="7519" y="163"/>
                  <a:pt x="7519" y="163"/>
                </a:cubicBezTo>
                <a:cubicBezTo>
                  <a:pt x="7515" y="155"/>
                  <a:pt x="7515" y="155"/>
                  <a:pt x="7515" y="155"/>
                </a:cubicBezTo>
                <a:cubicBezTo>
                  <a:pt x="7491" y="155"/>
                  <a:pt x="7491" y="155"/>
                  <a:pt x="7491" y="155"/>
                </a:cubicBezTo>
                <a:cubicBezTo>
                  <a:pt x="7491" y="155"/>
                  <a:pt x="7488" y="142"/>
                  <a:pt x="7473" y="138"/>
                </a:cubicBezTo>
                <a:cubicBezTo>
                  <a:pt x="7457" y="134"/>
                  <a:pt x="7450" y="139"/>
                  <a:pt x="7450" y="139"/>
                </a:cubicBezTo>
                <a:cubicBezTo>
                  <a:pt x="7453" y="127"/>
                  <a:pt x="7453" y="127"/>
                  <a:pt x="7453" y="127"/>
                </a:cubicBezTo>
                <a:cubicBezTo>
                  <a:pt x="7453" y="127"/>
                  <a:pt x="7432" y="121"/>
                  <a:pt x="7404" y="122"/>
                </a:cubicBezTo>
                <a:cubicBezTo>
                  <a:pt x="7375" y="124"/>
                  <a:pt x="7412" y="156"/>
                  <a:pt x="7412" y="156"/>
                </a:cubicBezTo>
                <a:cubicBezTo>
                  <a:pt x="7412" y="156"/>
                  <a:pt x="7381" y="131"/>
                  <a:pt x="7366" y="128"/>
                </a:cubicBezTo>
                <a:cubicBezTo>
                  <a:pt x="7350" y="125"/>
                  <a:pt x="7345" y="145"/>
                  <a:pt x="7345" y="145"/>
                </a:cubicBezTo>
                <a:cubicBezTo>
                  <a:pt x="7345" y="145"/>
                  <a:pt x="7322" y="141"/>
                  <a:pt x="7316" y="138"/>
                </a:cubicBezTo>
                <a:cubicBezTo>
                  <a:pt x="7311" y="135"/>
                  <a:pt x="7329" y="125"/>
                  <a:pt x="7329" y="125"/>
                </a:cubicBezTo>
                <a:cubicBezTo>
                  <a:pt x="7292" y="128"/>
                  <a:pt x="7292" y="128"/>
                  <a:pt x="7292" y="128"/>
                </a:cubicBezTo>
                <a:cubicBezTo>
                  <a:pt x="7283" y="136"/>
                  <a:pt x="7283" y="136"/>
                  <a:pt x="7283" y="136"/>
                </a:cubicBezTo>
                <a:cubicBezTo>
                  <a:pt x="7278" y="125"/>
                  <a:pt x="7278" y="125"/>
                  <a:pt x="7278" y="125"/>
                </a:cubicBezTo>
                <a:cubicBezTo>
                  <a:pt x="7278" y="125"/>
                  <a:pt x="7254" y="132"/>
                  <a:pt x="7246" y="139"/>
                </a:cubicBezTo>
                <a:cubicBezTo>
                  <a:pt x="7246" y="139"/>
                  <a:pt x="7245" y="146"/>
                  <a:pt x="7252" y="150"/>
                </a:cubicBezTo>
                <a:close/>
                <a:moveTo>
                  <a:pt x="7923" y="2212"/>
                </a:moveTo>
                <a:cubicBezTo>
                  <a:pt x="7923" y="2221"/>
                  <a:pt x="7923" y="2221"/>
                  <a:pt x="7923" y="2221"/>
                </a:cubicBezTo>
                <a:cubicBezTo>
                  <a:pt x="7932" y="2211"/>
                  <a:pt x="7932" y="2211"/>
                  <a:pt x="7932" y="2211"/>
                </a:cubicBezTo>
                <a:lnTo>
                  <a:pt x="7923" y="2212"/>
                </a:lnTo>
                <a:close/>
                <a:moveTo>
                  <a:pt x="6620" y="1148"/>
                </a:moveTo>
                <a:cubicBezTo>
                  <a:pt x="6620" y="1148"/>
                  <a:pt x="6614" y="1153"/>
                  <a:pt x="6611" y="1156"/>
                </a:cubicBezTo>
                <a:cubicBezTo>
                  <a:pt x="6608" y="1159"/>
                  <a:pt x="6606" y="1166"/>
                  <a:pt x="6606" y="1166"/>
                </a:cubicBezTo>
                <a:cubicBezTo>
                  <a:pt x="6595" y="1171"/>
                  <a:pt x="6595" y="1171"/>
                  <a:pt x="6595" y="1171"/>
                </a:cubicBezTo>
                <a:cubicBezTo>
                  <a:pt x="6595" y="1171"/>
                  <a:pt x="6601" y="1180"/>
                  <a:pt x="6609" y="1179"/>
                </a:cubicBezTo>
                <a:cubicBezTo>
                  <a:pt x="6617" y="1178"/>
                  <a:pt x="6624" y="1170"/>
                  <a:pt x="6624" y="1170"/>
                </a:cubicBezTo>
                <a:cubicBezTo>
                  <a:pt x="6623" y="1182"/>
                  <a:pt x="6623" y="1182"/>
                  <a:pt x="6623" y="1182"/>
                </a:cubicBezTo>
                <a:cubicBezTo>
                  <a:pt x="6623" y="1182"/>
                  <a:pt x="6610" y="1188"/>
                  <a:pt x="6605" y="1196"/>
                </a:cubicBezTo>
                <a:cubicBezTo>
                  <a:pt x="6600" y="1205"/>
                  <a:pt x="6606" y="1218"/>
                  <a:pt x="6606" y="1218"/>
                </a:cubicBezTo>
                <a:cubicBezTo>
                  <a:pt x="6606" y="1218"/>
                  <a:pt x="6617" y="1210"/>
                  <a:pt x="6624" y="1215"/>
                </a:cubicBezTo>
                <a:cubicBezTo>
                  <a:pt x="6630" y="1220"/>
                  <a:pt x="6643" y="1209"/>
                  <a:pt x="6643" y="1209"/>
                </a:cubicBezTo>
                <a:cubicBezTo>
                  <a:pt x="6634" y="1219"/>
                  <a:pt x="6634" y="1219"/>
                  <a:pt x="6634" y="1219"/>
                </a:cubicBezTo>
                <a:cubicBezTo>
                  <a:pt x="6639" y="1237"/>
                  <a:pt x="6639" y="1237"/>
                  <a:pt x="6639" y="1237"/>
                </a:cubicBezTo>
                <a:cubicBezTo>
                  <a:pt x="6639" y="1237"/>
                  <a:pt x="6628" y="1250"/>
                  <a:pt x="6620" y="1264"/>
                </a:cubicBezTo>
                <a:cubicBezTo>
                  <a:pt x="6613" y="1277"/>
                  <a:pt x="6636" y="1274"/>
                  <a:pt x="6636" y="1274"/>
                </a:cubicBezTo>
                <a:cubicBezTo>
                  <a:pt x="6636" y="1274"/>
                  <a:pt x="6649" y="1268"/>
                  <a:pt x="6656" y="1271"/>
                </a:cubicBezTo>
                <a:cubicBezTo>
                  <a:pt x="6663" y="1274"/>
                  <a:pt x="6679" y="1261"/>
                  <a:pt x="6679" y="1261"/>
                </a:cubicBezTo>
                <a:cubicBezTo>
                  <a:pt x="6701" y="1263"/>
                  <a:pt x="6701" y="1263"/>
                  <a:pt x="6701" y="1263"/>
                </a:cubicBezTo>
                <a:cubicBezTo>
                  <a:pt x="6701" y="1263"/>
                  <a:pt x="6678" y="1276"/>
                  <a:pt x="6676" y="1286"/>
                </a:cubicBezTo>
                <a:cubicBezTo>
                  <a:pt x="6675" y="1296"/>
                  <a:pt x="6705" y="1303"/>
                  <a:pt x="6705" y="1303"/>
                </a:cubicBezTo>
                <a:cubicBezTo>
                  <a:pt x="6706" y="1317"/>
                  <a:pt x="6706" y="1317"/>
                  <a:pt x="6706" y="1317"/>
                </a:cubicBezTo>
                <a:cubicBezTo>
                  <a:pt x="6698" y="1329"/>
                  <a:pt x="6698" y="1329"/>
                  <a:pt x="6698" y="1329"/>
                </a:cubicBezTo>
                <a:cubicBezTo>
                  <a:pt x="6698" y="1329"/>
                  <a:pt x="6700" y="1343"/>
                  <a:pt x="6697" y="1347"/>
                </a:cubicBezTo>
                <a:cubicBezTo>
                  <a:pt x="6694" y="1351"/>
                  <a:pt x="6652" y="1345"/>
                  <a:pt x="6652" y="1345"/>
                </a:cubicBezTo>
                <a:cubicBezTo>
                  <a:pt x="6652" y="1345"/>
                  <a:pt x="6642" y="1342"/>
                  <a:pt x="6633" y="1344"/>
                </a:cubicBezTo>
                <a:cubicBezTo>
                  <a:pt x="6624" y="1346"/>
                  <a:pt x="6639" y="1357"/>
                  <a:pt x="6639" y="1357"/>
                </a:cubicBezTo>
                <a:cubicBezTo>
                  <a:pt x="6625" y="1370"/>
                  <a:pt x="6625" y="1370"/>
                  <a:pt x="6625" y="1370"/>
                </a:cubicBezTo>
                <a:cubicBezTo>
                  <a:pt x="6653" y="1368"/>
                  <a:pt x="6653" y="1368"/>
                  <a:pt x="6653" y="1368"/>
                </a:cubicBezTo>
                <a:cubicBezTo>
                  <a:pt x="6653" y="1368"/>
                  <a:pt x="6653" y="1391"/>
                  <a:pt x="6646" y="1398"/>
                </a:cubicBezTo>
                <a:cubicBezTo>
                  <a:pt x="6639" y="1405"/>
                  <a:pt x="6611" y="1413"/>
                  <a:pt x="6607" y="1416"/>
                </a:cubicBezTo>
                <a:cubicBezTo>
                  <a:pt x="6603" y="1419"/>
                  <a:pt x="6608" y="1434"/>
                  <a:pt x="6612" y="1436"/>
                </a:cubicBezTo>
                <a:cubicBezTo>
                  <a:pt x="6616" y="1438"/>
                  <a:pt x="6634" y="1424"/>
                  <a:pt x="6634" y="1424"/>
                </a:cubicBezTo>
                <a:cubicBezTo>
                  <a:pt x="6634" y="1424"/>
                  <a:pt x="6637" y="1430"/>
                  <a:pt x="6641" y="1434"/>
                </a:cubicBezTo>
                <a:cubicBezTo>
                  <a:pt x="6645" y="1438"/>
                  <a:pt x="6655" y="1434"/>
                  <a:pt x="6655" y="1434"/>
                </a:cubicBezTo>
                <a:cubicBezTo>
                  <a:pt x="6655" y="1434"/>
                  <a:pt x="6663" y="1443"/>
                  <a:pt x="6671" y="1444"/>
                </a:cubicBezTo>
                <a:cubicBezTo>
                  <a:pt x="6680" y="1445"/>
                  <a:pt x="6687" y="1440"/>
                  <a:pt x="6692" y="1435"/>
                </a:cubicBezTo>
                <a:cubicBezTo>
                  <a:pt x="6697" y="1430"/>
                  <a:pt x="6710" y="1431"/>
                  <a:pt x="6710" y="1431"/>
                </a:cubicBezTo>
                <a:cubicBezTo>
                  <a:pt x="6710" y="1431"/>
                  <a:pt x="6694" y="1446"/>
                  <a:pt x="6684" y="1453"/>
                </a:cubicBezTo>
                <a:cubicBezTo>
                  <a:pt x="6673" y="1460"/>
                  <a:pt x="6653" y="1453"/>
                  <a:pt x="6646" y="1453"/>
                </a:cubicBezTo>
                <a:cubicBezTo>
                  <a:pt x="6639" y="1453"/>
                  <a:pt x="6641" y="1463"/>
                  <a:pt x="6641" y="1463"/>
                </a:cubicBezTo>
                <a:cubicBezTo>
                  <a:pt x="6641" y="1463"/>
                  <a:pt x="6632" y="1463"/>
                  <a:pt x="6625" y="1466"/>
                </a:cubicBezTo>
                <a:cubicBezTo>
                  <a:pt x="6617" y="1469"/>
                  <a:pt x="6625" y="1475"/>
                  <a:pt x="6619" y="1484"/>
                </a:cubicBezTo>
                <a:cubicBezTo>
                  <a:pt x="6614" y="1492"/>
                  <a:pt x="6607" y="1488"/>
                  <a:pt x="6600" y="1488"/>
                </a:cubicBezTo>
                <a:cubicBezTo>
                  <a:pt x="6593" y="1488"/>
                  <a:pt x="6596" y="1498"/>
                  <a:pt x="6589" y="1504"/>
                </a:cubicBezTo>
                <a:cubicBezTo>
                  <a:pt x="6582" y="1510"/>
                  <a:pt x="6573" y="1509"/>
                  <a:pt x="6573" y="1513"/>
                </a:cubicBezTo>
                <a:cubicBezTo>
                  <a:pt x="6573" y="1517"/>
                  <a:pt x="6592" y="1517"/>
                  <a:pt x="6595" y="1517"/>
                </a:cubicBezTo>
                <a:cubicBezTo>
                  <a:pt x="6598" y="1517"/>
                  <a:pt x="6606" y="1507"/>
                  <a:pt x="6612" y="1502"/>
                </a:cubicBezTo>
                <a:cubicBezTo>
                  <a:pt x="6618" y="1497"/>
                  <a:pt x="6628" y="1498"/>
                  <a:pt x="6637" y="1498"/>
                </a:cubicBezTo>
                <a:cubicBezTo>
                  <a:pt x="6646" y="1498"/>
                  <a:pt x="6649" y="1508"/>
                  <a:pt x="6655" y="1508"/>
                </a:cubicBezTo>
                <a:cubicBezTo>
                  <a:pt x="6661" y="1508"/>
                  <a:pt x="6674" y="1483"/>
                  <a:pt x="6681" y="1480"/>
                </a:cubicBezTo>
                <a:cubicBezTo>
                  <a:pt x="6687" y="1476"/>
                  <a:pt x="6701" y="1487"/>
                  <a:pt x="6701" y="1487"/>
                </a:cubicBezTo>
                <a:cubicBezTo>
                  <a:pt x="6718" y="1488"/>
                  <a:pt x="6718" y="1488"/>
                  <a:pt x="6718" y="1488"/>
                </a:cubicBezTo>
                <a:cubicBezTo>
                  <a:pt x="6738" y="1480"/>
                  <a:pt x="6738" y="1480"/>
                  <a:pt x="6738" y="1480"/>
                </a:cubicBezTo>
                <a:cubicBezTo>
                  <a:pt x="6738" y="1480"/>
                  <a:pt x="6757" y="1489"/>
                  <a:pt x="6763" y="1488"/>
                </a:cubicBezTo>
                <a:cubicBezTo>
                  <a:pt x="6769" y="1487"/>
                  <a:pt x="6755" y="1476"/>
                  <a:pt x="6761" y="1471"/>
                </a:cubicBezTo>
                <a:cubicBezTo>
                  <a:pt x="6767" y="1466"/>
                  <a:pt x="6776" y="1481"/>
                  <a:pt x="6776" y="1481"/>
                </a:cubicBezTo>
                <a:cubicBezTo>
                  <a:pt x="6783" y="1476"/>
                  <a:pt x="6783" y="1476"/>
                  <a:pt x="6783" y="1476"/>
                </a:cubicBezTo>
                <a:cubicBezTo>
                  <a:pt x="6783" y="1476"/>
                  <a:pt x="6836" y="1476"/>
                  <a:pt x="6849" y="1469"/>
                </a:cubicBezTo>
                <a:cubicBezTo>
                  <a:pt x="6861" y="1462"/>
                  <a:pt x="6869" y="1447"/>
                  <a:pt x="6869" y="1447"/>
                </a:cubicBezTo>
                <a:cubicBezTo>
                  <a:pt x="6830" y="1442"/>
                  <a:pt x="6830" y="1442"/>
                  <a:pt x="6830" y="1442"/>
                </a:cubicBezTo>
                <a:cubicBezTo>
                  <a:pt x="6848" y="1439"/>
                  <a:pt x="6848" y="1439"/>
                  <a:pt x="6848" y="1439"/>
                </a:cubicBezTo>
                <a:cubicBezTo>
                  <a:pt x="6844" y="1429"/>
                  <a:pt x="6844" y="1429"/>
                  <a:pt x="6844" y="1429"/>
                </a:cubicBezTo>
                <a:cubicBezTo>
                  <a:pt x="6844" y="1429"/>
                  <a:pt x="6858" y="1416"/>
                  <a:pt x="6865" y="1415"/>
                </a:cubicBezTo>
                <a:cubicBezTo>
                  <a:pt x="6872" y="1414"/>
                  <a:pt x="6883" y="1403"/>
                  <a:pt x="6884" y="1383"/>
                </a:cubicBezTo>
                <a:cubicBezTo>
                  <a:pt x="6885" y="1362"/>
                  <a:pt x="6836" y="1363"/>
                  <a:pt x="6836" y="1363"/>
                </a:cubicBezTo>
                <a:cubicBezTo>
                  <a:pt x="6836" y="1363"/>
                  <a:pt x="6831" y="1377"/>
                  <a:pt x="6821" y="1370"/>
                </a:cubicBezTo>
                <a:cubicBezTo>
                  <a:pt x="6811" y="1362"/>
                  <a:pt x="6831" y="1355"/>
                  <a:pt x="6830" y="1346"/>
                </a:cubicBezTo>
                <a:cubicBezTo>
                  <a:pt x="6829" y="1337"/>
                  <a:pt x="6798" y="1332"/>
                  <a:pt x="6798" y="1327"/>
                </a:cubicBezTo>
                <a:cubicBezTo>
                  <a:pt x="6798" y="1322"/>
                  <a:pt x="6820" y="1325"/>
                  <a:pt x="6820" y="1325"/>
                </a:cubicBezTo>
                <a:cubicBezTo>
                  <a:pt x="6811" y="1317"/>
                  <a:pt x="6811" y="1317"/>
                  <a:pt x="6811" y="1317"/>
                </a:cubicBezTo>
                <a:cubicBezTo>
                  <a:pt x="6811" y="1317"/>
                  <a:pt x="6802" y="1296"/>
                  <a:pt x="6798" y="1289"/>
                </a:cubicBezTo>
                <a:cubicBezTo>
                  <a:pt x="6794" y="1282"/>
                  <a:pt x="6781" y="1282"/>
                  <a:pt x="6781" y="1282"/>
                </a:cubicBezTo>
                <a:cubicBezTo>
                  <a:pt x="6781" y="1282"/>
                  <a:pt x="6773" y="1273"/>
                  <a:pt x="6765" y="1267"/>
                </a:cubicBezTo>
                <a:cubicBezTo>
                  <a:pt x="6757" y="1261"/>
                  <a:pt x="6763" y="1229"/>
                  <a:pt x="6763" y="1229"/>
                </a:cubicBezTo>
                <a:cubicBezTo>
                  <a:pt x="6755" y="1229"/>
                  <a:pt x="6755" y="1229"/>
                  <a:pt x="6755" y="1229"/>
                </a:cubicBezTo>
                <a:cubicBezTo>
                  <a:pt x="6755" y="1229"/>
                  <a:pt x="6754" y="1223"/>
                  <a:pt x="6740" y="1213"/>
                </a:cubicBezTo>
                <a:cubicBezTo>
                  <a:pt x="6725" y="1203"/>
                  <a:pt x="6706" y="1213"/>
                  <a:pt x="6698" y="1214"/>
                </a:cubicBezTo>
                <a:cubicBezTo>
                  <a:pt x="6690" y="1215"/>
                  <a:pt x="6681" y="1203"/>
                  <a:pt x="6681" y="1203"/>
                </a:cubicBezTo>
                <a:cubicBezTo>
                  <a:pt x="6681" y="1203"/>
                  <a:pt x="6695" y="1208"/>
                  <a:pt x="6699" y="1207"/>
                </a:cubicBezTo>
                <a:cubicBezTo>
                  <a:pt x="6703" y="1206"/>
                  <a:pt x="6721" y="1202"/>
                  <a:pt x="6722" y="1196"/>
                </a:cubicBezTo>
                <a:cubicBezTo>
                  <a:pt x="6723" y="1191"/>
                  <a:pt x="6704" y="1190"/>
                  <a:pt x="6704" y="1190"/>
                </a:cubicBezTo>
                <a:cubicBezTo>
                  <a:pt x="6720" y="1186"/>
                  <a:pt x="6720" y="1186"/>
                  <a:pt x="6720" y="1186"/>
                </a:cubicBezTo>
                <a:cubicBezTo>
                  <a:pt x="6720" y="1186"/>
                  <a:pt x="6729" y="1179"/>
                  <a:pt x="6735" y="1174"/>
                </a:cubicBezTo>
                <a:cubicBezTo>
                  <a:pt x="6740" y="1169"/>
                  <a:pt x="6751" y="1145"/>
                  <a:pt x="6751" y="1145"/>
                </a:cubicBezTo>
                <a:cubicBezTo>
                  <a:pt x="6751" y="1145"/>
                  <a:pt x="6766" y="1136"/>
                  <a:pt x="6766" y="1129"/>
                </a:cubicBezTo>
                <a:cubicBezTo>
                  <a:pt x="6766" y="1122"/>
                  <a:pt x="6712" y="1127"/>
                  <a:pt x="6712" y="1127"/>
                </a:cubicBezTo>
                <a:cubicBezTo>
                  <a:pt x="6712" y="1127"/>
                  <a:pt x="6713" y="1122"/>
                  <a:pt x="6701" y="1122"/>
                </a:cubicBezTo>
                <a:cubicBezTo>
                  <a:pt x="6689" y="1122"/>
                  <a:pt x="6667" y="1130"/>
                  <a:pt x="6667" y="1130"/>
                </a:cubicBezTo>
                <a:cubicBezTo>
                  <a:pt x="6675" y="1123"/>
                  <a:pt x="6675" y="1123"/>
                  <a:pt x="6675" y="1123"/>
                </a:cubicBezTo>
                <a:cubicBezTo>
                  <a:pt x="6669" y="1115"/>
                  <a:pt x="6669" y="1115"/>
                  <a:pt x="6669" y="1115"/>
                </a:cubicBezTo>
                <a:cubicBezTo>
                  <a:pt x="6681" y="1113"/>
                  <a:pt x="6681" y="1113"/>
                  <a:pt x="6681" y="1113"/>
                </a:cubicBezTo>
                <a:cubicBezTo>
                  <a:pt x="6702" y="1100"/>
                  <a:pt x="6702" y="1100"/>
                  <a:pt x="6702" y="1100"/>
                </a:cubicBezTo>
                <a:cubicBezTo>
                  <a:pt x="6702" y="1100"/>
                  <a:pt x="6713" y="1091"/>
                  <a:pt x="6714" y="1080"/>
                </a:cubicBezTo>
                <a:cubicBezTo>
                  <a:pt x="6715" y="1073"/>
                  <a:pt x="6701" y="1075"/>
                  <a:pt x="6693" y="1076"/>
                </a:cubicBezTo>
                <a:cubicBezTo>
                  <a:pt x="6685" y="1077"/>
                  <a:pt x="6673" y="1083"/>
                  <a:pt x="6665" y="1083"/>
                </a:cubicBezTo>
                <a:cubicBezTo>
                  <a:pt x="6657" y="1083"/>
                  <a:pt x="6650" y="1074"/>
                  <a:pt x="6643" y="1078"/>
                </a:cubicBezTo>
                <a:cubicBezTo>
                  <a:pt x="6636" y="1082"/>
                  <a:pt x="6643" y="1092"/>
                  <a:pt x="6643" y="1092"/>
                </a:cubicBezTo>
                <a:cubicBezTo>
                  <a:pt x="6643" y="1092"/>
                  <a:pt x="6636" y="1093"/>
                  <a:pt x="6631" y="1097"/>
                </a:cubicBezTo>
                <a:cubicBezTo>
                  <a:pt x="6626" y="1101"/>
                  <a:pt x="6634" y="1116"/>
                  <a:pt x="6634" y="1116"/>
                </a:cubicBezTo>
                <a:cubicBezTo>
                  <a:pt x="6605" y="1119"/>
                  <a:pt x="6605" y="1119"/>
                  <a:pt x="6605" y="1119"/>
                </a:cubicBezTo>
                <a:cubicBezTo>
                  <a:pt x="6605" y="1125"/>
                  <a:pt x="6605" y="1125"/>
                  <a:pt x="6605" y="1125"/>
                </a:cubicBezTo>
                <a:cubicBezTo>
                  <a:pt x="6611" y="1130"/>
                  <a:pt x="6611" y="1130"/>
                  <a:pt x="6611" y="1130"/>
                </a:cubicBezTo>
                <a:lnTo>
                  <a:pt x="6620" y="1148"/>
                </a:lnTo>
                <a:close/>
                <a:moveTo>
                  <a:pt x="7501" y="1151"/>
                </a:moveTo>
                <a:cubicBezTo>
                  <a:pt x="7497" y="1138"/>
                  <a:pt x="7497" y="1138"/>
                  <a:pt x="7497" y="1138"/>
                </a:cubicBezTo>
                <a:cubicBezTo>
                  <a:pt x="7497" y="1138"/>
                  <a:pt x="7471" y="1172"/>
                  <a:pt x="7471" y="1178"/>
                </a:cubicBezTo>
                <a:cubicBezTo>
                  <a:pt x="7471" y="1183"/>
                  <a:pt x="7470" y="1196"/>
                  <a:pt x="7470" y="1196"/>
                </a:cubicBezTo>
                <a:cubicBezTo>
                  <a:pt x="7478" y="1196"/>
                  <a:pt x="7487" y="1165"/>
                  <a:pt x="7487" y="1165"/>
                </a:cubicBezTo>
                <a:lnTo>
                  <a:pt x="7501" y="1151"/>
                </a:lnTo>
                <a:close/>
                <a:moveTo>
                  <a:pt x="7878" y="2209"/>
                </a:moveTo>
                <a:cubicBezTo>
                  <a:pt x="7872" y="2204"/>
                  <a:pt x="7872" y="2204"/>
                  <a:pt x="7872" y="2204"/>
                </a:cubicBezTo>
                <a:cubicBezTo>
                  <a:pt x="7866" y="2210"/>
                  <a:pt x="7866" y="2210"/>
                  <a:pt x="7866" y="2210"/>
                </a:cubicBezTo>
                <a:lnTo>
                  <a:pt x="7878" y="2209"/>
                </a:lnTo>
                <a:close/>
                <a:moveTo>
                  <a:pt x="7533" y="1130"/>
                </a:moveTo>
                <a:cubicBezTo>
                  <a:pt x="7530" y="1141"/>
                  <a:pt x="7542" y="1164"/>
                  <a:pt x="7542" y="1164"/>
                </a:cubicBezTo>
                <a:cubicBezTo>
                  <a:pt x="7550" y="1147"/>
                  <a:pt x="7550" y="1147"/>
                  <a:pt x="7550" y="1147"/>
                </a:cubicBezTo>
                <a:cubicBezTo>
                  <a:pt x="7550" y="1147"/>
                  <a:pt x="7556" y="1150"/>
                  <a:pt x="7561" y="1141"/>
                </a:cubicBezTo>
                <a:cubicBezTo>
                  <a:pt x="7567" y="1133"/>
                  <a:pt x="7561" y="1124"/>
                  <a:pt x="7561" y="1124"/>
                </a:cubicBezTo>
                <a:cubicBezTo>
                  <a:pt x="7573" y="1112"/>
                  <a:pt x="7573" y="1112"/>
                  <a:pt x="7573" y="1112"/>
                </a:cubicBezTo>
                <a:cubicBezTo>
                  <a:pt x="7573" y="1112"/>
                  <a:pt x="7536" y="1119"/>
                  <a:pt x="7533" y="1130"/>
                </a:cubicBezTo>
                <a:close/>
                <a:moveTo>
                  <a:pt x="7679" y="1081"/>
                </a:moveTo>
                <a:cubicBezTo>
                  <a:pt x="7672" y="1083"/>
                  <a:pt x="7681" y="1100"/>
                  <a:pt x="7681" y="1100"/>
                </a:cubicBezTo>
                <a:cubicBezTo>
                  <a:pt x="7686" y="1113"/>
                  <a:pt x="7686" y="1113"/>
                  <a:pt x="7686" y="1113"/>
                </a:cubicBezTo>
                <a:cubicBezTo>
                  <a:pt x="7686" y="1113"/>
                  <a:pt x="7702" y="1100"/>
                  <a:pt x="7706" y="1100"/>
                </a:cubicBezTo>
                <a:cubicBezTo>
                  <a:pt x="7710" y="1100"/>
                  <a:pt x="7727" y="1086"/>
                  <a:pt x="7727" y="1086"/>
                </a:cubicBezTo>
                <a:cubicBezTo>
                  <a:pt x="7723" y="1075"/>
                  <a:pt x="7723" y="1075"/>
                  <a:pt x="7723" y="1075"/>
                </a:cubicBezTo>
                <a:cubicBezTo>
                  <a:pt x="7699" y="1079"/>
                  <a:pt x="7699" y="1079"/>
                  <a:pt x="7699" y="1079"/>
                </a:cubicBezTo>
                <a:cubicBezTo>
                  <a:pt x="7699" y="1079"/>
                  <a:pt x="7686" y="1078"/>
                  <a:pt x="7679" y="1081"/>
                </a:cubicBezTo>
                <a:close/>
                <a:moveTo>
                  <a:pt x="7707" y="1051"/>
                </a:moveTo>
                <a:cubicBezTo>
                  <a:pt x="7694" y="1054"/>
                  <a:pt x="7687" y="1071"/>
                  <a:pt x="7701" y="1071"/>
                </a:cubicBezTo>
                <a:cubicBezTo>
                  <a:pt x="7716" y="1071"/>
                  <a:pt x="7720" y="1049"/>
                  <a:pt x="7707" y="1051"/>
                </a:cubicBezTo>
                <a:close/>
                <a:moveTo>
                  <a:pt x="7317" y="1211"/>
                </a:moveTo>
                <a:cubicBezTo>
                  <a:pt x="7317" y="1211"/>
                  <a:pt x="7309" y="1199"/>
                  <a:pt x="7308" y="1200"/>
                </a:cubicBezTo>
                <a:cubicBezTo>
                  <a:pt x="7307" y="1200"/>
                  <a:pt x="7294" y="1205"/>
                  <a:pt x="7294" y="1210"/>
                </a:cubicBezTo>
                <a:cubicBezTo>
                  <a:pt x="7294" y="1215"/>
                  <a:pt x="7294" y="1219"/>
                  <a:pt x="7294" y="1219"/>
                </a:cubicBezTo>
                <a:cubicBezTo>
                  <a:pt x="7294" y="1219"/>
                  <a:pt x="7285" y="1207"/>
                  <a:pt x="7283" y="1208"/>
                </a:cubicBezTo>
                <a:cubicBezTo>
                  <a:pt x="7281" y="1209"/>
                  <a:pt x="7278" y="1213"/>
                  <a:pt x="7278" y="1213"/>
                </a:cubicBezTo>
                <a:cubicBezTo>
                  <a:pt x="7262" y="1224"/>
                  <a:pt x="7262" y="1224"/>
                  <a:pt x="7262" y="1224"/>
                </a:cubicBezTo>
                <a:cubicBezTo>
                  <a:pt x="7262" y="1224"/>
                  <a:pt x="7271" y="1229"/>
                  <a:pt x="7270" y="1240"/>
                </a:cubicBezTo>
                <a:cubicBezTo>
                  <a:pt x="7269" y="1251"/>
                  <a:pt x="7260" y="1253"/>
                  <a:pt x="7272" y="1254"/>
                </a:cubicBezTo>
                <a:cubicBezTo>
                  <a:pt x="7284" y="1255"/>
                  <a:pt x="7289" y="1253"/>
                  <a:pt x="7289" y="1253"/>
                </a:cubicBezTo>
                <a:cubicBezTo>
                  <a:pt x="7289" y="1253"/>
                  <a:pt x="7297" y="1272"/>
                  <a:pt x="7298" y="1265"/>
                </a:cubicBezTo>
                <a:cubicBezTo>
                  <a:pt x="7300" y="1259"/>
                  <a:pt x="7310" y="1245"/>
                  <a:pt x="7312" y="1244"/>
                </a:cubicBezTo>
                <a:cubicBezTo>
                  <a:pt x="7314" y="1244"/>
                  <a:pt x="7323" y="1244"/>
                  <a:pt x="7315" y="1239"/>
                </a:cubicBezTo>
                <a:cubicBezTo>
                  <a:pt x="7307" y="1234"/>
                  <a:pt x="7300" y="1227"/>
                  <a:pt x="7303" y="1227"/>
                </a:cubicBezTo>
                <a:cubicBezTo>
                  <a:pt x="7306" y="1226"/>
                  <a:pt x="7313" y="1227"/>
                  <a:pt x="7308" y="1224"/>
                </a:cubicBezTo>
                <a:cubicBezTo>
                  <a:pt x="7303" y="1220"/>
                  <a:pt x="7317" y="1211"/>
                  <a:pt x="7317" y="1211"/>
                </a:cubicBezTo>
                <a:close/>
                <a:moveTo>
                  <a:pt x="7266" y="1272"/>
                </a:moveTo>
                <a:cubicBezTo>
                  <a:pt x="7274" y="1270"/>
                  <a:pt x="7285" y="1282"/>
                  <a:pt x="7285" y="1282"/>
                </a:cubicBezTo>
                <a:cubicBezTo>
                  <a:pt x="7285" y="1282"/>
                  <a:pt x="7302" y="1279"/>
                  <a:pt x="7319" y="1275"/>
                </a:cubicBezTo>
                <a:cubicBezTo>
                  <a:pt x="7337" y="1272"/>
                  <a:pt x="7322" y="1260"/>
                  <a:pt x="7322" y="1260"/>
                </a:cubicBezTo>
                <a:cubicBezTo>
                  <a:pt x="7305" y="1266"/>
                  <a:pt x="7305" y="1266"/>
                  <a:pt x="7305" y="1266"/>
                </a:cubicBezTo>
                <a:cubicBezTo>
                  <a:pt x="7305" y="1266"/>
                  <a:pt x="7295" y="1270"/>
                  <a:pt x="7291" y="1269"/>
                </a:cubicBezTo>
                <a:cubicBezTo>
                  <a:pt x="7287" y="1269"/>
                  <a:pt x="7271" y="1262"/>
                  <a:pt x="7266" y="1262"/>
                </a:cubicBezTo>
                <a:cubicBezTo>
                  <a:pt x="7256" y="1262"/>
                  <a:pt x="7258" y="1273"/>
                  <a:pt x="7266" y="1272"/>
                </a:cubicBezTo>
                <a:close/>
                <a:moveTo>
                  <a:pt x="7992" y="2290"/>
                </a:moveTo>
                <a:cubicBezTo>
                  <a:pt x="7985" y="2263"/>
                  <a:pt x="7985" y="2263"/>
                  <a:pt x="7985" y="2263"/>
                </a:cubicBezTo>
                <a:cubicBezTo>
                  <a:pt x="7979" y="2293"/>
                  <a:pt x="7979" y="2293"/>
                  <a:pt x="7979" y="2293"/>
                </a:cubicBezTo>
                <a:lnTo>
                  <a:pt x="7992" y="2290"/>
                </a:lnTo>
                <a:close/>
                <a:moveTo>
                  <a:pt x="7994" y="2200"/>
                </a:moveTo>
                <a:cubicBezTo>
                  <a:pt x="7978" y="2209"/>
                  <a:pt x="7978" y="2209"/>
                  <a:pt x="7978" y="2209"/>
                </a:cubicBezTo>
                <a:cubicBezTo>
                  <a:pt x="7977" y="2224"/>
                  <a:pt x="7977" y="2224"/>
                  <a:pt x="7977" y="2224"/>
                </a:cubicBezTo>
                <a:cubicBezTo>
                  <a:pt x="8002" y="2205"/>
                  <a:pt x="8002" y="2205"/>
                  <a:pt x="8002" y="2205"/>
                </a:cubicBezTo>
                <a:lnTo>
                  <a:pt x="7994" y="2200"/>
                </a:lnTo>
                <a:close/>
                <a:moveTo>
                  <a:pt x="8029" y="2232"/>
                </a:moveTo>
                <a:cubicBezTo>
                  <a:pt x="8025" y="2225"/>
                  <a:pt x="8004" y="2253"/>
                  <a:pt x="8010" y="2263"/>
                </a:cubicBezTo>
                <a:cubicBezTo>
                  <a:pt x="8015" y="2272"/>
                  <a:pt x="8033" y="2239"/>
                  <a:pt x="8029" y="2232"/>
                </a:cubicBezTo>
                <a:close/>
                <a:moveTo>
                  <a:pt x="8872" y="524"/>
                </a:moveTo>
                <a:cubicBezTo>
                  <a:pt x="8867" y="532"/>
                  <a:pt x="8932" y="566"/>
                  <a:pt x="8938" y="550"/>
                </a:cubicBezTo>
                <a:cubicBezTo>
                  <a:pt x="8944" y="534"/>
                  <a:pt x="8878" y="514"/>
                  <a:pt x="8872" y="524"/>
                </a:cubicBezTo>
                <a:close/>
                <a:moveTo>
                  <a:pt x="7220" y="1252"/>
                </a:moveTo>
                <a:cubicBezTo>
                  <a:pt x="7226" y="1252"/>
                  <a:pt x="7236" y="1262"/>
                  <a:pt x="7236" y="1262"/>
                </a:cubicBezTo>
                <a:cubicBezTo>
                  <a:pt x="7242" y="1244"/>
                  <a:pt x="7242" y="1244"/>
                  <a:pt x="7242" y="1244"/>
                </a:cubicBezTo>
                <a:cubicBezTo>
                  <a:pt x="7230" y="1230"/>
                  <a:pt x="7230" y="1230"/>
                  <a:pt x="7230" y="1230"/>
                </a:cubicBezTo>
                <a:cubicBezTo>
                  <a:pt x="7218" y="1228"/>
                  <a:pt x="7218" y="1228"/>
                  <a:pt x="7218" y="1228"/>
                </a:cubicBezTo>
                <a:lnTo>
                  <a:pt x="7220" y="1252"/>
                </a:lnTo>
                <a:close/>
                <a:moveTo>
                  <a:pt x="8643" y="464"/>
                </a:moveTo>
                <a:cubicBezTo>
                  <a:pt x="8656" y="464"/>
                  <a:pt x="8673" y="467"/>
                  <a:pt x="8684" y="473"/>
                </a:cubicBezTo>
                <a:cubicBezTo>
                  <a:pt x="8694" y="479"/>
                  <a:pt x="8693" y="496"/>
                  <a:pt x="8696" y="497"/>
                </a:cubicBezTo>
                <a:cubicBezTo>
                  <a:pt x="8699" y="499"/>
                  <a:pt x="8748" y="506"/>
                  <a:pt x="8748" y="506"/>
                </a:cubicBezTo>
                <a:cubicBezTo>
                  <a:pt x="8822" y="502"/>
                  <a:pt x="8822" y="502"/>
                  <a:pt x="8822" y="502"/>
                </a:cubicBezTo>
                <a:cubicBezTo>
                  <a:pt x="8822" y="502"/>
                  <a:pt x="8762" y="496"/>
                  <a:pt x="8746" y="470"/>
                </a:cubicBezTo>
                <a:cubicBezTo>
                  <a:pt x="8730" y="444"/>
                  <a:pt x="8714" y="444"/>
                  <a:pt x="8730" y="420"/>
                </a:cubicBezTo>
                <a:cubicBezTo>
                  <a:pt x="8746" y="396"/>
                  <a:pt x="8727" y="394"/>
                  <a:pt x="8727" y="394"/>
                </a:cubicBezTo>
                <a:cubicBezTo>
                  <a:pt x="8754" y="390"/>
                  <a:pt x="8754" y="390"/>
                  <a:pt x="8754" y="390"/>
                </a:cubicBezTo>
                <a:cubicBezTo>
                  <a:pt x="8743" y="378"/>
                  <a:pt x="8743" y="378"/>
                  <a:pt x="8743" y="378"/>
                </a:cubicBezTo>
                <a:cubicBezTo>
                  <a:pt x="8766" y="381"/>
                  <a:pt x="8766" y="381"/>
                  <a:pt x="8766" y="381"/>
                </a:cubicBezTo>
                <a:cubicBezTo>
                  <a:pt x="8753" y="373"/>
                  <a:pt x="8753" y="373"/>
                  <a:pt x="8753" y="373"/>
                </a:cubicBezTo>
                <a:cubicBezTo>
                  <a:pt x="8769" y="375"/>
                  <a:pt x="8769" y="375"/>
                  <a:pt x="8769" y="375"/>
                </a:cubicBezTo>
                <a:cubicBezTo>
                  <a:pt x="8773" y="365"/>
                  <a:pt x="8773" y="365"/>
                  <a:pt x="8773" y="365"/>
                </a:cubicBezTo>
                <a:cubicBezTo>
                  <a:pt x="8759" y="358"/>
                  <a:pt x="8759" y="358"/>
                  <a:pt x="8759" y="358"/>
                </a:cubicBezTo>
                <a:cubicBezTo>
                  <a:pt x="8759" y="358"/>
                  <a:pt x="8786" y="362"/>
                  <a:pt x="8790" y="358"/>
                </a:cubicBezTo>
                <a:cubicBezTo>
                  <a:pt x="8794" y="354"/>
                  <a:pt x="8779" y="344"/>
                  <a:pt x="8779" y="344"/>
                </a:cubicBezTo>
                <a:cubicBezTo>
                  <a:pt x="8801" y="346"/>
                  <a:pt x="8801" y="346"/>
                  <a:pt x="8801" y="346"/>
                </a:cubicBezTo>
                <a:cubicBezTo>
                  <a:pt x="8799" y="327"/>
                  <a:pt x="8799" y="327"/>
                  <a:pt x="8799" y="327"/>
                </a:cubicBezTo>
                <a:cubicBezTo>
                  <a:pt x="8799" y="327"/>
                  <a:pt x="8813" y="338"/>
                  <a:pt x="8831" y="330"/>
                </a:cubicBezTo>
                <a:cubicBezTo>
                  <a:pt x="8850" y="323"/>
                  <a:pt x="8862" y="309"/>
                  <a:pt x="8862" y="309"/>
                </a:cubicBezTo>
                <a:cubicBezTo>
                  <a:pt x="8862" y="309"/>
                  <a:pt x="9007" y="288"/>
                  <a:pt x="9028" y="279"/>
                </a:cubicBezTo>
                <a:cubicBezTo>
                  <a:pt x="9050" y="269"/>
                  <a:pt x="9071" y="254"/>
                  <a:pt x="9038" y="243"/>
                </a:cubicBezTo>
                <a:cubicBezTo>
                  <a:pt x="9005" y="231"/>
                  <a:pt x="8971" y="247"/>
                  <a:pt x="8956" y="253"/>
                </a:cubicBezTo>
                <a:cubicBezTo>
                  <a:pt x="8942" y="259"/>
                  <a:pt x="8898" y="274"/>
                  <a:pt x="8878" y="271"/>
                </a:cubicBezTo>
                <a:cubicBezTo>
                  <a:pt x="8857" y="269"/>
                  <a:pt x="8826" y="265"/>
                  <a:pt x="8826" y="265"/>
                </a:cubicBezTo>
                <a:cubicBezTo>
                  <a:pt x="8815" y="282"/>
                  <a:pt x="8815" y="282"/>
                  <a:pt x="8815" y="282"/>
                </a:cubicBezTo>
                <a:cubicBezTo>
                  <a:pt x="8798" y="273"/>
                  <a:pt x="8798" y="273"/>
                  <a:pt x="8798" y="273"/>
                </a:cubicBezTo>
                <a:cubicBezTo>
                  <a:pt x="8763" y="287"/>
                  <a:pt x="8763" y="287"/>
                  <a:pt x="8763" y="287"/>
                </a:cubicBezTo>
                <a:cubicBezTo>
                  <a:pt x="8744" y="286"/>
                  <a:pt x="8744" y="286"/>
                  <a:pt x="8744" y="286"/>
                </a:cubicBezTo>
                <a:cubicBezTo>
                  <a:pt x="8725" y="301"/>
                  <a:pt x="8725" y="301"/>
                  <a:pt x="8725" y="301"/>
                </a:cubicBezTo>
                <a:cubicBezTo>
                  <a:pt x="8739" y="306"/>
                  <a:pt x="8739" y="306"/>
                  <a:pt x="8739" y="306"/>
                </a:cubicBezTo>
                <a:cubicBezTo>
                  <a:pt x="8706" y="307"/>
                  <a:pt x="8706" y="307"/>
                  <a:pt x="8706" y="307"/>
                </a:cubicBezTo>
                <a:cubicBezTo>
                  <a:pt x="8687" y="313"/>
                  <a:pt x="8687" y="313"/>
                  <a:pt x="8687" y="313"/>
                </a:cubicBezTo>
                <a:cubicBezTo>
                  <a:pt x="8688" y="322"/>
                  <a:pt x="8688" y="322"/>
                  <a:pt x="8688" y="322"/>
                </a:cubicBezTo>
                <a:cubicBezTo>
                  <a:pt x="8705" y="313"/>
                  <a:pt x="8705" y="313"/>
                  <a:pt x="8705" y="313"/>
                </a:cubicBezTo>
                <a:cubicBezTo>
                  <a:pt x="8706" y="322"/>
                  <a:pt x="8706" y="322"/>
                  <a:pt x="8706" y="322"/>
                </a:cubicBezTo>
                <a:cubicBezTo>
                  <a:pt x="8725" y="324"/>
                  <a:pt x="8725" y="324"/>
                  <a:pt x="8725" y="324"/>
                </a:cubicBezTo>
                <a:cubicBezTo>
                  <a:pt x="8719" y="332"/>
                  <a:pt x="8719" y="332"/>
                  <a:pt x="8719" y="332"/>
                </a:cubicBezTo>
                <a:cubicBezTo>
                  <a:pt x="8693" y="332"/>
                  <a:pt x="8693" y="332"/>
                  <a:pt x="8693" y="332"/>
                </a:cubicBezTo>
                <a:cubicBezTo>
                  <a:pt x="8689" y="341"/>
                  <a:pt x="8689" y="341"/>
                  <a:pt x="8689" y="341"/>
                </a:cubicBezTo>
                <a:cubicBezTo>
                  <a:pt x="8707" y="344"/>
                  <a:pt x="8707" y="344"/>
                  <a:pt x="8707" y="344"/>
                </a:cubicBezTo>
                <a:cubicBezTo>
                  <a:pt x="8676" y="346"/>
                  <a:pt x="8676" y="346"/>
                  <a:pt x="8676" y="346"/>
                </a:cubicBezTo>
                <a:cubicBezTo>
                  <a:pt x="8698" y="352"/>
                  <a:pt x="8698" y="352"/>
                  <a:pt x="8698" y="352"/>
                </a:cubicBezTo>
                <a:cubicBezTo>
                  <a:pt x="8669" y="354"/>
                  <a:pt x="8669" y="354"/>
                  <a:pt x="8669" y="354"/>
                </a:cubicBezTo>
                <a:cubicBezTo>
                  <a:pt x="8667" y="368"/>
                  <a:pt x="8667" y="368"/>
                  <a:pt x="8667" y="368"/>
                </a:cubicBezTo>
                <a:cubicBezTo>
                  <a:pt x="8647" y="375"/>
                  <a:pt x="8647" y="375"/>
                  <a:pt x="8647" y="375"/>
                </a:cubicBezTo>
                <a:cubicBezTo>
                  <a:pt x="8654" y="385"/>
                  <a:pt x="8654" y="385"/>
                  <a:pt x="8654" y="385"/>
                </a:cubicBezTo>
                <a:cubicBezTo>
                  <a:pt x="8681" y="373"/>
                  <a:pt x="8681" y="373"/>
                  <a:pt x="8681" y="373"/>
                </a:cubicBezTo>
                <a:cubicBezTo>
                  <a:pt x="8670" y="391"/>
                  <a:pt x="8670" y="391"/>
                  <a:pt x="8670" y="391"/>
                </a:cubicBezTo>
                <a:cubicBezTo>
                  <a:pt x="8670" y="391"/>
                  <a:pt x="8649" y="386"/>
                  <a:pt x="8641" y="393"/>
                </a:cubicBezTo>
                <a:cubicBezTo>
                  <a:pt x="8634" y="400"/>
                  <a:pt x="8640" y="408"/>
                  <a:pt x="8640" y="408"/>
                </a:cubicBezTo>
                <a:cubicBezTo>
                  <a:pt x="8610" y="413"/>
                  <a:pt x="8610" y="413"/>
                  <a:pt x="8610" y="413"/>
                </a:cubicBezTo>
                <a:cubicBezTo>
                  <a:pt x="8619" y="425"/>
                  <a:pt x="8619" y="425"/>
                  <a:pt x="8619" y="425"/>
                </a:cubicBezTo>
                <a:cubicBezTo>
                  <a:pt x="8638" y="416"/>
                  <a:pt x="8638" y="416"/>
                  <a:pt x="8638" y="416"/>
                </a:cubicBezTo>
                <a:cubicBezTo>
                  <a:pt x="8628" y="432"/>
                  <a:pt x="8628" y="432"/>
                  <a:pt x="8628" y="432"/>
                </a:cubicBezTo>
                <a:cubicBezTo>
                  <a:pt x="8628" y="432"/>
                  <a:pt x="8600" y="438"/>
                  <a:pt x="8602" y="449"/>
                </a:cubicBezTo>
                <a:cubicBezTo>
                  <a:pt x="8604" y="460"/>
                  <a:pt x="8631" y="464"/>
                  <a:pt x="8643" y="464"/>
                </a:cubicBezTo>
                <a:close/>
                <a:moveTo>
                  <a:pt x="7441" y="599"/>
                </a:moveTo>
                <a:cubicBezTo>
                  <a:pt x="7450" y="594"/>
                  <a:pt x="7465" y="591"/>
                  <a:pt x="7446" y="587"/>
                </a:cubicBezTo>
                <a:cubicBezTo>
                  <a:pt x="7427" y="584"/>
                  <a:pt x="7418" y="595"/>
                  <a:pt x="7418" y="595"/>
                </a:cubicBezTo>
                <a:cubicBezTo>
                  <a:pt x="7424" y="602"/>
                  <a:pt x="7424" y="602"/>
                  <a:pt x="7424" y="602"/>
                </a:cubicBezTo>
                <a:lnTo>
                  <a:pt x="7441" y="599"/>
                </a:lnTo>
                <a:close/>
                <a:moveTo>
                  <a:pt x="7430" y="571"/>
                </a:moveTo>
                <a:cubicBezTo>
                  <a:pt x="7411" y="566"/>
                  <a:pt x="7401" y="583"/>
                  <a:pt x="7401" y="583"/>
                </a:cubicBezTo>
                <a:cubicBezTo>
                  <a:pt x="7417" y="587"/>
                  <a:pt x="7417" y="587"/>
                  <a:pt x="7417" y="587"/>
                </a:cubicBezTo>
                <a:cubicBezTo>
                  <a:pt x="7423" y="583"/>
                  <a:pt x="7449" y="575"/>
                  <a:pt x="7430" y="571"/>
                </a:cubicBezTo>
                <a:close/>
                <a:moveTo>
                  <a:pt x="7410" y="590"/>
                </a:moveTo>
                <a:cubicBezTo>
                  <a:pt x="7395" y="599"/>
                  <a:pt x="7395" y="599"/>
                  <a:pt x="7395" y="599"/>
                </a:cubicBezTo>
                <a:cubicBezTo>
                  <a:pt x="7400" y="612"/>
                  <a:pt x="7400" y="612"/>
                  <a:pt x="7400" y="612"/>
                </a:cubicBezTo>
                <a:cubicBezTo>
                  <a:pt x="7418" y="613"/>
                  <a:pt x="7418" y="613"/>
                  <a:pt x="7418" y="613"/>
                </a:cubicBezTo>
                <a:cubicBezTo>
                  <a:pt x="7414" y="600"/>
                  <a:pt x="7414" y="600"/>
                  <a:pt x="7414" y="600"/>
                </a:cubicBezTo>
                <a:lnTo>
                  <a:pt x="7410" y="590"/>
                </a:lnTo>
                <a:close/>
                <a:moveTo>
                  <a:pt x="7384" y="584"/>
                </a:moveTo>
                <a:cubicBezTo>
                  <a:pt x="7373" y="588"/>
                  <a:pt x="7377" y="605"/>
                  <a:pt x="7377" y="605"/>
                </a:cubicBezTo>
                <a:cubicBezTo>
                  <a:pt x="7389" y="617"/>
                  <a:pt x="7389" y="617"/>
                  <a:pt x="7389" y="617"/>
                </a:cubicBezTo>
                <a:cubicBezTo>
                  <a:pt x="7389" y="617"/>
                  <a:pt x="7395" y="580"/>
                  <a:pt x="7384" y="584"/>
                </a:cubicBezTo>
                <a:close/>
                <a:moveTo>
                  <a:pt x="7463" y="578"/>
                </a:moveTo>
                <a:cubicBezTo>
                  <a:pt x="7479" y="575"/>
                  <a:pt x="7478" y="565"/>
                  <a:pt x="7485" y="565"/>
                </a:cubicBezTo>
                <a:cubicBezTo>
                  <a:pt x="7491" y="565"/>
                  <a:pt x="7485" y="554"/>
                  <a:pt x="7485" y="554"/>
                </a:cubicBezTo>
                <a:cubicBezTo>
                  <a:pt x="7455" y="568"/>
                  <a:pt x="7455" y="568"/>
                  <a:pt x="7455" y="568"/>
                </a:cubicBezTo>
                <a:lnTo>
                  <a:pt x="7463" y="578"/>
                </a:lnTo>
                <a:close/>
                <a:moveTo>
                  <a:pt x="7551" y="538"/>
                </a:moveTo>
                <a:cubicBezTo>
                  <a:pt x="7560" y="535"/>
                  <a:pt x="7573" y="525"/>
                  <a:pt x="7555" y="524"/>
                </a:cubicBezTo>
                <a:cubicBezTo>
                  <a:pt x="7538" y="523"/>
                  <a:pt x="7551" y="538"/>
                  <a:pt x="7551" y="538"/>
                </a:cubicBezTo>
                <a:close/>
                <a:moveTo>
                  <a:pt x="8379" y="1666"/>
                </a:moveTo>
                <a:cubicBezTo>
                  <a:pt x="8379" y="1666"/>
                  <a:pt x="8378" y="1666"/>
                  <a:pt x="8378" y="1666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9" y="1666"/>
                  <a:pt x="8379" y="1666"/>
                </a:cubicBezTo>
                <a:close/>
                <a:moveTo>
                  <a:pt x="7253" y="188"/>
                </a:moveTo>
                <a:cubicBezTo>
                  <a:pt x="7267" y="198"/>
                  <a:pt x="7288" y="194"/>
                  <a:pt x="7288" y="194"/>
                </a:cubicBezTo>
                <a:cubicBezTo>
                  <a:pt x="7266" y="183"/>
                  <a:pt x="7266" y="183"/>
                  <a:pt x="7266" y="183"/>
                </a:cubicBezTo>
                <a:cubicBezTo>
                  <a:pt x="7233" y="166"/>
                  <a:pt x="7233" y="166"/>
                  <a:pt x="7233" y="166"/>
                </a:cubicBezTo>
                <a:cubicBezTo>
                  <a:pt x="7229" y="179"/>
                  <a:pt x="7239" y="179"/>
                  <a:pt x="7253" y="188"/>
                </a:cubicBezTo>
                <a:close/>
                <a:moveTo>
                  <a:pt x="6729" y="1062"/>
                </a:moveTo>
                <a:cubicBezTo>
                  <a:pt x="6727" y="1072"/>
                  <a:pt x="6727" y="1072"/>
                  <a:pt x="6727" y="1072"/>
                </a:cubicBezTo>
                <a:cubicBezTo>
                  <a:pt x="6736" y="1064"/>
                  <a:pt x="6736" y="1064"/>
                  <a:pt x="6736" y="1064"/>
                </a:cubicBezTo>
                <a:lnTo>
                  <a:pt x="6729" y="1062"/>
                </a:lnTo>
                <a:close/>
                <a:moveTo>
                  <a:pt x="6786" y="1004"/>
                </a:moveTo>
                <a:cubicBezTo>
                  <a:pt x="6790" y="1013"/>
                  <a:pt x="6790" y="1013"/>
                  <a:pt x="6790" y="1013"/>
                </a:cubicBezTo>
                <a:cubicBezTo>
                  <a:pt x="6795" y="1017"/>
                  <a:pt x="6802" y="996"/>
                  <a:pt x="6801" y="992"/>
                </a:cubicBezTo>
                <a:cubicBezTo>
                  <a:pt x="6800" y="988"/>
                  <a:pt x="6791" y="980"/>
                  <a:pt x="6791" y="980"/>
                </a:cubicBezTo>
                <a:cubicBezTo>
                  <a:pt x="6790" y="989"/>
                  <a:pt x="6790" y="989"/>
                  <a:pt x="6790" y="989"/>
                </a:cubicBezTo>
                <a:cubicBezTo>
                  <a:pt x="6790" y="989"/>
                  <a:pt x="6777" y="993"/>
                  <a:pt x="6778" y="997"/>
                </a:cubicBezTo>
                <a:cubicBezTo>
                  <a:pt x="6779" y="1001"/>
                  <a:pt x="6786" y="1004"/>
                  <a:pt x="6786" y="1004"/>
                </a:cubicBezTo>
                <a:close/>
                <a:moveTo>
                  <a:pt x="6721" y="1053"/>
                </a:moveTo>
                <a:cubicBezTo>
                  <a:pt x="6713" y="1046"/>
                  <a:pt x="6712" y="1061"/>
                  <a:pt x="6712" y="1061"/>
                </a:cubicBezTo>
                <a:cubicBezTo>
                  <a:pt x="6719" y="1067"/>
                  <a:pt x="6729" y="1060"/>
                  <a:pt x="6721" y="1053"/>
                </a:cubicBezTo>
                <a:close/>
                <a:moveTo>
                  <a:pt x="6815" y="969"/>
                </a:moveTo>
                <a:cubicBezTo>
                  <a:pt x="6808" y="970"/>
                  <a:pt x="6806" y="979"/>
                  <a:pt x="6806" y="979"/>
                </a:cubicBezTo>
                <a:cubicBezTo>
                  <a:pt x="6817" y="984"/>
                  <a:pt x="6822" y="968"/>
                  <a:pt x="6815" y="969"/>
                </a:cubicBezTo>
                <a:close/>
                <a:moveTo>
                  <a:pt x="7648" y="515"/>
                </a:moveTo>
                <a:cubicBezTo>
                  <a:pt x="7661" y="518"/>
                  <a:pt x="7661" y="518"/>
                  <a:pt x="7661" y="518"/>
                </a:cubicBezTo>
                <a:cubicBezTo>
                  <a:pt x="7669" y="509"/>
                  <a:pt x="7669" y="503"/>
                  <a:pt x="7669" y="503"/>
                </a:cubicBezTo>
                <a:cubicBezTo>
                  <a:pt x="7649" y="505"/>
                  <a:pt x="7649" y="505"/>
                  <a:pt x="7649" y="505"/>
                </a:cubicBezTo>
                <a:lnTo>
                  <a:pt x="7648" y="515"/>
                </a:lnTo>
                <a:close/>
                <a:moveTo>
                  <a:pt x="7854" y="2172"/>
                </a:moveTo>
                <a:cubicBezTo>
                  <a:pt x="7849" y="2177"/>
                  <a:pt x="7852" y="2183"/>
                  <a:pt x="7857" y="2182"/>
                </a:cubicBezTo>
                <a:cubicBezTo>
                  <a:pt x="7866" y="2180"/>
                  <a:pt x="7859" y="2167"/>
                  <a:pt x="7854" y="2172"/>
                </a:cubicBezTo>
                <a:close/>
                <a:moveTo>
                  <a:pt x="7358" y="610"/>
                </a:moveTo>
                <a:cubicBezTo>
                  <a:pt x="7342" y="610"/>
                  <a:pt x="7317" y="629"/>
                  <a:pt x="7323" y="633"/>
                </a:cubicBezTo>
                <a:cubicBezTo>
                  <a:pt x="7328" y="636"/>
                  <a:pt x="7353" y="621"/>
                  <a:pt x="7353" y="621"/>
                </a:cubicBezTo>
                <a:cubicBezTo>
                  <a:pt x="7376" y="617"/>
                  <a:pt x="7376" y="617"/>
                  <a:pt x="7376" y="617"/>
                </a:cubicBezTo>
                <a:cubicBezTo>
                  <a:pt x="7373" y="617"/>
                  <a:pt x="7374" y="610"/>
                  <a:pt x="7358" y="610"/>
                </a:cubicBezTo>
                <a:close/>
                <a:moveTo>
                  <a:pt x="7687" y="2158"/>
                </a:moveTo>
                <a:cubicBezTo>
                  <a:pt x="7678" y="2165"/>
                  <a:pt x="7698" y="2171"/>
                  <a:pt x="7698" y="2171"/>
                </a:cubicBezTo>
                <a:cubicBezTo>
                  <a:pt x="7704" y="2167"/>
                  <a:pt x="7696" y="2151"/>
                  <a:pt x="7687" y="2158"/>
                </a:cubicBezTo>
                <a:close/>
                <a:moveTo>
                  <a:pt x="7673" y="2139"/>
                </a:moveTo>
                <a:cubicBezTo>
                  <a:pt x="7698" y="2146"/>
                  <a:pt x="7698" y="2146"/>
                  <a:pt x="7698" y="2146"/>
                </a:cubicBezTo>
                <a:cubicBezTo>
                  <a:pt x="7687" y="2124"/>
                  <a:pt x="7687" y="2124"/>
                  <a:pt x="7687" y="2124"/>
                </a:cubicBezTo>
                <a:lnTo>
                  <a:pt x="7673" y="2139"/>
                </a:lnTo>
                <a:close/>
                <a:moveTo>
                  <a:pt x="7811" y="2183"/>
                </a:moveTo>
                <a:cubicBezTo>
                  <a:pt x="7820" y="2179"/>
                  <a:pt x="7820" y="2179"/>
                  <a:pt x="7820" y="2179"/>
                </a:cubicBezTo>
                <a:cubicBezTo>
                  <a:pt x="7820" y="2179"/>
                  <a:pt x="7809" y="2172"/>
                  <a:pt x="7800" y="2163"/>
                </a:cubicBezTo>
                <a:cubicBezTo>
                  <a:pt x="7791" y="2154"/>
                  <a:pt x="7747" y="2137"/>
                  <a:pt x="7747" y="2137"/>
                </a:cubicBezTo>
                <a:cubicBezTo>
                  <a:pt x="7733" y="2143"/>
                  <a:pt x="7733" y="2143"/>
                  <a:pt x="7733" y="2143"/>
                </a:cubicBezTo>
                <a:cubicBezTo>
                  <a:pt x="7726" y="2143"/>
                  <a:pt x="7726" y="2143"/>
                  <a:pt x="7726" y="2143"/>
                </a:cubicBezTo>
                <a:cubicBezTo>
                  <a:pt x="7715" y="2158"/>
                  <a:pt x="7715" y="2158"/>
                  <a:pt x="7715" y="2158"/>
                </a:cubicBezTo>
                <a:cubicBezTo>
                  <a:pt x="7734" y="2175"/>
                  <a:pt x="7734" y="2175"/>
                  <a:pt x="7734" y="2175"/>
                </a:cubicBezTo>
                <a:cubicBezTo>
                  <a:pt x="7734" y="2175"/>
                  <a:pt x="7731" y="2192"/>
                  <a:pt x="7731" y="2202"/>
                </a:cubicBezTo>
                <a:cubicBezTo>
                  <a:pt x="7731" y="2212"/>
                  <a:pt x="7746" y="2218"/>
                  <a:pt x="7749" y="2211"/>
                </a:cubicBezTo>
                <a:cubicBezTo>
                  <a:pt x="7752" y="2204"/>
                  <a:pt x="7761" y="2205"/>
                  <a:pt x="7761" y="2205"/>
                </a:cubicBezTo>
                <a:cubicBezTo>
                  <a:pt x="7775" y="2231"/>
                  <a:pt x="7775" y="2231"/>
                  <a:pt x="7775" y="2231"/>
                </a:cubicBezTo>
                <a:cubicBezTo>
                  <a:pt x="7781" y="2213"/>
                  <a:pt x="7781" y="2213"/>
                  <a:pt x="7781" y="2213"/>
                </a:cubicBezTo>
                <a:cubicBezTo>
                  <a:pt x="7790" y="2226"/>
                  <a:pt x="7790" y="2226"/>
                  <a:pt x="7790" y="2226"/>
                </a:cubicBezTo>
                <a:cubicBezTo>
                  <a:pt x="7806" y="2232"/>
                  <a:pt x="7806" y="2232"/>
                  <a:pt x="7806" y="2232"/>
                </a:cubicBezTo>
                <a:cubicBezTo>
                  <a:pt x="7797" y="2221"/>
                  <a:pt x="7797" y="2221"/>
                  <a:pt x="7797" y="2221"/>
                </a:cubicBezTo>
                <a:cubicBezTo>
                  <a:pt x="7801" y="2216"/>
                  <a:pt x="7801" y="2216"/>
                  <a:pt x="7801" y="2216"/>
                </a:cubicBezTo>
                <a:cubicBezTo>
                  <a:pt x="7799" y="2201"/>
                  <a:pt x="7799" y="2201"/>
                  <a:pt x="7799" y="2201"/>
                </a:cubicBezTo>
                <a:cubicBezTo>
                  <a:pt x="7799" y="2201"/>
                  <a:pt x="7782" y="2180"/>
                  <a:pt x="7785" y="2172"/>
                </a:cubicBezTo>
                <a:cubicBezTo>
                  <a:pt x="7788" y="2164"/>
                  <a:pt x="7811" y="2183"/>
                  <a:pt x="7811" y="2183"/>
                </a:cubicBezTo>
                <a:close/>
                <a:moveTo>
                  <a:pt x="7854" y="2097"/>
                </a:moveTo>
                <a:cubicBezTo>
                  <a:pt x="7854" y="2097"/>
                  <a:pt x="7848" y="2109"/>
                  <a:pt x="7864" y="2109"/>
                </a:cubicBezTo>
                <a:lnTo>
                  <a:pt x="7854" y="2097"/>
                </a:lnTo>
                <a:close/>
                <a:moveTo>
                  <a:pt x="7795" y="2239"/>
                </a:moveTo>
                <a:cubicBezTo>
                  <a:pt x="7789" y="2241"/>
                  <a:pt x="7794" y="2258"/>
                  <a:pt x="7801" y="2252"/>
                </a:cubicBezTo>
                <a:cubicBezTo>
                  <a:pt x="7808" y="2246"/>
                  <a:pt x="7802" y="2237"/>
                  <a:pt x="7795" y="2239"/>
                </a:cubicBezTo>
                <a:close/>
                <a:moveTo>
                  <a:pt x="7405" y="2250"/>
                </a:moveTo>
                <a:cubicBezTo>
                  <a:pt x="7397" y="2264"/>
                  <a:pt x="7420" y="2269"/>
                  <a:pt x="7420" y="2269"/>
                </a:cubicBezTo>
                <a:cubicBezTo>
                  <a:pt x="7431" y="2256"/>
                  <a:pt x="7413" y="2236"/>
                  <a:pt x="7405" y="2250"/>
                </a:cubicBezTo>
                <a:close/>
                <a:moveTo>
                  <a:pt x="6849" y="2093"/>
                </a:moveTo>
                <a:cubicBezTo>
                  <a:pt x="6844" y="2083"/>
                  <a:pt x="6835" y="2105"/>
                  <a:pt x="6835" y="2105"/>
                </a:cubicBezTo>
                <a:cubicBezTo>
                  <a:pt x="6844" y="2114"/>
                  <a:pt x="6854" y="2103"/>
                  <a:pt x="6849" y="2093"/>
                </a:cubicBezTo>
                <a:close/>
                <a:moveTo>
                  <a:pt x="6970" y="2057"/>
                </a:moveTo>
                <a:cubicBezTo>
                  <a:pt x="6979" y="2052"/>
                  <a:pt x="6958" y="2035"/>
                  <a:pt x="6948" y="2042"/>
                </a:cubicBezTo>
                <a:cubicBezTo>
                  <a:pt x="6948" y="2042"/>
                  <a:pt x="6961" y="2062"/>
                  <a:pt x="6970" y="2057"/>
                </a:cubicBezTo>
                <a:close/>
                <a:moveTo>
                  <a:pt x="7197" y="1887"/>
                </a:moveTo>
                <a:cubicBezTo>
                  <a:pt x="7193" y="1880"/>
                  <a:pt x="7185" y="1898"/>
                  <a:pt x="7185" y="1898"/>
                </a:cubicBezTo>
                <a:cubicBezTo>
                  <a:pt x="7185" y="1898"/>
                  <a:pt x="7156" y="1911"/>
                  <a:pt x="7159" y="1925"/>
                </a:cubicBezTo>
                <a:cubicBezTo>
                  <a:pt x="7162" y="1939"/>
                  <a:pt x="7169" y="1945"/>
                  <a:pt x="7169" y="1945"/>
                </a:cubicBezTo>
                <a:cubicBezTo>
                  <a:pt x="7169" y="1945"/>
                  <a:pt x="7160" y="1956"/>
                  <a:pt x="7168" y="1963"/>
                </a:cubicBezTo>
                <a:cubicBezTo>
                  <a:pt x="7176" y="1970"/>
                  <a:pt x="7185" y="1971"/>
                  <a:pt x="7185" y="1971"/>
                </a:cubicBezTo>
                <a:cubicBezTo>
                  <a:pt x="7185" y="1971"/>
                  <a:pt x="7195" y="1964"/>
                  <a:pt x="7195" y="1953"/>
                </a:cubicBezTo>
                <a:cubicBezTo>
                  <a:pt x="7195" y="1942"/>
                  <a:pt x="7194" y="1939"/>
                  <a:pt x="7194" y="1939"/>
                </a:cubicBezTo>
                <a:cubicBezTo>
                  <a:pt x="7202" y="1935"/>
                  <a:pt x="7202" y="1935"/>
                  <a:pt x="7202" y="1935"/>
                </a:cubicBezTo>
                <a:cubicBezTo>
                  <a:pt x="7200" y="1904"/>
                  <a:pt x="7200" y="1904"/>
                  <a:pt x="7200" y="1904"/>
                </a:cubicBezTo>
                <a:cubicBezTo>
                  <a:pt x="7195" y="1902"/>
                  <a:pt x="7195" y="1902"/>
                  <a:pt x="7195" y="1902"/>
                </a:cubicBezTo>
                <a:cubicBezTo>
                  <a:pt x="7195" y="1902"/>
                  <a:pt x="7201" y="1894"/>
                  <a:pt x="7197" y="1887"/>
                </a:cubicBezTo>
                <a:close/>
                <a:moveTo>
                  <a:pt x="6899" y="2070"/>
                </a:moveTo>
                <a:cubicBezTo>
                  <a:pt x="6899" y="2070"/>
                  <a:pt x="6903" y="2079"/>
                  <a:pt x="6907" y="2080"/>
                </a:cubicBezTo>
                <a:cubicBezTo>
                  <a:pt x="6911" y="2081"/>
                  <a:pt x="6919" y="2081"/>
                  <a:pt x="6919" y="2081"/>
                </a:cubicBezTo>
                <a:cubicBezTo>
                  <a:pt x="6925" y="2079"/>
                  <a:pt x="6935" y="2069"/>
                  <a:pt x="6934" y="2062"/>
                </a:cubicBezTo>
                <a:cubicBezTo>
                  <a:pt x="6933" y="2055"/>
                  <a:pt x="6924" y="2056"/>
                  <a:pt x="6924" y="2056"/>
                </a:cubicBezTo>
                <a:cubicBezTo>
                  <a:pt x="6924" y="2056"/>
                  <a:pt x="6921" y="2049"/>
                  <a:pt x="6915" y="2049"/>
                </a:cubicBezTo>
                <a:cubicBezTo>
                  <a:pt x="6909" y="2049"/>
                  <a:pt x="6886" y="2062"/>
                  <a:pt x="6889" y="2067"/>
                </a:cubicBezTo>
                <a:cubicBezTo>
                  <a:pt x="6892" y="2072"/>
                  <a:pt x="6899" y="2070"/>
                  <a:pt x="6899" y="2070"/>
                </a:cubicBezTo>
                <a:close/>
                <a:moveTo>
                  <a:pt x="7457" y="2158"/>
                </a:moveTo>
                <a:cubicBezTo>
                  <a:pt x="7463" y="2153"/>
                  <a:pt x="7457" y="2136"/>
                  <a:pt x="7457" y="2136"/>
                </a:cubicBezTo>
                <a:cubicBezTo>
                  <a:pt x="7452" y="2146"/>
                  <a:pt x="7452" y="2146"/>
                  <a:pt x="7452" y="2146"/>
                </a:cubicBezTo>
                <a:cubicBezTo>
                  <a:pt x="7452" y="2146"/>
                  <a:pt x="7439" y="2139"/>
                  <a:pt x="7432" y="2141"/>
                </a:cubicBezTo>
                <a:cubicBezTo>
                  <a:pt x="7425" y="2143"/>
                  <a:pt x="7415" y="2150"/>
                  <a:pt x="7415" y="2150"/>
                </a:cubicBezTo>
                <a:cubicBezTo>
                  <a:pt x="7415" y="2150"/>
                  <a:pt x="7396" y="2153"/>
                  <a:pt x="7388" y="2153"/>
                </a:cubicBezTo>
                <a:cubicBezTo>
                  <a:pt x="7380" y="2153"/>
                  <a:pt x="7366" y="2137"/>
                  <a:pt x="7363" y="2140"/>
                </a:cubicBezTo>
                <a:cubicBezTo>
                  <a:pt x="7360" y="2143"/>
                  <a:pt x="7352" y="2152"/>
                  <a:pt x="7352" y="2152"/>
                </a:cubicBezTo>
                <a:cubicBezTo>
                  <a:pt x="7339" y="2144"/>
                  <a:pt x="7339" y="2144"/>
                  <a:pt x="7339" y="2144"/>
                </a:cubicBezTo>
                <a:cubicBezTo>
                  <a:pt x="7339" y="2144"/>
                  <a:pt x="7319" y="2149"/>
                  <a:pt x="7327" y="2161"/>
                </a:cubicBezTo>
                <a:cubicBezTo>
                  <a:pt x="7338" y="2177"/>
                  <a:pt x="7350" y="2172"/>
                  <a:pt x="7355" y="2174"/>
                </a:cubicBezTo>
                <a:cubicBezTo>
                  <a:pt x="7360" y="2176"/>
                  <a:pt x="7365" y="2184"/>
                  <a:pt x="7367" y="2188"/>
                </a:cubicBezTo>
                <a:cubicBezTo>
                  <a:pt x="7369" y="2192"/>
                  <a:pt x="7391" y="2202"/>
                  <a:pt x="7391" y="2202"/>
                </a:cubicBezTo>
                <a:cubicBezTo>
                  <a:pt x="7404" y="2198"/>
                  <a:pt x="7404" y="2198"/>
                  <a:pt x="7404" y="2198"/>
                </a:cubicBezTo>
                <a:cubicBezTo>
                  <a:pt x="7404" y="2198"/>
                  <a:pt x="7418" y="2219"/>
                  <a:pt x="7437" y="2220"/>
                </a:cubicBezTo>
                <a:cubicBezTo>
                  <a:pt x="7456" y="2221"/>
                  <a:pt x="7451" y="2204"/>
                  <a:pt x="7451" y="2204"/>
                </a:cubicBezTo>
                <a:cubicBezTo>
                  <a:pt x="7451" y="2204"/>
                  <a:pt x="7446" y="2187"/>
                  <a:pt x="7446" y="2180"/>
                </a:cubicBezTo>
                <a:cubicBezTo>
                  <a:pt x="7446" y="2173"/>
                  <a:pt x="7451" y="2163"/>
                  <a:pt x="7457" y="2158"/>
                </a:cubicBezTo>
                <a:close/>
                <a:moveTo>
                  <a:pt x="7142" y="1987"/>
                </a:moveTo>
                <a:cubicBezTo>
                  <a:pt x="7138" y="1998"/>
                  <a:pt x="7138" y="1998"/>
                  <a:pt x="7138" y="1998"/>
                </a:cubicBezTo>
                <a:cubicBezTo>
                  <a:pt x="7138" y="1998"/>
                  <a:pt x="7153" y="2011"/>
                  <a:pt x="7153" y="2021"/>
                </a:cubicBezTo>
                <a:cubicBezTo>
                  <a:pt x="7153" y="2031"/>
                  <a:pt x="7149" y="2048"/>
                  <a:pt x="7149" y="2048"/>
                </a:cubicBezTo>
                <a:cubicBezTo>
                  <a:pt x="7155" y="2055"/>
                  <a:pt x="7155" y="2055"/>
                  <a:pt x="7155" y="2055"/>
                </a:cubicBezTo>
                <a:cubicBezTo>
                  <a:pt x="7147" y="2060"/>
                  <a:pt x="7147" y="2060"/>
                  <a:pt x="7147" y="2060"/>
                </a:cubicBezTo>
                <a:cubicBezTo>
                  <a:pt x="7152" y="2091"/>
                  <a:pt x="7152" y="2091"/>
                  <a:pt x="7152" y="2091"/>
                </a:cubicBezTo>
                <a:cubicBezTo>
                  <a:pt x="7143" y="2091"/>
                  <a:pt x="7143" y="2091"/>
                  <a:pt x="7143" y="2091"/>
                </a:cubicBezTo>
                <a:cubicBezTo>
                  <a:pt x="7156" y="2102"/>
                  <a:pt x="7156" y="2102"/>
                  <a:pt x="7156" y="2102"/>
                </a:cubicBezTo>
                <a:cubicBezTo>
                  <a:pt x="7172" y="2102"/>
                  <a:pt x="7177" y="2081"/>
                  <a:pt x="7177" y="2081"/>
                </a:cubicBezTo>
                <a:cubicBezTo>
                  <a:pt x="7177" y="2081"/>
                  <a:pt x="7189" y="2097"/>
                  <a:pt x="7198" y="2090"/>
                </a:cubicBezTo>
                <a:cubicBezTo>
                  <a:pt x="7207" y="2083"/>
                  <a:pt x="7203" y="2065"/>
                  <a:pt x="7203" y="2065"/>
                </a:cubicBezTo>
                <a:cubicBezTo>
                  <a:pt x="7207" y="2055"/>
                  <a:pt x="7207" y="2055"/>
                  <a:pt x="7207" y="2055"/>
                </a:cubicBezTo>
                <a:cubicBezTo>
                  <a:pt x="7207" y="2038"/>
                  <a:pt x="7207" y="2038"/>
                  <a:pt x="7207" y="2038"/>
                </a:cubicBezTo>
                <a:cubicBezTo>
                  <a:pt x="7207" y="2038"/>
                  <a:pt x="7201" y="2036"/>
                  <a:pt x="7202" y="2031"/>
                </a:cubicBezTo>
                <a:cubicBezTo>
                  <a:pt x="7203" y="2026"/>
                  <a:pt x="7214" y="2026"/>
                  <a:pt x="7214" y="2019"/>
                </a:cubicBezTo>
                <a:cubicBezTo>
                  <a:pt x="7214" y="2012"/>
                  <a:pt x="7205" y="1980"/>
                  <a:pt x="7193" y="1979"/>
                </a:cubicBezTo>
                <a:cubicBezTo>
                  <a:pt x="7181" y="1978"/>
                  <a:pt x="7169" y="1999"/>
                  <a:pt x="7161" y="1999"/>
                </a:cubicBezTo>
                <a:cubicBezTo>
                  <a:pt x="7153" y="1999"/>
                  <a:pt x="7142" y="1987"/>
                  <a:pt x="7142" y="1987"/>
                </a:cubicBezTo>
                <a:close/>
                <a:moveTo>
                  <a:pt x="4261" y="639"/>
                </a:moveTo>
                <a:cubicBezTo>
                  <a:pt x="4303" y="637"/>
                  <a:pt x="4303" y="637"/>
                  <a:pt x="4303" y="637"/>
                </a:cubicBezTo>
                <a:cubicBezTo>
                  <a:pt x="4303" y="626"/>
                  <a:pt x="4303" y="626"/>
                  <a:pt x="4303" y="626"/>
                </a:cubicBezTo>
                <a:cubicBezTo>
                  <a:pt x="4273" y="628"/>
                  <a:pt x="4273" y="628"/>
                  <a:pt x="4273" y="628"/>
                </a:cubicBezTo>
                <a:lnTo>
                  <a:pt x="4261" y="639"/>
                </a:lnTo>
                <a:close/>
                <a:moveTo>
                  <a:pt x="4261" y="595"/>
                </a:moveTo>
                <a:cubicBezTo>
                  <a:pt x="4234" y="589"/>
                  <a:pt x="4261" y="607"/>
                  <a:pt x="4261" y="607"/>
                </a:cubicBezTo>
                <a:cubicBezTo>
                  <a:pt x="4277" y="605"/>
                  <a:pt x="4289" y="601"/>
                  <a:pt x="4261" y="595"/>
                </a:cubicBezTo>
                <a:close/>
                <a:moveTo>
                  <a:pt x="3805" y="403"/>
                </a:moveTo>
                <a:cubicBezTo>
                  <a:pt x="3830" y="396"/>
                  <a:pt x="3847" y="416"/>
                  <a:pt x="3847" y="416"/>
                </a:cubicBezTo>
                <a:cubicBezTo>
                  <a:pt x="3885" y="411"/>
                  <a:pt x="3885" y="411"/>
                  <a:pt x="3885" y="411"/>
                </a:cubicBezTo>
                <a:cubicBezTo>
                  <a:pt x="3880" y="396"/>
                  <a:pt x="3880" y="396"/>
                  <a:pt x="3880" y="396"/>
                </a:cubicBezTo>
                <a:cubicBezTo>
                  <a:pt x="3880" y="396"/>
                  <a:pt x="3929" y="394"/>
                  <a:pt x="3939" y="382"/>
                </a:cubicBezTo>
                <a:cubicBezTo>
                  <a:pt x="3949" y="371"/>
                  <a:pt x="3966" y="360"/>
                  <a:pt x="3953" y="360"/>
                </a:cubicBezTo>
                <a:cubicBezTo>
                  <a:pt x="3939" y="359"/>
                  <a:pt x="3862" y="350"/>
                  <a:pt x="3821" y="352"/>
                </a:cubicBezTo>
                <a:cubicBezTo>
                  <a:pt x="3782" y="353"/>
                  <a:pt x="3793" y="352"/>
                  <a:pt x="3792" y="360"/>
                </a:cubicBezTo>
                <a:cubicBezTo>
                  <a:pt x="3790" y="369"/>
                  <a:pt x="3776" y="372"/>
                  <a:pt x="3742" y="380"/>
                </a:cubicBezTo>
                <a:cubicBezTo>
                  <a:pt x="3709" y="387"/>
                  <a:pt x="3741" y="388"/>
                  <a:pt x="3739" y="410"/>
                </a:cubicBezTo>
                <a:cubicBezTo>
                  <a:pt x="3727" y="427"/>
                  <a:pt x="3727" y="427"/>
                  <a:pt x="3727" y="427"/>
                </a:cubicBezTo>
                <a:cubicBezTo>
                  <a:pt x="3747" y="439"/>
                  <a:pt x="3747" y="439"/>
                  <a:pt x="3747" y="439"/>
                </a:cubicBezTo>
                <a:cubicBezTo>
                  <a:pt x="3800" y="417"/>
                  <a:pt x="3800" y="417"/>
                  <a:pt x="3800" y="417"/>
                </a:cubicBezTo>
                <a:cubicBezTo>
                  <a:pt x="3800" y="417"/>
                  <a:pt x="3781" y="410"/>
                  <a:pt x="3805" y="403"/>
                </a:cubicBezTo>
                <a:close/>
                <a:moveTo>
                  <a:pt x="4156" y="573"/>
                </a:moveTo>
                <a:cubicBezTo>
                  <a:pt x="4140" y="578"/>
                  <a:pt x="4115" y="589"/>
                  <a:pt x="4139" y="584"/>
                </a:cubicBezTo>
                <a:cubicBezTo>
                  <a:pt x="4162" y="579"/>
                  <a:pt x="4182" y="571"/>
                  <a:pt x="4182" y="571"/>
                </a:cubicBezTo>
                <a:cubicBezTo>
                  <a:pt x="4206" y="553"/>
                  <a:pt x="4172" y="568"/>
                  <a:pt x="4156" y="573"/>
                </a:cubicBezTo>
                <a:close/>
                <a:moveTo>
                  <a:pt x="3888" y="337"/>
                </a:moveTo>
                <a:cubicBezTo>
                  <a:pt x="3899" y="330"/>
                  <a:pt x="3924" y="311"/>
                  <a:pt x="3920" y="303"/>
                </a:cubicBezTo>
                <a:cubicBezTo>
                  <a:pt x="3916" y="294"/>
                  <a:pt x="3882" y="296"/>
                  <a:pt x="3871" y="297"/>
                </a:cubicBezTo>
                <a:cubicBezTo>
                  <a:pt x="3848" y="299"/>
                  <a:pt x="3804" y="314"/>
                  <a:pt x="3816" y="322"/>
                </a:cubicBezTo>
                <a:cubicBezTo>
                  <a:pt x="3828" y="329"/>
                  <a:pt x="3888" y="337"/>
                  <a:pt x="3888" y="337"/>
                </a:cubicBezTo>
                <a:close/>
                <a:moveTo>
                  <a:pt x="4229" y="562"/>
                </a:moveTo>
                <a:cubicBezTo>
                  <a:pt x="4215" y="556"/>
                  <a:pt x="4204" y="575"/>
                  <a:pt x="4217" y="579"/>
                </a:cubicBezTo>
                <a:cubicBezTo>
                  <a:pt x="4217" y="579"/>
                  <a:pt x="4243" y="568"/>
                  <a:pt x="4229" y="562"/>
                </a:cubicBezTo>
                <a:close/>
                <a:moveTo>
                  <a:pt x="4037" y="845"/>
                </a:moveTo>
                <a:cubicBezTo>
                  <a:pt x="4047" y="835"/>
                  <a:pt x="4022" y="831"/>
                  <a:pt x="4022" y="831"/>
                </a:cubicBezTo>
                <a:cubicBezTo>
                  <a:pt x="4022" y="831"/>
                  <a:pt x="4022" y="860"/>
                  <a:pt x="4037" y="845"/>
                </a:cubicBezTo>
                <a:close/>
                <a:moveTo>
                  <a:pt x="4169" y="657"/>
                </a:moveTo>
                <a:cubicBezTo>
                  <a:pt x="4204" y="663"/>
                  <a:pt x="4214" y="656"/>
                  <a:pt x="4229" y="646"/>
                </a:cubicBezTo>
                <a:cubicBezTo>
                  <a:pt x="4245" y="637"/>
                  <a:pt x="4241" y="621"/>
                  <a:pt x="4227" y="617"/>
                </a:cubicBezTo>
                <a:cubicBezTo>
                  <a:pt x="4213" y="614"/>
                  <a:pt x="4180" y="623"/>
                  <a:pt x="4180" y="623"/>
                </a:cubicBezTo>
                <a:cubicBezTo>
                  <a:pt x="4142" y="647"/>
                  <a:pt x="4134" y="652"/>
                  <a:pt x="4169" y="657"/>
                </a:cubicBezTo>
                <a:close/>
                <a:moveTo>
                  <a:pt x="219" y="1307"/>
                </a:moveTo>
                <a:cubicBezTo>
                  <a:pt x="221" y="1293"/>
                  <a:pt x="221" y="1293"/>
                  <a:pt x="221" y="1293"/>
                </a:cubicBezTo>
                <a:cubicBezTo>
                  <a:pt x="184" y="1308"/>
                  <a:pt x="184" y="1308"/>
                  <a:pt x="184" y="1308"/>
                </a:cubicBezTo>
                <a:lnTo>
                  <a:pt x="219" y="1307"/>
                </a:lnTo>
                <a:close/>
                <a:moveTo>
                  <a:pt x="0" y="1365"/>
                </a:moveTo>
                <a:cubicBezTo>
                  <a:pt x="41" y="1359"/>
                  <a:pt x="41" y="1359"/>
                  <a:pt x="41" y="1359"/>
                </a:cubicBezTo>
                <a:cubicBezTo>
                  <a:pt x="49" y="1348"/>
                  <a:pt x="49" y="1348"/>
                  <a:pt x="49" y="1348"/>
                </a:cubicBezTo>
                <a:cubicBezTo>
                  <a:pt x="90" y="1342"/>
                  <a:pt x="90" y="1342"/>
                  <a:pt x="90" y="1342"/>
                </a:cubicBezTo>
                <a:cubicBezTo>
                  <a:pt x="76" y="1328"/>
                  <a:pt x="76" y="1328"/>
                  <a:pt x="76" y="1328"/>
                </a:cubicBezTo>
                <a:lnTo>
                  <a:pt x="0" y="1365"/>
                </a:lnTo>
                <a:close/>
                <a:moveTo>
                  <a:pt x="525" y="1021"/>
                </a:moveTo>
                <a:cubicBezTo>
                  <a:pt x="547" y="1019"/>
                  <a:pt x="594" y="998"/>
                  <a:pt x="578" y="994"/>
                </a:cubicBezTo>
                <a:cubicBezTo>
                  <a:pt x="561" y="989"/>
                  <a:pt x="539" y="986"/>
                  <a:pt x="533" y="992"/>
                </a:cubicBezTo>
                <a:cubicBezTo>
                  <a:pt x="527" y="998"/>
                  <a:pt x="514" y="985"/>
                  <a:pt x="510" y="996"/>
                </a:cubicBezTo>
                <a:cubicBezTo>
                  <a:pt x="507" y="1007"/>
                  <a:pt x="513" y="1022"/>
                  <a:pt x="525" y="1021"/>
                </a:cubicBezTo>
                <a:close/>
                <a:moveTo>
                  <a:pt x="107" y="1339"/>
                </a:moveTo>
                <a:cubicBezTo>
                  <a:pt x="135" y="1338"/>
                  <a:pt x="135" y="1338"/>
                  <a:pt x="135" y="1338"/>
                </a:cubicBezTo>
                <a:cubicBezTo>
                  <a:pt x="161" y="1319"/>
                  <a:pt x="161" y="1319"/>
                  <a:pt x="161" y="1319"/>
                </a:cubicBezTo>
                <a:cubicBezTo>
                  <a:pt x="152" y="1308"/>
                  <a:pt x="152" y="1308"/>
                  <a:pt x="152" y="1308"/>
                </a:cubicBezTo>
                <a:lnTo>
                  <a:pt x="107" y="1339"/>
                </a:lnTo>
                <a:close/>
                <a:moveTo>
                  <a:pt x="331" y="1256"/>
                </a:moveTo>
                <a:cubicBezTo>
                  <a:pt x="319" y="1256"/>
                  <a:pt x="290" y="1267"/>
                  <a:pt x="290" y="1267"/>
                </a:cubicBezTo>
                <a:cubicBezTo>
                  <a:pt x="290" y="1267"/>
                  <a:pt x="253" y="1281"/>
                  <a:pt x="254" y="1288"/>
                </a:cubicBezTo>
                <a:cubicBezTo>
                  <a:pt x="256" y="1297"/>
                  <a:pt x="270" y="1291"/>
                  <a:pt x="289" y="1285"/>
                </a:cubicBezTo>
                <a:cubicBezTo>
                  <a:pt x="308" y="1278"/>
                  <a:pt x="328" y="1288"/>
                  <a:pt x="335" y="1282"/>
                </a:cubicBezTo>
                <a:cubicBezTo>
                  <a:pt x="342" y="1276"/>
                  <a:pt x="344" y="1256"/>
                  <a:pt x="331" y="1256"/>
                </a:cubicBezTo>
                <a:close/>
                <a:moveTo>
                  <a:pt x="908" y="1114"/>
                </a:moveTo>
                <a:cubicBezTo>
                  <a:pt x="905" y="1115"/>
                  <a:pt x="892" y="1120"/>
                  <a:pt x="892" y="1120"/>
                </a:cubicBezTo>
                <a:cubicBezTo>
                  <a:pt x="892" y="1120"/>
                  <a:pt x="884" y="1113"/>
                  <a:pt x="879" y="1114"/>
                </a:cubicBezTo>
                <a:cubicBezTo>
                  <a:pt x="874" y="1115"/>
                  <a:pt x="875" y="1130"/>
                  <a:pt x="875" y="1130"/>
                </a:cubicBezTo>
                <a:cubicBezTo>
                  <a:pt x="859" y="1142"/>
                  <a:pt x="859" y="1142"/>
                  <a:pt x="859" y="1142"/>
                </a:cubicBezTo>
                <a:cubicBezTo>
                  <a:pt x="859" y="1125"/>
                  <a:pt x="859" y="1125"/>
                  <a:pt x="859" y="1125"/>
                </a:cubicBezTo>
                <a:cubicBezTo>
                  <a:pt x="859" y="1125"/>
                  <a:pt x="845" y="1120"/>
                  <a:pt x="831" y="1133"/>
                </a:cubicBezTo>
                <a:cubicBezTo>
                  <a:pt x="831" y="1133"/>
                  <a:pt x="814" y="1144"/>
                  <a:pt x="811" y="1151"/>
                </a:cubicBezTo>
                <a:cubicBezTo>
                  <a:pt x="809" y="1159"/>
                  <a:pt x="831" y="1160"/>
                  <a:pt x="831" y="1160"/>
                </a:cubicBezTo>
                <a:cubicBezTo>
                  <a:pt x="831" y="1160"/>
                  <a:pt x="861" y="1160"/>
                  <a:pt x="872" y="1155"/>
                </a:cubicBezTo>
                <a:cubicBezTo>
                  <a:pt x="884" y="1150"/>
                  <a:pt x="881" y="1143"/>
                  <a:pt x="881" y="1143"/>
                </a:cubicBezTo>
                <a:cubicBezTo>
                  <a:pt x="899" y="1140"/>
                  <a:pt x="899" y="1140"/>
                  <a:pt x="899" y="1140"/>
                </a:cubicBezTo>
                <a:cubicBezTo>
                  <a:pt x="900" y="1134"/>
                  <a:pt x="900" y="1134"/>
                  <a:pt x="900" y="1134"/>
                </a:cubicBezTo>
                <a:cubicBezTo>
                  <a:pt x="925" y="1133"/>
                  <a:pt x="925" y="1133"/>
                  <a:pt x="925" y="1133"/>
                </a:cubicBezTo>
                <a:cubicBezTo>
                  <a:pt x="931" y="1117"/>
                  <a:pt x="931" y="1117"/>
                  <a:pt x="931" y="1117"/>
                </a:cubicBezTo>
                <a:cubicBezTo>
                  <a:pt x="920" y="1119"/>
                  <a:pt x="920" y="1119"/>
                  <a:pt x="920" y="1119"/>
                </a:cubicBezTo>
                <a:cubicBezTo>
                  <a:pt x="920" y="1119"/>
                  <a:pt x="912" y="1113"/>
                  <a:pt x="908" y="1114"/>
                </a:cubicBezTo>
                <a:close/>
                <a:moveTo>
                  <a:pt x="3018" y="262"/>
                </a:moveTo>
                <a:cubicBezTo>
                  <a:pt x="3018" y="262"/>
                  <a:pt x="3056" y="255"/>
                  <a:pt x="3065" y="261"/>
                </a:cubicBezTo>
                <a:cubicBezTo>
                  <a:pt x="3075" y="267"/>
                  <a:pt x="3069" y="277"/>
                  <a:pt x="3081" y="277"/>
                </a:cubicBezTo>
                <a:cubicBezTo>
                  <a:pt x="3094" y="277"/>
                  <a:pt x="3116" y="272"/>
                  <a:pt x="3116" y="272"/>
                </a:cubicBezTo>
                <a:cubicBezTo>
                  <a:pt x="3116" y="272"/>
                  <a:pt x="3132" y="281"/>
                  <a:pt x="3147" y="274"/>
                </a:cubicBezTo>
                <a:cubicBezTo>
                  <a:pt x="3163" y="268"/>
                  <a:pt x="3160" y="251"/>
                  <a:pt x="3160" y="251"/>
                </a:cubicBezTo>
                <a:cubicBezTo>
                  <a:pt x="3182" y="251"/>
                  <a:pt x="3182" y="251"/>
                  <a:pt x="3182" y="251"/>
                </a:cubicBezTo>
                <a:cubicBezTo>
                  <a:pt x="3226" y="237"/>
                  <a:pt x="3226" y="237"/>
                  <a:pt x="3226" y="237"/>
                </a:cubicBezTo>
                <a:cubicBezTo>
                  <a:pt x="3201" y="260"/>
                  <a:pt x="3201" y="260"/>
                  <a:pt x="3201" y="260"/>
                </a:cubicBezTo>
                <a:cubicBezTo>
                  <a:pt x="3236" y="266"/>
                  <a:pt x="3236" y="266"/>
                  <a:pt x="3236" y="266"/>
                </a:cubicBezTo>
                <a:cubicBezTo>
                  <a:pt x="3273" y="251"/>
                  <a:pt x="3273" y="251"/>
                  <a:pt x="3273" y="251"/>
                </a:cubicBezTo>
                <a:cubicBezTo>
                  <a:pt x="3336" y="222"/>
                  <a:pt x="3336" y="222"/>
                  <a:pt x="3336" y="222"/>
                </a:cubicBezTo>
                <a:cubicBezTo>
                  <a:pt x="3336" y="222"/>
                  <a:pt x="3288" y="207"/>
                  <a:pt x="3279" y="207"/>
                </a:cubicBezTo>
                <a:cubicBezTo>
                  <a:pt x="3269" y="207"/>
                  <a:pt x="3216" y="203"/>
                  <a:pt x="3216" y="203"/>
                </a:cubicBezTo>
                <a:cubicBezTo>
                  <a:pt x="3165" y="211"/>
                  <a:pt x="3165" y="211"/>
                  <a:pt x="3165" y="211"/>
                </a:cubicBezTo>
                <a:cubicBezTo>
                  <a:pt x="3162" y="225"/>
                  <a:pt x="3162" y="225"/>
                  <a:pt x="3162" y="225"/>
                </a:cubicBezTo>
                <a:cubicBezTo>
                  <a:pt x="3084" y="231"/>
                  <a:pt x="3084" y="231"/>
                  <a:pt x="3084" y="231"/>
                </a:cubicBezTo>
                <a:cubicBezTo>
                  <a:pt x="3084" y="231"/>
                  <a:pt x="3058" y="222"/>
                  <a:pt x="3036" y="226"/>
                </a:cubicBezTo>
                <a:cubicBezTo>
                  <a:pt x="3014" y="229"/>
                  <a:pt x="3017" y="237"/>
                  <a:pt x="3017" y="237"/>
                </a:cubicBezTo>
                <a:cubicBezTo>
                  <a:pt x="3017" y="242"/>
                  <a:pt x="3018" y="262"/>
                  <a:pt x="3018" y="262"/>
                </a:cubicBezTo>
                <a:close/>
                <a:moveTo>
                  <a:pt x="3472" y="227"/>
                </a:moveTo>
                <a:cubicBezTo>
                  <a:pt x="3534" y="231"/>
                  <a:pt x="3529" y="212"/>
                  <a:pt x="3529" y="212"/>
                </a:cubicBezTo>
                <a:cubicBezTo>
                  <a:pt x="3525" y="202"/>
                  <a:pt x="3525" y="202"/>
                  <a:pt x="3525" y="202"/>
                </a:cubicBezTo>
                <a:cubicBezTo>
                  <a:pt x="3571" y="197"/>
                  <a:pt x="3571" y="197"/>
                  <a:pt x="3571" y="197"/>
                </a:cubicBezTo>
                <a:cubicBezTo>
                  <a:pt x="3560" y="189"/>
                  <a:pt x="3560" y="189"/>
                  <a:pt x="3560" y="189"/>
                </a:cubicBezTo>
                <a:cubicBezTo>
                  <a:pt x="3515" y="191"/>
                  <a:pt x="3515" y="191"/>
                  <a:pt x="3515" y="191"/>
                </a:cubicBezTo>
                <a:cubicBezTo>
                  <a:pt x="3507" y="199"/>
                  <a:pt x="3507" y="199"/>
                  <a:pt x="3507" y="199"/>
                </a:cubicBezTo>
                <a:cubicBezTo>
                  <a:pt x="3507" y="199"/>
                  <a:pt x="3448" y="186"/>
                  <a:pt x="3441" y="202"/>
                </a:cubicBezTo>
                <a:cubicBezTo>
                  <a:pt x="3435" y="218"/>
                  <a:pt x="3472" y="227"/>
                  <a:pt x="3472" y="227"/>
                </a:cubicBezTo>
                <a:close/>
                <a:moveTo>
                  <a:pt x="3267" y="270"/>
                </a:moveTo>
                <a:cubicBezTo>
                  <a:pt x="3231" y="288"/>
                  <a:pt x="3231" y="288"/>
                  <a:pt x="3231" y="288"/>
                </a:cubicBezTo>
                <a:cubicBezTo>
                  <a:pt x="3231" y="288"/>
                  <a:pt x="3266" y="294"/>
                  <a:pt x="3250" y="297"/>
                </a:cubicBezTo>
                <a:cubicBezTo>
                  <a:pt x="3234" y="301"/>
                  <a:pt x="3176" y="305"/>
                  <a:pt x="3176" y="305"/>
                </a:cubicBezTo>
                <a:cubicBezTo>
                  <a:pt x="3162" y="321"/>
                  <a:pt x="3162" y="321"/>
                  <a:pt x="3162" y="321"/>
                </a:cubicBezTo>
                <a:cubicBezTo>
                  <a:pt x="3199" y="316"/>
                  <a:pt x="3199" y="316"/>
                  <a:pt x="3199" y="316"/>
                </a:cubicBezTo>
                <a:cubicBezTo>
                  <a:pt x="3199" y="316"/>
                  <a:pt x="3214" y="321"/>
                  <a:pt x="3233" y="324"/>
                </a:cubicBezTo>
                <a:cubicBezTo>
                  <a:pt x="3252" y="327"/>
                  <a:pt x="3308" y="308"/>
                  <a:pt x="3308" y="308"/>
                </a:cubicBezTo>
                <a:cubicBezTo>
                  <a:pt x="3306" y="317"/>
                  <a:pt x="3306" y="317"/>
                  <a:pt x="3306" y="317"/>
                </a:cubicBezTo>
                <a:cubicBezTo>
                  <a:pt x="3306" y="317"/>
                  <a:pt x="3344" y="312"/>
                  <a:pt x="3374" y="310"/>
                </a:cubicBezTo>
                <a:cubicBezTo>
                  <a:pt x="3402" y="308"/>
                  <a:pt x="3377" y="315"/>
                  <a:pt x="3367" y="317"/>
                </a:cubicBezTo>
                <a:cubicBezTo>
                  <a:pt x="3357" y="318"/>
                  <a:pt x="3323" y="322"/>
                  <a:pt x="3298" y="325"/>
                </a:cubicBezTo>
                <a:cubicBezTo>
                  <a:pt x="3273" y="328"/>
                  <a:pt x="3242" y="339"/>
                  <a:pt x="3242" y="339"/>
                </a:cubicBezTo>
                <a:cubicBezTo>
                  <a:pt x="3242" y="339"/>
                  <a:pt x="3270" y="344"/>
                  <a:pt x="3320" y="346"/>
                </a:cubicBezTo>
                <a:cubicBezTo>
                  <a:pt x="3368" y="347"/>
                  <a:pt x="3402" y="326"/>
                  <a:pt x="3402" y="326"/>
                </a:cubicBezTo>
                <a:cubicBezTo>
                  <a:pt x="3452" y="313"/>
                  <a:pt x="3452" y="313"/>
                  <a:pt x="3452" y="313"/>
                </a:cubicBezTo>
                <a:cubicBezTo>
                  <a:pt x="3452" y="313"/>
                  <a:pt x="3469" y="319"/>
                  <a:pt x="3517" y="313"/>
                </a:cubicBezTo>
                <a:cubicBezTo>
                  <a:pt x="3563" y="307"/>
                  <a:pt x="3566" y="297"/>
                  <a:pt x="3585" y="292"/>
                </a:cubicBezTo>
                <a:cubicBezTo>
                  <a:pt x="3603" y="287"/>
                  <a:pt x="3588" y="267"/>
                  <a:pt x="3568" y="267"/>
                </a:cubicBezTo>
                <a:cubicBezTo>
                  <a:pt x="3548" y="268"/>
                  <a:pt x="3554" y="281"/>
                  <a:pt x="3554" y="281"/>
                </a:cubicBezTo>
                <a:cubicBezTo>
                  <a:pt x="3527" y="280"/>
                  <a:pt x="3527" y="280"/>
                  <a:pt x="3527" y="280"/>
                </a:cubicBezTo>
                <a:cubicBezTo>
                  <a:pt x="3527" y="280"/>
                  <a:pt x="3532" y="273"/>
                  <a:pt x="3537" y="265"/>
                </a:cubicBezTo>
                <a:cubicBezTo>
                  <a:pt x="3542" y="257"/>
                  <a:pt x="3555" y="242"/>
                  <a:pt x="3543" y="242"/>
                </a:cubicBezTo>
                <a:cubicBezTo>
                  <a:pt x="3531" y="241"/>
                  <a:pt x="3506" y="252"/>
                  <a:pt x="3473" y="262"/>
                </a:cubicBezTo>
                <a:cubicBezTo>
                  <a:pt x="3439" y="272"/>
                  <a:pt x="3494" y="269"/>
                  <a:pt x="3494" y="269"/>
                </a:cubicBezTo>
                <a:cubicBezTo>
                  <a:pt x="3491" y="285"/>
                  <a:pt x="3491" y="285"/>
                  <a:pt x="3491" y="285"/>
                </a:cubicBezTo>
                <a:cubicBezTo>
                  <a:pt x="3411" y="295"/>
                  <a:pt x="3411" y="295"/>
                  <a:pt x="3411" y="295"/>
                </a:cubicBezTo>
                <a:cubicBezTo>
                  <a:pt x="3411" y="295"/>
                  <a:pt x="3405" y="275"/>
                  <a:pt x="3410" y="266"/>
                </a:cubicBezTo>
                <a:cubicBezTo>
                  <a:pt x="3414" y="257"/>
                  <a:pt x="3357" y="253"/>
                  <a:pt x="3357" y="253"/>
                </a:cubicBezTo>
                <a:lnTo>
                  <a:pt x="3267" y="270"/>
                </a:lnTo>
                <a:close/>
                <a:moveTo>
                  <a:pt x="2745" y="467"/>
                </a:moveTo>
                <a:cubicBezTo>
                  <a:pt x="2750" y="479"/>
                  <a:pt x="2720" y="495"/>
                  <a:pt x="2748" y="491"/>
                </a:cubicBezTo>
                <a:cubicBezTo>
                  <a:pt x="2776" y="487"/>
                  <a:pt x="2810" y="475"/>
                  <a:pt x="2810" y="475"/>
                </a:cubicBezTo>
                <a:cubicBezTo>
                  <a:pt x="2836" y="481"/>
                  <a:pt x="2836" y="481"/>
                  <a:pt x="2836" y="481"/>
                </a:cubicBezTo>
                <a:cubicBezTo>
                  <a:pt x="2887" y="443"/>
                  <a:pt x="2887" y="443"/>
                  <a:pt x="2887" y="443"/>
                </a:cubicBezTo>
                <a:cubicBezTo>
                  <a:pt x="2975" y="415"/>
                  <a:pt x="2975" y="415"/>
                  <a:pt x="2975" y="415"/>
                </a:cubicBezTo>
                <a:cubicBezTo>
                  <a:pt x="3058" y="392"/>
                  <a:pt x="3058" y="392"/>
                  <a:pt x="3058" y="392"/>
                </a:cubicBezTo>
                <a:cubicBezTo>
                  <a:pt x="3124" y="379"/>
                  <a:pt x="3124" y="379"/>
                  <a:pt x="3124" y="379"/>
                </a:cubicBezTo>
                <a:cubicBezTo>
                  <a:pt x="3124" y="379"/>
                  <a:pt x="3085" y="347"/>
                  <a:pt x="3082" y="343"/>
                </a:cubicBezTo>
                <a:cubicBezTo>
                  <a:pt x="3078" y="340"/>
                  <a:pt x="3031" y="346"/>
                  <a:pt x="3031" y="346"/>
                </a:cubicBezTo>
                <a:cubicBezTo>
                  <a:pt x="2987" y="352"/>
                  <a:pt x="2987" y="352"/>
                  <a:pt x="2987" y="352"/>
                </a:cubicBezTo>
                <a:cubicBezTo>
                  <a:pt x="2963" y="334"/>
                  <a:pt x="2963" y="334"/>
                  <a:pt x="2963" y="334"/>
                </a:cubicBezTo>
                <a:cubicBezTo>
                  <a:pt x="2909" y="341"/>
                  <a:pt x="2909" y="341"/>
                  <a:pt x="2909" y="341"/>
                </a:cubicBezTo>
                <a:cubicBezTo>
                  <a:pt x="2875" y="351"/>
                  <a:pt x="2875" y="351"/>
                  <a:pt x="2875" y="351"/>
                </a:cubicBezTo>
                <a:cubicBezTo>
                  <a:pt x="2865" y="364"/>
                  <a:pt x="2865" y="364"/>
                  <a:pt x="2865" y="364"/>
                </a:cubicBezTo>
                <a:cubicBezTo>
                  <a:pt x="2854" y="384"/>
                  <a:pt x="2854" y="384"/>
                  <a:pt x="2854" y="384"/>
                </a:cubicBezTo>
                <a:cubicBezTo>
                  <a:pt x="2822" y="393"/>
                  <a:pt x="2822" y="393"/>
                  <a:pt x="2822" y="393"/>
                </a:cubicBezTo>
                <a:cubicBezTo>
                  <a:pt x="2776" y="406"/>
                  <a:pt x="2776" y="406"/>
                  <a:pt x="2776" y="406"/>
                </a:cubicBezTo>
                <a:cubicBezTo>
                  <a:pt x="2789" y="414"/>
                  <a:pt x="2789" y="414"/>
                  <a:pt x="2789" y="414"/>
                </a:cubicBezTo>
                <a:cubicBezTo>
                  <a:pt x="2709" y="450"/>
                  <a:pt x="2709" y="450"/>
                  <a:pt x="2709" y="450"/>
                </a:cubicBezTo>
                <a:cubicBezTo>
                  <a:pt x="2709" y="450"/>
                  <a:pt x="2741" y="455"/>
                  <a:pt x="2745" y="467"/>
                </a:cubicBezTo>
                <a:close/>
                <a:moveTo>
                  <a:pt x="3369" y="243"/>
                </a:moveTo>
                <a:cubicBezTo>
                  <a:pt x="3387" y="228"/>
                  <a:pt x="3368" y="219"/>
                  <a:pt x="3350" y="229"/>
                </a:cubicBezTo>
                <a:cubicBezTo>
                  <a:pt x="3331" y="239"/>
                  <a:pt x="3369" y="243"/>
                  <a:pt x="3369" y="243"/>
                </a:cubicBezTo>
                <a:close/>
                <a:moveTo>
                  <a:pt x="3556" y="183"/>
                </a:moveTo>
                <a:cubicBezTo>
                  <a:pt x="3566" y="182"/>
                  <a:pt x="3595" y="190"/>
                  <a:pt x="3597" y="182"/>
                </a:cubicBezTo>
                <a:cubicBezTo>
                  <a:pt x="3599" y="173"/>
                  <a:pt x="3589" y="167"/>
                  <a:pt x="3573" y="167"/>
                </a:cubicBezTo>
                <a:cubicBezTo>
                  <a:pt x="3556" y="167"/>
                  <a:pt x="3491" y="178"/>
                  <a:pt x="3491" y="178"/>
                </a:cubicBezTo>
                <a:cubicBezTo>
                  <a:pt x="3491" y="178"/>
                  <a:pt x="3547" y="184"/>
                  <a:pt x="3556" y="183"/>
                </a:cubicBezTo>
                <a:close/>
                <a:moveTo>
                  <a:pt x="4268" y="416"/>
                </a:moveTo>
                <a:cubicBezTo>
                  <a:pt x="4284" y="422"/>
                  <a:pt x="4306" y="408"/>
                  <a:pt x="4306" y="408"/>
                </a:cubicBezTo>
                <a:cubicBezTo>
                  <a:pt x="4347" y="407"/>
                  <a:pt x="4347" y="407"/>
                  <a:pt x="4347" y="407"/>
                </a:cubicBezTo>
                <a:cubicBezTo>
                  <a:pt x="4347" y="407"/>
                  <a:pt x="4373" y="417"/>
                  <a:pt x="4381" y="411"/>
                </a:cubicBezTo>
                <a:cubicBezTo>
                  <a:pt x="4388" y="406"/>
                  <a:pt x="4382" y="383"/>
                  <a:pt x="4365" y="379"/>
                </a:cubicBezTo>
                <a:cubicBezTo>
                  <a:pt x="4347" y="375"/>
                  <a:pt x="4331" y="380"/>
                  <a:pt x="4331" y="380"/>
                </a:cubicBezTo>
                <a:cubicBezTo>
                  <a:pt x="4305" y="380"/>
                  <a:pt x="4305" y="380"/>
                  <a:pt x="4305" y="380"/>
                </a:cubicBezTo>
                <a:cubicBezTo>
                  <a:pt x="4305" y="380"/>
                  <a:pt x="4275" y="368"/>
                  <a:pt x="4264" y="377"/>
                </a:cubicBezTo>
                <a:cubicBezTo>
                  <a:pt x="4254" y="385"/>
                  <a:pt x="4250" y="391"/>
                  <a:pt x="4250" y="391"/>
                </a:cubicBezTo>
                <a:cubicBezTo>
                  <a:pt x="4263" y="398"/>
                  <a:pt x="4263" y="398"/>
                  <a:pt x="4263" y="398"/>
                </a:cubicBezTo>
                <a:cubicBezTo>
                  <a:pt x="4263" y="398"/>
                  <a:pt x="4254" y="410"/>
                  <a:pt x="4268" y="416"/>
                </a:cubicBezTo>
                <a:close/>
                <a:moveTo>
                  <a:pt x="4008" y="114"/>
                </a:moveTo>
                <a:cubicBezTo>
                  <a:pt x="3971" y="118"/>
                  <a:pt x="3971" y="118"/>
                  <a:pt x="3971" y="118"/>
                </a:cubicBezTo>
                <a:cubicBezTo>
                  <a:pt x="3985" y="136"/>
                  <a:pt x="3985" y="136"/>
                  <a:pt x="3985" y="136"/>
                </a:cubicBezTo>
                <a:lnTo>
                  <a:pt x="4008" y="114"/>
                </a:lnTo>
                <a:close/>
                <a:moveTo>
                  <a:pt x="3411" y="512"/>
                </a:moveTo>
                <a:cubicBezTo>
                  <a:pt x="3409" y="506"/>
                  <a:pt x="3344" y="507"/>
                  <a:pt x="3344" y="507"/>
                </a:cubicBezTo>
                <a:cubicBezTo>
                  <a:pt x="3397" y="479"/>
                  <a:pt x="3397" y="479"/>
                  <a:pt x="3397" y="479"/>
                </a:cubicBezTo>
                <a:cubicBezTo>
                  <a:pt x="3397" y="479"/>
                  <a:pt x="3429" y="405"/>
                  <a:pt x="3400" y="396"/>
                </a:cubicBezTo>
                <a:cubicBezTo>
                  <a:pt x="3373" y="388"/>
                  <a:pt x="3334" y="406"/>
                  <a:pt x="3334" y="406"/>
                </a:cubicBezTo>
                <a:cubicBezTo>
                  <a:pt x="3334" y="406"/>
                  <a:pt x="3308" y="460"/>
                  <a:pt x="3284" y="463"/>
                </a:cubicBezTo>
                <a:cubicBezTo>
                  <a:pt x="3260" y="466"/>
                  <a:pt x="3300" y="426"/>
                  <a:pt x="3298" y="416"/>
                </a:cubicBezTo>
                <a:cubicBezTo>
                  <a:pt x="3296" y="406"/>
                  <a:pt x="3232" y="405"/>
                  <a:pt x="3232" y="405"/>
                </a:cubicBezTo>
                <a:cubicBezTo>
                  <a:pt x="3226" y="418"/>
                  <a:pt x="3226" y="418"/>
                  <a:pt x="3226" y="418"/>
                </a:cubicBezTo>
                <a:cubicBezTo>
                  <a:pt x="3226" y="418"/>
                  <a:pt x="3190" y="433"/>
                  <a:pt x="3153" y="436"/>
                </a:cubicBezTo>
                <a:cubicBezTo>
                  <a:pt x="3117" y="438"/>
                  <a:pt x="3169" y="425"/>
                  <a:pt x="3205" y="413"/>
                </a:cubicBezTo>
                <a:cubicBezTo>
                  <a:pt x="3243" y="401"/>
                  <a:pt x="3186" y="399"/>
                  <a:pt x="3186" y="399"/>
                </a:cubicBezTo>
                <a:cubicBezTo>
                  <a:pt x="3146" y="411"/>
                  <a:pt x="3146" y="411"/>
                  <a:pt x="3146" y="411"/>
                </a:cubicBezTo>
                <a:cubicBezTo>
                  <a:pt x="3118" y="414"/>
                  <a:pt x="3118" y="414"/>
                  <a:pt x="3118" y="414"/>
                </a:cubicBezTo>
                <a:cubicBezTo>
                  <a:pt x="3118" y="414"/>
                  <a:pt x="3133" y="404"/>
                  <a:pt x="3149" y="393"/>
                </a:cubicBezTo>
                <a:cubicBezTo>
                  <a:pt x="3164" y="382"/>
                  <a:pt x="3145" y="384"/>
                  <a:pt x="3145" y="384"/>
                </a:cubicBezTo>
                <a:cubicBezTo>
                  <a:pt x="3046" y="415"/>
                  <a:pt x="3046" y="415"/>
                  <a:pt x="3046" y="415"/>
                </a:cubicBezTo>
                <a:cubicBezTo>
                  <a:pt x="3032" y="416"/>
                  <a:pt x="3032" y="416"/>
                  <a:pt x="3032" y="416"/>
                </a:cubicBezTo>
                <a:cubicBezTo>
                  <a:pt x="2976" y="433"/>
                  <a:pt x="2976" y="433"/>
                  <a:pt x="2976" y="433"/>
                </a:cubicBezTo>
                <a:cubicBezTo>
                  <a:pt x="2978" y="441"/>
                  <a:pt x="2978" y="441"/>
                  <a:pt x="2978" y="441"/>
                </a:cubicBezTo>
                <a:cubicBezTo>
                  <a:pt x="2938" y="456"/>
                  <a:pt x="2938" y="456"/>
                  <a:pt x="2938" y="456"/>
                </a:cubicBezTo>
                <a:cubicBezTo>
                  <a:pt x="2929" y="466"/>
                  <a:pt x="2929" y="466"/>
                  <a:pt x="2929" y="466"/>
                </a:cubicBezTo>
                <a:cubicBezTo>
                  <a:pt x="2947" y="474"/>
                  <a:pt x="2947" y="474"/>
                  <a:pt x="2947" y="474"/>
                </a:cubicBezTo>
                <a:cubicBezTo>
                  <a:pt x="2947" y="474"/>
                  <a:pt x="2969" y="459"/>
                  <a:pt x="2974" y="471"/>
                </a:cubicBezTo>
                <a:cubicBezTo>
                  <a:pt x="2979" y="483"/>
                  <a:pt x="2933" y="477"/>
                  <a:pt x="2922" y="496"/>
                </a:cubicBezTo>
                <a:cubicBezTo>
                  <a:pt x="2910" y="516"/>
                  <a:pt x="3069" y="497"/>
                  <a:pt x="3047" y="515"/>
                </a:cubicBezTo>
                <a:cubicBezTo>
                  <a:pt x="3026" y="532"/>
                  <a:pt x="2899" y="521"/>
                  <a:pt x="2888" y="538"/>
                </a:cubicBezTo>
                <a:cubicBezTo>
                  <a:pt x="2877" y="555"/>
                  <a:pt x="2909" y="553"/>
                  <a:pt x="2932" y="565"/>
                </a:cubicBezTo>
                <a:cubicBezTo>
                  <a:pt x="2955" y="577"/>
                  <a:pt x="2920" y="570"/>
                  <a:pt x="2916" y="587"/>
                </a:cubicBezTo>
                <a:cubicBezTo>
                  <a:pt x="2912" y="603"/>
                  <a:pt x="3015" y="595"/>
                  <a:pt x="3015" y="595"/>
                </a:cubicBezTo>
                <a:cubicBezTo>
                  <a:pt x="3015" y="595"/>
                  <a:pt x="3184" y="579"/>
                  <a:pt x="3223" y="567"/>
                </a:cubicBezTo>
                <a:cubicBezTo>
                  <a:pt x="3250" y="558"/>
                  <a:pt x="3301" y="596"/>
                  <a:pt x="3333" y="599"/>
                </a:cubicBezTo>
                <a:cubicBezTo>
                  <a:pt x="3366" y="601"/>
                  <a:pt x="3377" y="564"/>
                  <a:pt x="3377" y="564"/>
                </a:cubicBezTo>
                <a:cubicBezTo>
                  <a:pt x="3325" y="563"/>
                  <a:pt x="3325" y="563"/>
                  <a:pt x="3325" y="563"/>
                </a:cubicBezTo>
                <a:cubicBezTo>
                  <a:pt x="3347" y="546"/>
                  <a:pt x="3347" y="546"/>
                  <a:pt x="3347" y="546"/>
                </a:cubicBezTo>
                <a:cubicBezTo>
                  <a:pt x="3347" y="546"/>
                  <a:pt x="3379" y="552"/>
                  <a:pt x="3411" y="545"/>
                </a:cubicBezTo>
                <a:cubicBezTo>
                  <a:pt x="3444" y="538"/>
                  <a:pt x="3413" y="519"/>
                  <a:pt x="3411" y="512"/>
                </a:cubicBezTo>
                <a:close/>
                <a:moveTo>
                  <a:pt x="3970" y="239"/>
                </a:moveTo>
                <a:cubicBezTo>
                  <a:pt x="3966" y="239"/>
                  <a:pt x="3958" y="235"/>
                  <a:pt x="3958" y="235"/>
                </a:cubicBezTo>
                <a:cubicBezTo>
                  <a:pt x="3958" y="235"/>
                  <a:pt x="3898" y="235"/>
                  <a:pt x="3898" y="243"/>
                </a:cubicBezTo>
                <a:cubicBezTo>
                  <a:pt x="3898" y="252"/>
                  <a:pt x="3917" y="254"/>
                  <a:pt x="3917" y="254"/>
                </a:cubicBezTo>
                <a:cubicBezTo>
                  <a:pt x="3918" y="266"/>
                  <a:pt x="3918" y="266"/>
                  <a:pt x="3918" y="266"/>
                </a:cubicBezTo>
                <a:cubicBezTo>
                  <a:pt x="3918" y="266"/>
                  <a:pt x="3968" y="271"/>
                  <a:pt x="3972" y="269"/>
                </a:cubicBezTo>
                <a:cubicBezTo>
                  <a:pt x="3976" y="267"/>
                  <a:pt x="3988" y="268"/>
                  <a:pt x="3994" y="268"/>
                </a:cubicBezTo>
                <a:cubicBezTo>
                  <a:pt x="3992" y="276"/>
                  <a:pt x="3990" y="287"/>
                  <a:pt x="3990" y="287"/>
                </a:cubicBezTo>
                <a:cubicBezTo>
                  <a:pt x="3953" y="314"/>
                  <a:pt x="3953" y="314"/>
                  <a:pt x="3953" y="314"/>
                </a:cubicBezTo>
                <a:cubicBezTo>
                  <a:pt x="3967" y="320"/>
                  <a:pt x="3967" y="320"/>
                  <a:pt x="3967" y="320"/>
                </a:cubicBezTo>
                <a:cubicBezTo>
                  <a:pt x="3967" y="320"/>
                  <a:pt x="3943" y="335"/>
                  <a:pt x="3955" y="335"/>
                </a:cubicBezTo>
                <a:cubicBezTo>
                  <a:pt x="3967" y="335"/>
                  <a:pt x="3985" y="325"/>
                  <a:pt x="3985" y="325"/>
                </a:cubicBezTo>
                <a:cubicBezTo>
                  <a:pt x="3985" y="325"/>
                  <a:pt x="3976" y="338"/>
                  <a:pt x="3995" y="337"/>
                </a:cubicBezTo>
                <a:cubicBezTo>
                  <a:pt x="4014" y="336"/>
                  <a:pt x="4050" y="324"/>
                  <a:pt x="4050" y="324"/>
                </a:cubicBezTo>
                <a:cubicBezTo>
                  <a:pt x="4051" y="338"/>
                  <a:pt x="4051" y="338"/>
                  <a:pt x="4051" y="338"/>
                </a:cubicBezTo>
                <a:cubicBezTo>
                  <a:pt x="4096" y="335"/>
                  <a:pt x="4096" y="335"/>
                  <a:pt x="4096" y="335"/>
                </a:cubicBezTo>
                <a:cubicBezTo>
                  <a:pt x="4149" y="345"/>
                  <a:pt x="4149" y="345"/>
                  <a:pt x="4149" y="345"/>
                </a:cubicBezTo>
                <a:cubicBezTo>
                  <a:pt x="4213" y="340"/>
                  <a:pt x="4213" y="340"/>
                  <a:pt x="4213" y="340"/>
                </a:cubicBezTo>
                <a:cubicBezTo>
                  <a:pt x="4231" y="325"/>
                  <a:pt x="4231" y="325"/>
                  <a:pt x="4231" y="325"/>
                </a:cubicBezTo>
                <a:cubicBezTo>
                  <a:pt x="4231" y="325"/>
                  <a:pt x="4220" y="339"/>
                  <a:pt x="4233" y="340"/>
                </a:cubicBezTo>
                <a:cubicBezTo>
                  <a:pt x="4246" y="341"/>
                  <a:pt x="4321" y="339"/>
                  <a:pt x="4321" y="339"/>
                </a:cubicBezTo>
                <a:cubicBezTo>
                  <a:pt x="4328" y="325"/>
                  <a:pt x="4328" y="325"/>
                  <a:pt x="4328" y="325"/>
                </a:cubicBezTo>
                <a:cubicBezTo>
                  <a:pt x="4372" y="307"/>
                  <a:pt x="4372" y="307"/>
                  <a:pt x="4372" y="307"/>
                </a:cubicBezTo>
                <a:cubicBezTo>
                  <a:pt x="4361" y="303"/>
                  <a:pt x="4361" y="303"/>
                  <a:pt x="4361" y="303"/>
                </a:cubicBezTo>
                <a:cubicBezTo>
                  <a:pt x="4361" y="294"/>
                  <a:pt x="4361" y="294"/>
                  <a:pt x="4361" y="294"/>
                </a:cubicBezTo>
                <a:cubicBezTo>
                  <a:pt x="4361" y="294"/>
                  <a:pt x="4316" y="283"/>
                  <a:pt x="4300" y="283"/>
                </a:cubicBezTo>
                <a:cubicBezTo>
                  <a:pt x="4284" y="283"/>
                  <a:pt x="4163" y="307"/>
                  <a:pt x="4163" y="307"/>
                </a:cubicBezTo>
                <a:cubicBezTo>
                  <a:pt x="4163" y="307"/>
                  <a:pt x="4148" y="296"/>
                  <a:pt x="4140" y="295"/>
                </a:cubicBezTo>
                <a:cubicBezTo>
                  <a:pt x="4133" y="294"/>
                  <a:pt x="4103" y="307"/>
                  <a:pt x="4103" y="307"/>
                </a:cubicBezTo>
                <a:cubicBezTo>
                  <a:pt x="4090" y="293"/>
                  <a:pt x="4090" y="293"/>
                  <a:pt x="4090" y="293"/>
                </a:cubicBezTo>
                <a:cubicBezTo>
                  <a:pt x="4078" y="299"/>
                  <a:pt x="4078" y="299"/>
                  <a:pt x="4078" y="299"/>
                </a:cubicBezTo>
                <a:cubicBezTo>
                  <a:pt x="4056" y="295"/>
                  <a:pt x="4056" y="295"/>
                  <a:pt x="4056" y="295"/>
                </a:cubicBezTo>
                <a:cubicBezTo>
                  <a:pt x="4078" y="287"/>
                  <a:pt x="4078" y="287"/>
                  <a:pt x="4078" y="287"/>
                </a:cubicBezTo>
                <a:cubicBezTo>
                  <a:pt x="4065" y="281"/>
                  <a:pt x="4065" y="281"/>
                  <a:pt x="4065" y="281"/>
                </a:cubicBezTo>
                <a:cubicBezTo>
                  <a:pt x="4028" y="285"/>
                  <a:pt x="4028" y="285"/>
                  <a:pt x="4028" y="285"/>
                </a:cubicBezTo>
                <a:cubicBezTo>
                  <a:pt x="4052" y="278"/>
                  <a:pt x="4052" y="278"/>
                  <a:pt x="4052" y="278"/>
                </a:cubicBezTo>
                <a:cubicBezTo>
                  <a:pt x="4051" y="273"/>
                  <a:pt x="4051" y="273"/>
                  <a:pt x="4051" y="273"/>
                </a:cubicBezTo>
                <a:cubicBezTo>
                  <a:pt x="4097" y="272"/>
                  <a:pt x="4097" y="272"/>
                  <a:pt x="4097" y="272"/>
                </a:cubicBezTo>
                <a:cubicBezTo>
                  <a:pt x="4074" y="264"/>
                  <a:pt x="4074" y="264"/>
                  <a:pt x="4074" y="264"/>
                </a:cubicBezTo>
                <a:cubicBezTo>
                  <a:pt x="4058" y="264"/>
                  <a:pt x="4058" y="264"/>
                  <a:pt x="4058" y="264"/>
                </a:cubicBezTo>
                <a:cubicBezTo>
                  <a:pt x="4058" y="264"/>
                  <a:pt x="4070" y="254"/>
                  <a:pt x="4060" y="253"/>
                </a:cubicBezTo>
                <a:cubicBezTo>
                  <a:pt x="4052" y="252"/>
                  <a:pt x="4021" y="254"/>
                  <a:pt x="4005" y="257"/>
                </a:cubicBezTo>
                <a:cubicBezTo>
                  <a:pt x="4003" y="250"/>
                  <a:pt x="3974" y="239"/>
                  <a:pt x="3970" y="239"/>
                </a:cubicBezTo>
                <a:close/>
                <a:moveTo>
                  <a:pt x="4116" y="136"/>
                </a:moveTo>
                <a:cubicBezTo>
                  <a:pt x="4080" y="144"/>
                  <a:pt x="4080" y="144"/>
                  <a:pt x="4080" y="144"/>
                </a:cubicBezTo>
                <a:cubicBezTo>
                  <a:pt x="4105" y="155"/>
                  <a:pt x="4105" y="155"/>
                  <a:pt x="4105" y="155"/>
                </a:cubicBezTo>
                <a:cubicBezTo>
                  <a:pt x="4105" y="155"/>
                  <a:pt x="4091" y="159"/>
                  <a:pt x="4093" y="169"/>
                </a:cubicBezTo>
                <a:cubicBezTo>
                  <a:pt x="4095" y="178"/>
                  <a:pt x="4122" y="175"/>
                  <a:pt x="4122" y="175"/>
                </a:cubicBezTo>
                <a:cubicBezTo>
                  <a:pt x="4109" y="184"/>
                  <a:pt x="4109" y="184"/>
                  <a:pt x="4109" y="184"/>
                </a:cubicBezTo>
                <a:cubicBezTo>
                  <a:pt x="4109" y="184"/>
                  <a:pt x="4127" y="188"/>
                  <a:pt x="4141" y="197"/>
                </a:cubicBezTo>
                <a:cubicBezTo>
                  <a:pt x="4155" y="205"/>
                  <a:pt x="4180" y="185"/>
                  <a:pt x="4180" y="185"/>
                </a:cubicBezTo>
                <a:cubicBezTo>
                  <a:pt x="4196" y="177"/>
                  <a:pt x="4196" y="177"/>
                  <a:pt x="4196" y="177"/>
                </a:cubicBezTo>
                <a:cubicBezTo>
                  <a:pt x="4196" y="177"/>
                  <a:pt x="4201" y="183"/>
                  <a:pt x="4207" y="194"/>
                </a:cubicBezTo>
                <a:cubicBezTo>
                  <a:pt x="4214" y="204"/>
                  <a:pt x="4238" y="186"/>
                  <a:pt x="4247" y="184"/>
                </a:cubicBezTo>
                <a:cubicBezTo>
                  <a:pt x="4256" y="182"/>
                  <a:pt x="4269" y="168"/>
                  <a:pt x="4269" y="168"/>
                </a:cubicBezTo>
                <a:cubicBezTo>
                  <a:pt x="4277" y="177"/>
                  <a:pt x="4277" y="177"/>
                  <a:pt x="4277" y="177"/>
                </a:cubicBezTo>
                <a:cubicBezTo>
                  <a:pt x="4277" y="177"/>
                  <a:pt x="4290" y="164"/>
                  <a:pt x="4292" y="159"/>
                </a:cubicBezTo>
                <a:cubicBezTo>
                  <a:pt x="4294" y="154"/>
                  <a:pt x="4347" y="156"/>
                  <a:pt x="4359" y="156"/>
                </a:cubicBezTo>
                <a:cubicBezTo>
                  <a:pt x="4371" y="156"/>
                  <a:pt x="4368" y="142"/>
                  <a:pt x="4368" y="142"/>
                </a:cubicBezTo>
                <a:cubicBezTo>
                  <a:pt x="4326" y="141"/>
                  <a:pt x="4326" y="141"/>
                  <a:pt x="4326" y="141"/>
                </a:cubicBezTo>
                <a:cubicBezTo>
                  <a:pt x="4346" y="130"/>
                  <a:pt x="4346" y="130"/>
                  <a:pt x="4346" y="130"/>
                </a:cubicBezTo>
                <a:cubicBezTo>
                  <a:pt x="4346" y="130"/>
                  <a:pt x="4354" y="110"/>
                  <a:pt x="4349" y="103"/>
                </a:cubicBezTo>
                <a:cubicBezTo>
                  <a:pt x="4345" y="97"/>
                  <a:pt x="4311" y="115"/>
                  <a:pt x="4311" y="115"/>
                </a:cubicBezTo>
                <a:cubicBezTo>
                  <a:pt x="4308" y="98"/>
                  <a:pt x="4308" y="98"/>
                  <a:pt x="4308" y="98"/>
                </a:cubicBezTo>
                <a:cubicBezTo>
                  <a:pt x="4276" y="104"/>
                  <a:pt x="4276" y="104"/>
                  <a:pt x="4276" y="104"/>
                </a:cubicBezTo>
                <a:cubicBezTo>
                  <a:pt x="4276" y="104"/>
                  <a:pt x="4273" y="84"/>
                  <a:pt x="4263" y="73"/>
                </a:cubicBezTo>
                <a:cubicBezTo>
                  <a:pt x="4254" y="62"/>
                  <a:pt x="4212" y="85"/>
                  <a:pt x="4212" y="85"/>
                </a:cubicBezTo>
                <a:cubicBezTo>
                  <a:pt x="4160" y="88"/>
                  <a:pt x="4160" y="88"/>
                  <a:pt x="4160" y="88"/>
                </a:cubicBezTo>
                <a:cubicBezTo>
                  <a:pt x="4177" y="101"/>
                  <a:pt x="4177" y="101"/>
                  <a:pt x="4177" y="101"/>
                </a:cubicBezTo>
                <a:cubicBezTo>
                  <a:pt x="4177" y="101"/>
                  <a:pt x="4140" y="98"/>
                  <a:pt x="4127" y="102"/>
                </a:cubicBezTo>
                <a:cubicBezTo>
                  <a:pt x="4115" y="106"/>
                  <a:pt x="4135" y="119"/>
                  <a:pt x="4135" y="119"/>
                </a:cubicBezTo>
                <a:cubicBezTo>
                  <a:pt x="4135" y="119"/>
                  <a:pt x="4078" y="113"/>
                  <a:pt x="4074" y="127"/>
                </a:cubicBezTo>
                <a:cubicBezTo>
                  <a:pt x="4069" y="141"/>
                  <a:pt x="4116" y="136"/>
                  <a:pt x="4116" y="136"/>
                </a:cubicBezTo>
                <a:close/>
                <a:moveTo>
                  <a:pt x="4126" y="212"/>
                </a:moveTo>
                <a:cubicBezTo>
                  <a:pt x="4104" y="216"/>
                  <a:pt x="4104" y="226"/>
                  <a:pt x="4104" y="226"/>
                </a:cubicBezTo>
                <a:cubicBezTo>
                  <a:pt x="4122" y="229"/>
                  <a:pt x="4122" y="229"/>
                  <a:pt x="4122" y="229"/>
                </a:cubicBezTo>
                <a:cubicBezTo>
                  <a:pt x="4137" y="229"/>
                  <a:pt x="4149" y="208"/>
                  <a:pt x="4126" y="212"/>
                </a:cubicBezTo>
                <a:close/>
                <a:moveTo>
                  <a:pt x="3959" y="205"/>
                </a:moveTo>
                <a:cubicBezTo>
                  <a:pt x="3969" y="208"/>
                  <a:pt x="3972" y="218"/>
                  <a:pt x="3972" y="218"/>
                </a:cubicBezTo>
                <a:cubicBezTo>
                  <a:pt x="3972" y="218"/>
                  <a:pt x="4014" y="215"/>
                  <a:pt x="4034" y="214"/>
                </a:cubicBezTo>
                <a:cubicBezTo>
                  <a:pt x="4053" y="213"/>
                  <a:pt x="4010" y="202"/>
                  <a:pt x="4010" y="202"/>
                </a:cubicBezTo>
                <a:cubicBezTo>
                  <a:pt x="4010" y="202"/>
                  <a:pt x="4019" y="192"/>
                  <a:pt x="4029" y="190"/>
                </a:cubicBezTo>
                <a:cubicBezTo>
                  <a:pt x="4040" y="188"/>
                  <a:pt x="4000" y="175"/>
                  <a:pt x="3970" y="169"/>
                </a:cubicBezTo>
                <a:cubicBezTo>
                  <a:pt x="3970" y="169"/>
                  <a:pt x="3946" y="173"/>
                  <a:pt x="3942" y="177"/>
                </a:cubicBezTo>
                <a:cubicBezTo>
                  <a:pt x="3938" y="182"/>
                  <a:pt x="3950" y="203"/>
                  <a:pt x="3959" y="205"/>
                </a:cubicBezTo>
                <a:close/>
                <a:moveTo>
                  <a:pt x="3655" y="294"/>
                </a:moveTo>
                <a:cubicBezTo>
                  <a:pt x="3664" y="294"/>
                  <a:pt x="3708" y="301"/>
                  <a:pt x="3708" y="301"/>
                </a:cubicBezTo>
                <a:cubicBezTo>
                  <a:pt x="3708" y="301"/>
                  <a:pt x="3684" y="321"/>
                  <a:pt x="3699" y="321"/>
                </a:cubicBezTo>
                <a:cubicBezTo>
                  <a:pt x="3714" y="321"/>
                  <a:pt x="3752" y="321"/>
                  <a:pt x="3752" y="321"/>
                </a:cubicBezTo>
                <a:cubicBezTo>
                  <a:pt x="3766" y="321"/>
                  <a:pt x="3791" y="315"/>
                  <a:pt x="3787" y="307"/>
                </a:cubicBezTo>
                <a:cubicBezTo>
                  <a:pt x="3783" y="298"/>
                  <a:pt x="3823" y="295"/>
                  <a:pt x="3821" y="286"/>
                </a:cubicBezTo>
                <a:cubicBezTo>
                  <a:pt x="3820" y="278"/>
                  <a:pt x="3858" y="272"/>
                  <a:pt x="3844" y="260"/>
                </a:cubicBezTo>
                <a:cubicBezTo>
                  <a:pt x="3830" y="249"/>
                  <a:pt x="3811" y="257"/>
                  <a:pt x="3811" y="257"/>
                </a:cubicBezTo>
                <a:cubicBezTo>
                  <a:pt x="3811" y="257"/>
                  <a:pt x="3764" y="242"/>
                  <a:pt x="3761" y="251"/>
                </a:cubicBezTo>
                <a:cubicBezTo>
                  <a:pt x="3758" y="259"/>
                  <a:pt x="3758" y="280"/>
                  <a:pt x="3758" y="280"/>
                </a:cubicBezTo>
                <a:cubicBezTo>
                  <a:pt x="3758" y="280"/>
                  <a:pt x="3737" y="255"/>
                  <a:pt x="3726" y="264"/>
                </a:cubicBezTo>
                <a:cubicBezTo>
                  <a:pt x="3714" y="272"/>
                  <a:pt x="3704" y="296"/>
                  <a:pt x="3695" y="289"/>
                </a:cubicBezTo>
                <a:cubicBezTo>
                  <a:pt x="3687" y="283"/>
                  <a:pt x="3682" y="258"/>
                  <a:pt x="3673" y="256"/>
                </a:cubicBezTo>
                <a:cubicBezTo>
                  <a:pt x="3663" y="254"/>
                  <a:pt x="3637" y="256"/>
                  <a:pt x="3638" y="269"/>
                </a:cubicBezTo>
                <a:cubicBezTo>
                  <a:pt x="3639" y="282"/>
                  <a:pt x="3647" y="294"/>
                  <a:pt x="3655" y="294"/>
                </a:cubicBezTo>
                <a:close/>
                <a:moveTo>
                  <a:pt x="3789" y="168"/>
                </a:moveTo>
                <a:cubicBezTo>
                  <a:pt x="3789" y="168"/>
                  <a:pt x="3771" y="185"/>
                  <a:pt x="3785" y="186"/>
                </a:cubicBezTo>
                <a:cubicBezTo>
                  <a:pt x="3799" y="187"/>
                  <a:pt x="3831" y="188"/>
                  <a:pt x="3831" y="188"/>
                </a:cubicBezTo>
                <a:cubicBezTo>
                  <a:pt x="3831" y="188"/>
                  <a:pt x="3845" y="204"/>
                  <a:pt x="3862" y="204"/>
                </a:cubicBezTo>
                <a:cubicBezTo>
                  <a:pt x="3880" y="204"/>
                  <a:pt x="3893" y="190"/>
                  <a:pt x="3893" y="190"/>
                </a:cubicBezTo>
                <a:cubicBezTo>
                  <a:pt x="3884" y="182"/>
                  <a:pt x="3884" y="182"/>
                  <a:pt x="3884" y="182"/>
                </a:cubicBezTo>
                <a:cubicBezTo>
                  <a:pt x="3905" y="178"/>
                  <a:pt x="3905" y="178"/>
                  <a:pt x="3905" y="178"/>
                </a:cubicBezTo>
                <a:cubicBezTo>
                  <a:pt x="3875" y="156"/>
                  <a:pt x="3875" y="156"/>
                  <a:pt x="3875" y="156"/>
                </a:cubicBezTo>
                <a:cubicBezTo>
                  <a:pt x="3847" y="160"/>
                  <a:pt x="3847" y="160"/>
                  <a:pt x="3847" y="160"/>
                </a:cubicBezTo>
                <a:cubicBezTo>
                  <a:pt x="3837" y="145"/>
                  <a:pt x="3837" y="145"/>
                  <a:pt x="3837" y="145"/>
                </a:cubicBezTo>
                <a:cubicBezTo>
                  <a:pt x="3818" y="145"/>
                  <a:pt x="3818" y="145"/>
                  <a:pt x="3818" y="145"/>
                </a:cubicBezTo>
                <a:cubicBezTo>
                  <a:pt x="3796" y="145"/>
                  <a:pt x="3761" y="145"/>
                  <a:pt x="3760" y="157"/>
                </a:cubicBezTo>
                <a:cubicBezTo>
                  <a:pt x="3759" y="169"/>
                  <a:pt x="3789" y="168"/>
                  <a:pt x="3789" y="168"/>
                </a:cubicBezTo>
                <a:close/>
                <a:moveTo>
                  <a:pt x="3670" y="352"/>
                </a:moveTo>
                <a:cubicBezTo>
                  <a:pt x="3670" y="352"/>
                  <a:pt x="3609" y="354"/>
                  <a:pt x="3575" y="365"/>
                </a:cubicBezTo>
                <a:cubicBezTo>
                  <a:pt x="3542" y="376"/>
                  <a:pt x="3594" y="385"/>
                  <a:pt x="3583" y="398"/>
                </a:cubicBezTo>
                <a:cubicBezTo>
                  <a:pt x="3572" y="412"/>
                  <a:pt x="3550" y="377"/>
                  <a:pt x="3512" y="393"/>
                </a:cubicBezTo>
                <a:cubicBezTo>
                  <a:pt x="3524" y="418"/>
                  <a:pt x="3524" y="418"/>
                  <a:pt x="3524" y="418"/>
                </a:cubicBezTo>
                <a:cubicBezTo>
                  <a:pt x="3524" y="418"/>
                  <a:pt x="3530" y="428"/>
                  <a:pt x="3547" y="431"/>
                </a:cubicBezTo>
                <a:cubicBezTo>
                  <a:pt x="3565" y="434"/>
                  <a:pt x="3564" y="469"/>
                  <a:pt x="3564" y="469"/>
                </a:cubicBezTo>
                <a:cubicBezTo>
                  <a:pt x="3564" y="469"/>
                  <a:pt x="3634" y="460"/>
                  <a:pt x="3656" y="455"/>
                </a:cubicBezTo>
                <a:cubicBezTo>
                  <a:pt x="3678" y="449"/>
                  <a:pt x="3678" y="408"/>
                  <a:pt x="3678" y="408"/>
                </a:cubicBezTo>
                <a:cubicBezTo>
                  <a:pt x="3634" y="398"/>
                  <a:pt x="3634" y="398"/>
                  <a:pt x="3634" y="398"/>
                </a:cubicBezTo>
                <a:cubicBezTo>
                  <a:pt x="3634" y="398"/>
                  <a:pt x="3687" y="380"/>
                  <a:pt x="3714" y="371"/>
                </a:cubicBezTo>
                <a:cubicBezTo>
                  <a:pt x="3740" y="361"/>
                  <a:pt x="3670" y="352"/>
                  <a:pt x="3670" y="352"/>
                </a:cubicBezTo>
                <a:close/>
                <a:moveTo>
                  <a:pt x="3665" y="237"/>
                </a:moveTo>
                <a:cubicBezTo>
                  <a:pt x="3683" y="234"/>
                  <a:pt x="3684" y="206"/>
                  <a:pt x="3669" y="206"/>
                </a:cubicBezTo>
                <a:cubicBezTo>
                  <a:pt x="3655" y="206"/>
                  <a:pt x="3648" y="239"/>
                  <a:pt x="3665" y="237"/>
                </a:cubicBezTo>
                <a:close/>
                <a:moveTo>
                  <a:pt x="953" y="1088"/>
                </a:moveTo>
                <a:cubicBezTo>
                  <a:pt x="940" y="1097"/>
                  <a:pt x="916" y="1102"/>
                  <a:pt x="923" y="1109"/>
                </a:cubicBezTo>
                <a:cubicBezTo>
                  <a:pt x="934" y="1120"/>
                  <a:pt x="959" y="1108"/>
                  <a:pt x="959" y="1108"/>
                </a:cubicBezTo>
                <a:cubicBezTo>
                  <a:pt x="966" y="1099"/>
                  <a:pt x="966" y="1099"/>
                  <a:pt x="966" y="1099"/>
                </a:cubicBezTo>
                <a:cubicBezTo>
                  <a:pt x="966" y="1099"/>
                  <a:pt x="982" y="1103"/>
                  <a:pt x="979" y="1097"/>
                </a:cubicBezTo>
                <a:cubicBezTo>
                  <a:pt x="977" y="1091"/>
                  <a:pt x="967" y="1079"/>
                  <a:pt x="953" y="1088"/>
                </a:cubicBezTo>
                <a:close/>
                <a:moveTo>
                  <a:pt x="3669" y="3211"/>
                </a:moveTo>
                <a:cubicBezTo>
                  <a:pt x="3661" y="3211"/>
                  <a:pt x="3638" y="3202"/>
                  <a:pt x="3624" y="3202"/>
                </a:cubicBezTo>
                <a:cubicBezTo>
                  <a:pt x="3609" y="3202"/>
                  <a:pt x="3611" y="3234"/>
                  <a:pt x="3611" y="3234"/>
                </a:cubicBezTo>
                <a:cubicBezTo>
                  <a:pt x="3636" y="3242"/>
                  <a:pt x="3636" y="3242"/>
                  <a:pt x="3636" y="3242"/>
                </a:cubicBezTo>
                <a:cubicBezTo>
                  <a:pt x="3642" y="3236"/>
                  <a:pt x="3642" y="3236"/>
                  <a:pt x="3642" y="3236"/>
                </a:cubicBezTo>
                <a:cubicBezTo>
                  <a:pt x="3642" y="3236"/>
                  <a:pt x="3657" y="3238"/>
                  <a:pt x="3673" y="3236"/>
                </a:cubicBezTo>
                <a:cubicBezTo>
                  <a:pt x="3690" y="3234"/>
                  <a:pt x="3706" y="3219"/>
                  <a:pt x="3704" y="3212"/>
                </a:cubicBezTo>
                <a:cubicBezTo>
                  <a:pt x="3702" y="3204"/>
                  <a:pt x="3677" y="3212"/>
                  <a:pt x="3669" y="3211"/>
                </a:cubicBezTo>
                <a:close/>
                <a:moveTo>
                  <a:pt x="3547" y="3213"/>
                </a:moveTo>
                <a:cubicBezTo>
                  <a:pt x="3558" y="3207"/>
                  <a:pt x="3551" y="3192"/>
                  <a:pt x="3551" y="3192"/>
                </a:cubicBezTo>
                <a:cubicBezTo>
                  <a:pt x="3551" y="3192"/>
                  <a:pt x="3529" y="3173"/>
                  <a:pt x="3514" y="3167"/>
                </a:cubicBezTo>
                <a:cubicBezTo>
                  <a:pt x="3500" y="3162"/>
                  <a:pt x="3494" y="3160"/>
                  <a:pt x="3483" y="3156"/>
                </a:cubicBezTo>
                <a:cubicBezTo>
                  <a:pt x="3473" y="3152"/>
                  <a:pt x="3467" y="3133"/>
                  <a:pt x="3461" y="3129"/>
                </a:cubicBezTo>
                <a:cubicBezTo>
                  <a:pt x="3455" y="3126"/>
                  <a:pt x="3432" y="3124"/>
                  <a:pt x="3415" y="3124"/>
                </a:cubicBezTo>
                <a:cubicBezTo>
                  <a:pt x="3408" y="3124"/>
                  <a:pt x="3404" y="3126"/>
                  <a:pt x="3401" y="3128"/>
                </a:cubicBezTo>
                <a:cubicBezTo>
                  <a:pt x="3396" y="3131"/>
                  <a:pt x="3395" y="3135"/>
                  <a:pt x="3395" y="3135"/>
                </a:cubicBezTo>
                <a:cubicBezTo>
                  <a:pt x="3395" y="3135"/>
                  <a:pt x="3360" y="3123"/>
                  <a:pt x="3345" y="3123"/>
                </a:cubicBezTo>
                <a:cubicBezTo>
                  <a:pt x="3331" y="3123"/>
                  <a:pt x="3324" y="3125"/>
                  <a:pt x="3318" y="3133"/>
                </a:cubicBezTo>
                <a:cubicBezTo>
                  <a:pt x="3312" y="3140"/>
                  <a:pt x="3337" y="3140"/>
                  <a:pt x="3343" y="3140"/>
                </a:cubicBezTo>
                <a:cubicBezTo>
                  <a:pt x="3349" y="3140"/>
                  <a:pt x="3362" y="3154"/>
                  <a:pt x="3362" y="3154"/>
                </a:cubicBezTo>
                <a:cubicBezTo>
                  <a:pt x="3362" y="3154"/>
                  <a:pt x="3347" y="3157"/>
                  <a:pt x="3349" y="3172"/>
                </a:cubicBezTo>
                <a:cubicBezTo>
                  <a:pt x="3351" y="3188"/>
                  <a:pt x="3359" y="3193"/>
                  <a:pt x="3347" y="3193"/>
                </a:cubicBezTo>
                <a:cubicBezTo>
                  <a:pt x="3334" y="3193"/>
                  <a:pt x="3314" y="3186"/>
                  <a:pt x="3306" y="3187"/>
                </a:cubicBezTo>
                <a:cubicBezTo>
                  <a:pt x="3297" y="3189"/>
                  <a:pt x="3281" y="3185"/>
                  <a:pt x="3275" y="3195"/>
                </a:cubicBezTo>
                <a:cubicBezTo>
                  <a:pt x="3275" y="3195"/>
                  <a:pt x="3293" y="3221"/>
                  <a:pt x="3301" y="3225"/>
                </a:cubicBezTo>
                <a:cubicBezTo>
                  <a:pt x="3310" y="3229"/>
                  <a:pt x="3318" y="3210"/>
                  <a:pt x="3318" y="3210"/>
                </a:cubicBezTo>
                <a:cubicBezTo>
                  <a:pt x="3318" y="3210"/>
                  <a:pt x="3332" y="3212"/>
                  <a:pt x="3349" y="3212"/>
                </a:cubicBezTo>
                <a:cubicBezTo>
                  <a:pt x="3365" y="3212"/>
                  <a:pt x="3386" y="3208"/>
                  <a:pt x="3386" y="3208"/>
                </a:cubicBezTo>
                <a:cubicBezTo>
                  <a:pt x="3409" y="3235"/>
                  <a:pt x="3409" y="3235"/>
                  <a:pt x="3409" y="3235"/>
                </a:cubicBezTo>
                <a:cubicBezTo>
                  <a:pt x="3442" y="3211"/>
                  <a:pt x="3442" y="3211"/>
                  <a:pt x="3442" y="3211"/>
                </a:cubicBezTo>
                <a:cubicBezTo>
                  <a:pt x="3442" y="3211"/>
                  <a:pt x="3471" y="3211"/>
                  <a:pt x="3504" y="3213"/>
                </a:cubicBezTo>
                <a:cubicBezTo>
                  <a:pt x="3517" y="3214"/>
                  <a:pt x="3539" y="3217"/>
                  <a:pt x="3547" y="3213"/>
                </a:cubicBezTo>
                <a:close/>
                <a:moveTo>
                  <a:pt x="3233" y="3121"/>
                </a:moveTo>
                <a:cubicBezTo>
                  <a:pt x="3263" y="3113"/>
                  <a:pt x="3300" y="3106"/>
                  <a:pt x="3300" y="3106"/>
                </a:cubicBezTo>
                <a:cubicBezTo>
                  <a:pt x="3300" y="3106"/>
                  <a:pt x="3300" y="3096"/>
                  <a:pt x="3282" y="3094"/>
                </a:cubicBezTo>
                <a:cubicBezTo>
                  <a:pt x="3263" y="3091"/>
                  <a:pt x="3252" y="3091"/>
                  <a:pt x="3252" y="3091"/>
                </a:cubicBezTo>
                <a:cubicBezTo>
                  <a:pt x="3252" y="3091"/>
                  <a:pt x="3260" y="3074"/>
                  <a:pt x="3241" y="3072"/>
                </a:cubicBezTo>
                <a:cubicBezTo>
                  <a:pt x="3223" y="3069"/>
                  <a:pt x="3206" y="3071"/>
                  <a:pt x="3206" y="3071"/>
                </a:cubicBezTo>
                <a:cubicBezTo>
                  <a:pt x="3223" y="3057"/>
                  <a:pt x="3223" y="3057"/>
                  <a:pt x="3223" y="3057"/>
                </a:cubicBezTo>
                <a:cubicBezTo>
                  <a:pt x="3223" y="3057"/>
                  <a:pt x="3193" y="3049"/>
                  <a:pt x="3185" y="3049"/>
                </a:cubicBezTo>
                <a:cubicBezTo>
                  <a:pt x="3177" y="3049"/>
                  <a:pt x="3156" y="3039"/>
                  <a:pt x="3156" y="3039"/>
                </a:cubicBezTo>
                <a:cubicBezTo>
                  <a:pt x="3156" y="3039"/>
                  <a:pt x="3166" y="3022"/>
                  <a:pt x="3158" y="3022"/>
                </a:cubicBezTo>
                <a:cubicBezTo>
                  <a:pt x="3150" y="3022"/>
                  <a:pt x="3145" y="3020"/>
                  <a:pt x="3145" y="3020"/>
                </a:cubicBezTo>
                <a:cubicBezTo>
                  <a:pt x="3145" y="3020"/>
                  <a:pt x="3105" y="2980"/>
                  <a:pt x="3097" y="2988"/>
                </a:cubicBezTo>
                <a:cubicBezTo>
                  <a:pt x="3089" y="2995"/>
                  <a:pt x="3107" y="3007"/>
                  <a:pt x="3107" y="3007"/>
                </a:cubicBezTo>
                <a:cubicBezTo>
                  <a:pt x="3062" y="2985"/>
                  <a:pt x="3062" y="2985"/>
                  <a:pt x="3062" y="2985"/>
                </a:cubicBezTo>
                <a:cubicBezTo>
                  <a:pt x="3062" y="2985"/>
                  <a:pt x="3038" y="2960"/>
                  <a:pt x="3027" y="2955"/>
                </a:cubicBezTo>
                <a:cubicBezTo>
                  <a:pt x="3016" y="2950"/>
                  <a:pt x="2987" y="2955"/>
                  <a:pt x="2987" y="2955"/>
                </a:cubicBezTo>
                <a:cubicBezTo>
                  <a:pt x="2987" y="2955"/>
                  <a:pt x="2963" y="2943"/>
                  <a:pt x="2925" y="2943"/>
                </a:cubicBezTo>
                <a:cubicBezTo>
                  <a:pt x="2888" y="2943"/>
                  <a:pt x="2871" y="2955"/>
                  <a:pt x="2855" y="2969"/>
                </a:cubicBezTo>
                <a:cubicBezTo>
                  <a:pt x="2839" y="2984"/>
                  <a:pt x="2807" y="2994"/>
                  <a:pt x="2807" y="2994"/>
                </a:cubicBezTo>
                <a:cubicBezTo>
                  <a:pt x="2858" y="2992"/>
                  <a:pt x="2858" y="2992"/>
                  <a:pt x="2858" y="2992"/>
                </a:cubicBezTo>
                <a:cubicBezTo>
                  <a:pt x="2858" y="2982"/>
                  <a:pt x="2858" y="2982"/>
                  <a:pt x="2858" y="2982"/>
                </a:cubicBezTo>
                <a:cubicBezTo>
                  <a:pt x="2909" y="2979"/>
                  <a:pt x="2909" y="2979"/>
                  <a:pt x="2909" y="2979"/>
                </a:cubicBezTo>
                <a:cubicBezTo>
                  <a:pt x="2922" y="2972"/>
                  <a:pt x="2922" y="2972"/>
                  <a:pt x="2922" y="2972"/>
                </a:cubicBezTo>
                <a:cubicBezTo>
                  <a:pt x="2922" y="2972"/>
                  <a:pt x="2949" y="2970"/>
                  <a:pt x="2957" y="2977"/>
                </a:cubicBezTo>
                <a:cubicBezTo>
                  <a:pt x="2965" y="2985"/>
                  <a:pt x="2933" y="2989"/>
                  <a:pt x="2933" y="2989"/>
                </a:cubicBezTo>
                <a:cubicBezTo>
                  <a:pt x="2944" y="2997"/>
                  <a:pt x="2944" y="2997"/>
                  <a:pt x="2944" y="2997"/>
                </a:cubicBezTo>
                <a:cubicBezTo>
                  <a:pt x="2944" y="2997"/>
                  <a:pt x="2962" y="3004"/>
                  <a:pt x="2979" y="3009"/>
                </a:cubicBezTo>
                <a:cubicBezTo>
                  <a:pt x="2995" y="3014"/>
                  <a:pt x="2995" y="3004"/>
                  <a:pt x="2995" y="3004"/>
                </a:cubicBezTo>
                <a:cubicBezTo>
                  <a:pt x="2995" y="3004"/>
                  <a:pt x="3011" y="3017"/>
                  <a:pt x="3027" y="3024"/>
                </a:cubicBezTo>
                <a:cubicBezTo>
                  <a:pt x="3043" y="3032"/>
                  <a:pt x="3075" y="3022"/>
                  <a:pt x="3075" y="3022"/>
                </a:cubicBezTo>
                <a:cubicBezTo>
                  <a:pt x="3070" y="3039"/>
                  <a:pt x="3070" y="3039"/>
                  <a:pt x="3070" y="3039"/>
                </a:cubicBezTo>
                <a:cubicBezTo>
                  <a:pt x="3110" y="3056"/>
                  <a:pt x="3110" y="3056"/>
                  <a:pt x="3110" y="3056"/>
                </a:cubicBezTo>
                <a:cubicBezTo>
                  <a:pt x="3126" y="3079"/>
                  <a:pt x="3126" y="3079"/>
                  <a:pt x="3126" y="3079"/>
                </a:cubicBezTo>
                <a:cubicBezTo>
                  <a:pt x="3126" y="3079"/>
                  <a:pt x="3142" y="3086"/>
                  <a:pt x="3142" y="3093"/>
                </a:cubicBezTo>
                <a:cubicBezTo>
                  <a:pt x="3142" y="3101"/>
                  <a:pt x="3115" y="3108"/>
                  <a:pt x="3123" y="3115"/>
                </a:cubicBezTo>
                <a:cubicBezTo>
                  <a:pt x="3131" y="3123"/>
                  <a:pt x="3155" y="3106"/>
                  <a:pt x="3163" y="3106"/>
                </a:cubicBezTo>
                <a:cubicBezTo>
                  <a:pt x="3171" y="3106"/>
                  <a:pt x="3188" y="3108"/>
                  <a:pt x="3174" y="3111"/>
                </a:cubicBezTo>
                <a:cubicBezTo>
                  <a:pt x="3161" y="3113"/>
                  <a:pt x="3182" y="3123"/>
                  <a:pt x="3182" y="3123"/>
                </a:cubicBezTo>
                <a:cubicBezTo>
                  <a:pt x="3182" y="3123"/>
                  <a:pt x="3204" y="3128"/>
                  <a:pt x="3233" y="3121"/>
                </a:cubicBezTo>
                <a:close/>
                <a:moveTo>
                  <a:pt x="4442" y="898"/>
                </a:moveTo>
                <a:cubicBezTo>
                  <a:pt x="4465" y="895"/>
                  <a:pt x="4465" y="895"/>
                  <a:pt x="4465" y="895"/>
                </a:cubicBezTo>
                <a:cubicBezTo>
                  <a:pt x="4465" y="885"/>
                  <a:pt x="4465" y="885"/>
                  <a:pt x="4465" y="885"/>
                </a:cubicBezTo>
                <a:cubicBezTo>
                  <a:pt x="4445" y="889"/>
                  <a:pt x="4445" y="889"/>
                  <a:pt x="4445" y="889"/>
                </a:cubicBezTo>
                <a:lnTo>
                  <a:pt x="4442" y="898"/>
                </a:lnTo>
                <a:close/>
                <a:moveTo>
                  <a:pt x="3163" y="3208"/>
                </a:moveTo>
                <a:cubicBezTo>
                  <a:pt x="3153" y="3208"/>
                  <a:pt x="3136" y="3206"/>
                  <a:pt x="3126" y="3205"/>
                </a:cubicBezTo>
                <a:cubicBezTo>
                  <a:pt x="3115" y="3203"/>
                  <a:pt x="3105" y="3199"/>
                  <a:pt x="3097" y="3203"/>
                </a:cubicBezTo>
                <a:cubicBezTo>
                  <a:pt x="3089" y="3206"/>
                  <a:pt x="3078" y="3208"/>
                  <a:pt x="3078" y="3208"/>
                </a:cubicBezTo>
                <a:cubicBezTo>
                  <a:pt x="3078" y="3208"/>
                  <a:pt x="3086" y="3219"/>
                  <a:pt x="3095" y="3225"/>
                </a:cubicBezTo>
                <a:cubicBezTo>
                  <a:pt x="3103" y="3231"/>
                  <a:pt x="3121" y="3231"/>
                  <a:pt x="3121" y="3231"/>
                </a:cubicBezTo>
                <a:cubicBezTo>
                  <a:pt x="3132" y="3237"/>
                  <a:pt x="3132" y="3237"/>
                  <a:pt x="3132" y="3237"/>
                </a:cubicBezTo>
                <a:cubicBezTo>
                  <a:pt x="3150" y="3241"/>
                  <a:pt x="3150" y="3241"/>
                  <a:pt x="3150" y="3241"/>
                </a:cubicBezTo>
                <a:cubicBezTo>
                  <a:pt x="3157" y="3227"/>
                  <a:pt x="3157" y="3227"/>
                  <a:pt x="3157" y="3227"/>
                </a:cubicBezTo>
                <a:cubicBezTo>
                  <a:pt x="3186" y="3233"/>
                  <a:pt x="3186" y="3233"/>
                  <a:pt x="3186" y="3233"/>
                </a:cubicBezTo>
                <a:cubicBezTo>
                  <a:pt x="3186" y="3233"/>
                  <a:pt x="3173" y="3208"/>
                  <a:pt x="3163" y="3208"/>
                </a:cubicBezTo>
                <a:close/>
                <a:moveTo>
                  <a:pt x="4275" y="1715"/>
                </a:moveTo>
                <a:cubicBezTo>
                  <a:pt x="4262" y="1712"/>
                  <a:pt x="4248" y="1719"/>
                  <a:pt x="4243" y="1722"/>
                </a:cubicBezTo>
                <a:cubicBezTo>
                  <a:pt x="4247" y="1719"/>
                  <a:pt x="4256" y="1713"/>
                  <a:pt x="4265" y="1703"/>
                </a:cubicBezTo>
                <a:cubicBezTo>
                  <a:pt x="4277" y="1690"/>
                  <a:pt x="4246" y="1689"/>
                  <a:pt x="4232" y="1705"/>
                </a:cubicBezTo>
                <a:cubicBezTo>
                  <a:pt x="4226" y="1719"/>
                  <a:pt x="4226" y="1719"/>
                  <a:pt x="4226" y="1719"/>
                </a:cubicBezTo>
                <a:cubicBezTo>
                  <a:pt x="4218" y="1733"/>
                  <a:pt x="4218" y="1733"/>
                  <a:pt x="4218" y="1733"/>
                </a:cubicBezTo>
                <a:cubicBezTo>
                  <a:pt x="4255" y="1728"/>
                  <a:pt x="4255" y="1728"/>
                  <a:pt x="4255" y="1728"/>
                </a:cubicBezTo>
                <a:cubicBezTo>
                  <a:pt x="4255" y="1728"/>
                  <a:pt x="4292" y="1719"/>
                  <a:pt x="4275" y="1715"/>
                </a:cubicBezTo>
                <a:close/>
                <a:moveTo>
                  <a:pt x="4135" y="1704"/>
                </a:moveTo>
                <a:cubicBezTo>
                  <a:pt x="4115" y="1700"/>
                  <a:pt x="4104" y="1691"/>
                  <a:pt x="4104" y="1691"/>
                </a:cubicBezTo>
                <a:cubicBezTo>
                  <a:pt x="4094" y="1700"/>
                  <a:pt x="4094" y="1700"/>
                  <a:pt x="4094" y="1700"/>
                </a:cubicBezTo>
                <a:cubicBezTo>
                  <a:pt x="4094" y="1700"/>
                  <a:pt x="4111" y="1709"/>
                  <a:pt x="4115" y="1712"/>
                </a:cubicBezTo>
                <a:cubicBezTo>
                  <a:pt x="4119" y="1715"/>
                  <a:pt x="4138" y="1714"/>
                  <a:pt x="4138" y="1714"/>
                </a:cubicBezTo>
                <a:cubicBezTo>
                  <a:pt x="4138" y="1714"/>
                  <a:pt x="4148" y="1719"/>
                  <a:pt x="4158" y="1718"/>
                </a:cubicBezTo>
                <a:cubicBezTo>
                  <a:pt x="4169" y="1717"/>
                  <a:pt x="4173" y="1706"/>
                  <a:pt x="4173" y="1706"/>
                </a:cubicBezTo>
                <a:cubicBezTo>
                  <a:pt x="4173" y="1706"/>
                  <a:pt x="4156" y="1708"/>
                  <a:pt x="4135" y="1704"/>
                </a:cubicBezTo>
                <a:close/>
                <a:moveTo>
                  <a:pt x="3872" y="725"/>
                </a:moveTo>
                <a:cubicBezTo>
                  <a:pt x="3856" y="723"/>
                  <a:pt x="3867" y="740"/>
                  <a:pt x="3867" y="740"/>
                </a:cubicBezTo>
                <a:cubicBezTo>
                  <a:pt x="3878" y="739"/>
                  <a:pt x="3887" y="726"/>
                  <a:pt x="3872" y="725"/>
                </a:cubicBezTo>
                <a:close/>
                <a:moveTo>
                  <a:pt x="3559" y="1373"/>
                </a:moveTo>
                <a:cubicBezTo>
                  <a:pt x="3587" y="1369"/>
                  <a:pt x="3552" y="1355"/>
                  <a:pt x="3552" y="1355"/>
                </a:cubicBezTo>
                <a:cubicBezTo>
                  <a:pt x="3508" y="1364"/>
                  <a:pt x="3530" y="1376"/>
                  <a:pt x="3559" y="1373"/>
                </a:cubicBezTo>
                <a:close/>
                <a:moveTo>
                  <a:pt x="4213" y="1537"/>
                </a:moveTo>
                <a:cubicBezTo>
                  <a:pt x="4213" y="1537"/>
                  <a:pt x="4180" y="1529"/>
                  <a:pt x="4153" y="1528"/>
                </a:cubicBezTo>
                <a:cubicBezTo>
                  <a:pt x="4126" y="1527"/>
                  <a:pt x="4168" y="1539"/>
                  <a:pt x="4168" y="1539"/>
                </a:cubicBezTo>
                <a:cubicBezTo>
                  <a:pt x="4168" y="1549"/>
                  <a:pt x="4168" y="1549"/>
                  <a:pt x="4168" y="1549"/>
                </a:cubicBezTo>
                <a:cubicBezTo>
                  <a:pt x="4168" y="1549"/>
                  <a:pt x="4201" y="1554"/>
                  <a:pt x="4230" y="1559"/>
                </a:cubicBezTo>
                <a:cubicBezTo>
                  <a:pt x="4259" y="1564"/>
                  <a:pt x="4286" y="1553"/>
                  <a:pt x="4213" y="1537"/>
                </a:cubicBezTo>
                <a:close/>
                <a:moveTo>
                  <a:pt x="3490" y="390"/>
                </a:moveTo>
                <a:cubicBezTo>
                  <a:pt x="3470" y="374"/>
                  <a:pt x="3470" y="374"/>
                  <a:pt x="3470" y="374"/>
                </a:cubicBezTo>
                <a:cubicBezTo>
                  <a:pt x="3451" y="376"/>
                  <a:pt x="3451" y="376"/>
                  <a:pt x="3451" y="376"/>
                </a:cubicBezTo>
                <a:cubicBezTo>
                  <a:pt x="3451" y="376"/>
                  <a:pt x="3439" y="361"/>
                  <a:pt x="3414" y="370"/>
                </a:cubicBezTo>
                <a:cubicBezTo>
                  <a:pt x="3388" y="378"/>
                  <a:pt x="3446" y="402"/>
                  <a:pt x="3446" y="402"/>
                </a:cubicBezTo>
                <a:lnTo>
                  <a:pt x="3490" y="390"/>
                </a:lnTo>
                <a:close/>
                <a:moveTo>
                  <a:pt x="3120" y="293"/>
                </a:moveTo>
                <a:cubicBezTo>
                  <a:pt x="3080" y="303"/>
                  <a:pt x="3108" y="308"/>
                  <a:pt x="3108" y="308"/>
                </a:cubicBezTo>
                <a:cubicBezTo>
                  <a:pt x="3165" y="294"/>
                  <a:pt x="3161" y="282"/>
                  <a:pt x="3120" y="293"/>
                </a:cubicBezTo>
                <a:close/>
                <a:moveTo>
                  <a:pt x="3391" y="603"/>
                </a:moveTo>
                <a:cubicBezTo>
                  <a:pt x="3423" y="604"/>
                  <a:pt x="3429" y="586"/>
                  <a:pt x="3407" y="587"/>
                </a:cubicBezTo>
                <a:cubicBezTo>
                  <a:pt x="3385" y="587"/>
                  <a:pt x="3391" y="603"/>
                  <a:pt x="3391" y="603"/>
                </a:cubicBezTo>
                <a:close/>
                <a:moveTo>
                  <a:pt x="2885" y="3027"/>
                </a:moveTo>
                <a:cubicBezTo>
                  <a:pt x="2882" y="3040"/>
                  <a:pt x="2909" y="3042"/>
                  <a:pt x="2911" y="3027"/>
                </a:cubicBezTo>
                <a:cubicBezTo>
                  <a:pt x="2914" y="3013"/>
                  <a:pt x="2885" y="3027"/>
                  <a:pt x="2885" y="3027"/>
                </a:cubicBezTo>
                <a:close/>
                <a:moveTo>
                  <a:pt x="4683" y="701"/>
                </a:moveTo>
                <a:cubicBezTo>
                  <a:pt x="4698" y="685"/>
                  <a:pt x="4659" y="674"/>
                  <a:pt x="4654" y="678"/>
                </a:cubicBezTo>
                <a:cubicBezTo>
                  <a:pt x="4649" y="682"/>
                  <a:pt x="4637" y="673"/>
                  <a:pt x="4637" y="673"/>
                </a:cubicBezTo>
                <a:cubicBezTo>
                  <a:pt x="4615" y="686"/>
                  <a:pt x="4615" y="686"/>
                  <a:pt x="4615" y="686"/>
                </a:cubicBezTo>
                <a:cubicBezTo>
                  <a:pt x="4617" y="669"/>
                  <a:pt x="4617" y="669"/>
                  <a:pt x="4617" y="669"/>
                </a:cubicBezTo>
                <a:cubicBezTo>
                  <a:pt x="4589" y="669"/>
                  <a:pt x="4589" y="669"/>
                  <a:pt x="4589" y="669"/>
                </a:cubicBezTo>
                <a:cubicBezTo>
                  <a:pt x="4589" y="669"/>
                  <a:pt x="4621" y="659"/>
                  <a:pt x="4615" y="649"/>
                </a:cubicBezTo>
                <a:cubicBezTo>
                  <a:pt x="4610" y="638"/>
                  <a:pt x="4561" y="637"/>
                  <a:pt x="4561" y="637"/>
                </a:cubicBezTo>
                <a:cubicBezTo>
                  <a:pt x="4555" y="626"/>
                  <a:pt x="4555" y="626"/>
                  <a:pt x="4555" y="626"/>
                </a:cubicBezTo>
                <a:cubicBezTo>
                  <a:pt x="4523" y="625"/>
                  <a:pt x="4523" y="625"/>
                  <a:pt x="4523" y="625"/>
                </a:cubicBezTo>
                <a:cubicBezTo>
                  <a:pt x="4479" y="594"/>
                  <a:pt x="4479" y="594"/>
                  <a:pt x="4479" y="594"/>
                </a:cubicBezTo>
                <a:cubicBezTo>
                  <a:pt x="4526" y="591"/>
                  <a:pt x="4526" y="591"/>
                  <a:pt x="4526" y="591"/>
                </a:cubicBezTo>
                <a:cubicBezTo>
                  <a:pt x="4506" y="577"/>
                  <a:pt x="4506" y="577"/>
                  <a:pt x="4506" y="577"/>
                </a:cubicBezTo>
                <a:cubicBezTo>
                  <a:pt x="4506" y="577"/>
                  <a:pt x="4519" y="573"/>
                  <a:pt x="4523" y="573"/>
                </a:cubicBezTo>
                <a:cubicBezTo>
                  <a:pt x="4527" y="573"/>
                  <a:pt x="4579" y="585"/>
                  <a:pt x="4573" y="571"/>
                </a:cubicBezTo>
                <a:cubicBezTo>
                  <a:pt x="4566" y="558"/>
                  <a:pt x="4511" y="561"/>
                  <a:pt x="4511" y="561"/>
                </a:cubicBezTo>
                <a:cubicBezTo>
                  <a:pt x="4493" y="559"/>
                  <a:pt x="4493" y="559"/>
                  <a:pt x="4493" y="559"/>
                </a:cubicBezTo>
                <a:cubicBezTo>
                  <a:pt x="4493" y="559"/>
                  <a:pt x="4570" y="557"/>
                  <a:pt x="4573" y="547"/>
                </a:cubicBezTo>
                <a:cubicBezTo>
                  <a:pt x="4575" y="538"/>
                  <a:pt x="4551" y="538"/>
                  <a:pt x="4551" y="538"/>
                </a:cubicBezTo>
                <a:cubicBezTo>
                  <a:pt x="4482" y="549"/>
                  <a:pt x="4482" y="549"/>
                  <a:pt x="4482" y="549"/>
                </a:cubicBezTo>
                <a:cubicBezTo>
                  <a:pt x="4522" y="525"/>
                  <a:pt x="4522" y="525"/>
                  <a:pt x="4522" y="525"/>
                </a:cubicBezTo>
                <a:cubicBezTo>
                  <a:pt x="4522" y="525"/>
                  <a:pt x="4575" y="531"/>
                  <a:pt x="4559" y="517"/>
                </a:cubicBezTo>
                <a:cubicBezTo>
                  <a:pt x="4543" y="502"/>
                  <a:pt x="4517" y="502"/>
                  <a:pt x="4517" y="502"/>
                </a:cubicBezTo>
                <a:cubicBezTo>
                  <a:pt x="4491" y="517"/>
                  <a:pt x="4491" y="517"/>
                  <a:pt x="4491" y="517"/>
                </a:cubicBezTo>
                <a:cubicBezTo>
                  <a:pt x="4481" y="513"/>
                  <a:pt x="4481" y="513"/>
                  <a:pt x="4481" y="513"/>
                </a:cubicBezTo>
                <a:cubicBezTo>
                  <a:pt x="4453" y="533"/>
                  <a:pt x="4453" y="533"/>
                  <a:pt x="4453" y="533"/>
                </a:cubicBezTo>
                <a:cubicBezTo>
                  <a:pt x="4455" y="518"/>
                  <a:pt x="4455" y="518"/>
                  <a:pt x="4455" y="518"/>
                </a:cubicBezTo>
                <a:cubicBezTo>
                  <a:pt x="4441" y="530"/>
                  <a:pt x="4441" y="530"/>
                  <a:pt x="4441" y="530"/>
                </a:cubicBezTo>
                <a:cubicBezTo>
                  <a:pt x="4455" y="510"/>
                  <a:pt x="4455" y="510"/>
                  <a:pt x="4455" y="510"/>
                </a:cubicBezTo>
                <a:cubicBezTo>
                  <a:pt x="4455" y="510"/>
                  <a:pt x="4475" y="515"/>
                  <a:pt x="4485" y="506"/>
                </a:cubicBezTo>
                <a:cubicBezTo>
                  <a:pt x="4494" y="497"/>
                  <a:pt x="4494" y="483"/>
                  <a:pt x="4487" y="485"/>
                </a:cubicBezTo>
                <a:cubicBezTo>
                  <a:pt x="4481" y="486"/>
                  <a:pt x="4473" y="498"/>
                  <a:pt x="4473" y="498"/>
                </a:cubicBezTo>
                <a:cubicBezTo>
                  <a:pt x="4449" y="499"/>
                  <a:pt x="4449" y="499"/>
                  <a:pt x="4449" y="499"/>
                </a:cubicBezTo>
                <a:cubicBezTo>
                  <a:pt x="4434" y="506"/>
                  <a:pt x="4434" y="506"/>
                  <a:pt x="4434" y="506"/>
                </a:cubicBezTo>
                <a:cubicBezTo>
                  <a:pt x="4450" y="487"/>
                  <a:pt x="4450" y="487"/>
                  <a:pt x="4450" y="487"/>
                </a:cubicBezTo>
                <a:cubicBezTo>
                  <a:pt x="4470" y="487"/>
                  <a:pt x="4470" y="487"/>
                  <a:pt x="4470" y="487"/>
                </a:cubicBezTo>
                <a:cubicBezTo>
                  <a:pt x="4470" y="487"/>
                  <a:pt x="4494" y="478"/>
                  <a:pt x="4481" y="470"/>
                </a:cubicBezTo>
                <a:cubicBezTo>
                  <a:pt x="4467" y="462"/>
                  <a:pt x="4423" y="482"/>
                  <a:pt x="4423" y="482"/>
                </a:cubicBezTo>
                <a:cubicBezTo>
                  <a:pt x="4415" y="473"/>
                  <a:pt x="4415" y="473"/>
                  <a:pt x="4415" y="473"/>
                </a:cubicBezTo>
                <a:cubicBezTo>
                  <a:pt x="4399" y="485"/>
                  <a:pt x="4399" y="485"/>
                  <a:pt x="4399" y="485"/>
                </a:cubicBezTo>
                <a:cubicBezTo>
                  <a:pt x="4414" y="465"/>
                  <a:pt x="4414" y="465"/>
                  <a:pt x="4414" y="465"/>
                </a:cubicBezTo>
                <a:cubicBezTo>
                  <a:pt x="4377" y="478"/>
                  <a:pt x="4377" y="478"/>
                  <a:pt x="4377" y="478"/>
                </a:cubicBezTo>
                <a:cubicBezTo>
                  <a:pt x="4377" y="463"/>
                  <a:pt x="4377" y="463"/>
                  <a:pt x="4377" y="463"/>
                </a:cubicBezTo>
                <a:cubicBezTo>
                  <a:pt x="4377" y="463"/>
                  <a:pt x="4413" y="454"/>
                  <a:pt x="4413" y="450"/>
                </a:cubicBezTo>
                <a:cubicBezTo>
                  <a:pt x="4413" y="446"/>
                  <a:pt x="4363" y="455"/>
                  <a:pt x="4363" y="455"/>
                </a:cubicBezTo>
                <a:cubicBezTo>
                  <a:pt x="4362" y="447"/>
                  <a:pt x="4362" y="447"/>
                  <a:pt x="4362" y="447"/>
                </a:cubicBezTo>
                <a:cubicBezTo>
                  <a:pt x="4362" y="447"/>
                  <a:pt x="4410" y="437"/>
                  <a:pt x="4405" y="430"/>
                </a:cubicBezTo>
                <a:cubicBezTo>
                  <a:pt x="4399" y="423"/>
                  <a:pt x="4334" y="422"/>
                  <a:pt x="4326" y="419"/>
                </a:cubicBezTo>
                <a:cubicBezTo>
                  <a:pt x="4318" y="417"/>
                  <a:pt x="4302" y="419"/>
                  <a:pt x="4301" y="423"/>
                </a:cubicBezTo>
                <a:cubicBezTo>
                  <a:pt x="4299" y="427"/>
                  <a:pt x="4310" y="441"/>
                  <a:pt x="4310" y="441"/>
                </a:cubicBezTo>
                <a:cubicBezTo>
                  <a:pt x="4286" y="437"/>
                  <a:pt x="4286" y="437"/>
                  <a:pt x="4286" y="437"/>
                </a:cubicBezTo>
                <a:cubicBezTo>
                  <a:pt x="4289" y="455"/>
                  <a:pt x="4289" y="455"/>
                  <a:pt x="4289" y="455"/>
                </a:cubicBezTo>
                <a:cubicBezTo>
                  <a:pt x="4275" y="438"/>
                  <a:pt x="4275" y="438"/>
                  <a:pt x="4275" y="438"/>
                </a:cubicBezTo>
                <a:cubicBezTo>
                  <a:pt x="4250" y="454"/>
                  <a:pt x="4250" y="454"/>
                  <a:pt x="4250" y="454"/>
                </a:cubicBezTo>
                <a:cubicBezTo>
                  <a:pt x="4250" y="454"/>
                  <a:pt x="4255" y="439"/>
                  <a:pt x="4250" y="435"/>
                </a:cubicBezTo>
                <a:cubicBezTo>
                  <a:pt x="4245" y="431"/>
                  <a:pt x="4197" y="451"/>
                  <a:pt x="4197" y="451"/>
                </a:cubicBezTo>
                <a:cubicBezTo>
                  <a:pt x="4209" y="426"/>
                  <a:pt x="4209" y="426"/>
                  <a:pt x="4209" y="426"/>
                </a:cubicBezTo>
                <a:cubicBezTo>
                  <a:pt x="4209" y="426"/>
                  <a:pt x="4249" y="425"/>
                  <a:pt x="4249" y="415"/>
                </a:cubicBezTo>
                <a:cubicBezTo>
                  <a:pt x="4249" y="406"/>
                  <a:pt x="4235" y="394"/>
                  <a:pt x="4235" y="394"/>
                </a:cubicBezTo>
                <a:cubicBezTo>
                  <a:pt x="4235" y="394"/>
                  <a:pt x="4259" y="377"/>
                  <a:pt x="4243" y="374"/>
                </a:cubicBezTo>
                <a:cubicBezTo>
                  <a:pt x="4227" y="371"/>
                  <a:pt x="4181" y="375"/>
                  <a:pt x="4181" y="375"/>
                </a:cubicBezTo>
                <a:cubicBezTo>
                  <a:pt x="4166" y="386"/>
                  <a:pt x="4166" y="386"/>
                  <a:pt x="4166" y="386"/>
                </a:cubicBezTo>
                <a:cubicBezTo>
                  <a:pt x="4107" y="387"/>
                  <a:pt x="4107" y="387"/>
                  <a:pt x="4107" y="387"/>
                </a:cubicBezTo>
                <a:cubicBezTo>
                  <a:pt x="4114" y="398"/>
                  <a:pt x="4114" y="398"/>
                  <a:pt x="4114" y="398"/>
                </a:cubicBezTo>
                <a:cubicBezTo>
                  <a:pt x="4134" y="406"/>
                  <a:pt x="4134" y="406"/>
                  <a:pt x="4134" y="406"/>
                </a:cubicBezTo>
                <a:cubicBezTo>
                  <a:pt x="4105" y="398"/>
                  <a:pt x="4105" y="398"/>
                  <a:pt x="4105" y="398"/>
                </a:cubicBezTo>
                <a:cubicBezTo>
                  <a:pt x="4111" y="414"/>
                  <a:pt x="4111" y="414"/>
                  <a:pt x="4111" y="414"/>
                </a:cubicBezTo>
                <a:cubicBezTo>
                  <a:pt x="4111" y="414"/>
                  <a:pt x="4079" y="401"/>
                  <a:pt x="4070" y="413"/>
                </a:cubicBezTo>
                <a:cubicBezTo>
                  <a:pt x="4061" y="425"/>
                  <a:pt x="4078" y="437"/>
                  <a:pt x="4078" y="437"/>
                </a:cubicBezTo>
                <a:cubicBezTo>
                  <a:pt x="4081" y="454"/>
                  <a:pt x="4081" y="454"/>
                  <a:pt x="4081" y="454"/>
                </a:cubicBezTo>
                <a:cubicBezTo>
                  <a:pt x="4081" y="454"/>
                  <a:pt x="4061" y="442"/>
                  <a:pt x="4050" y="445"/>
                </a:cubicBezTo>
                <a:cubicBezTo>
                  <a:pt x="4039" y="447"/>
                  <a:pt x="4025" y="466"/>
                  <a:pt x="4037" y="467"/>
                </a:cubicBezTo>
                <a:cubicBezTo>
                  <a:pt x="4049" y="469"/>
                  <a:pt x="4053" y="475"/>
                  <a:pt x="4053" y="475"/>
                </a:cubicBezTo>
                <a:cubicBezTo>
                  <a:pt x="4022" y="490"/>
                  <a:pt x="4022" y="490"/>
                  <a:pt x="4022" y="490"/>
                </a:cubicBezTo>
                <a:cubicBezTo>
                  <a:pt x="3982" y="494"/>
                  <a:pt x="3982" y="494"/>
                  <a:pt x="3982" y="494"/>
                </a:cubicBezTo>
                <a:cubicBezTo>
                  <a:pt x="3982" y="494"/>
                  <a:pt x="4021" y="486"/>
                  <a:pt x="4021" y="477"/>
                </a:cubicBezTo>
                <a:cubicBezTo>
                  <a:pt x="4021" y="467"/>
                  <a:pt x="3997" y="466"/>
                  <a:pt x="4007" y="453"/>
                </a:cubicBezTo>
                <a:cubicBezTo>
                  <a:pt x="4018" y="439"/>
                  <a:pt x="4031" y="438"/>
                  <a:pt x="4031" y="438"/>
                </a:cubicBezTo>
                <a:cubicBezTo>
                  <a:pt x="4031" y="419"/>
                  <a:pt x="4031" y="419"/>
                  <a:pt x="4031" y="419"/>
                </a:cubicBezTo>
                <a:cubicBezTo>
                  <a:pt x="4031" y="419"/>
                  <a:pt x="4066" y="397"/>
                  <a:pt x="4078" y="391"/>
                </a:cubicBezTo>
                <a:cubicBezTo>
                  <a:pt x="4090" y="386"/>
                  <a:pt x="4135" y="379"/>
                  <a:pt x="4127" y="375"/>
                </a:cubicBezTo>
                <a:cubicBezTo>
                  <a:pt x="4119" y="371"/>
                  <a:pt x="4073" y="370"/>
                  <a:pt x="4047" y="371"/>
                </a:cubicBezTo>
                <a:cubicBezTo>
                  <a:pt x="4022" y="373"/>
                  <a:pt x="3954" y="414"/>
                  <a:pt x="3954" y="414"/>
                </a:cubicBezTo>
                <a:cubicBezTo>
                  <a:pt x="3954" y="414"/>
                  <a:pt x="3925" y="427"/>
                  <a:pt x="3915" y="429"/>
                </a:cubicBezTo>
                <a:cubicBezTo>
                  <a:pt x="3906" y="430"/>
                  <a:pt x="3902" y="441"/>
                  <a:pt x="3902" y="441"/>
                </a:cubicBezTo>
                <a:cubicBezTo>
                  <a:pt x="3902" y="441"/>
                  <a:pt x="3855" y="467"/>
                  <a:pt x="3873" y="474"/>
                </a:cubicBezTo>
                <a:cubicBezTo>
                  <a:pt x="3890" y="481"/>
                  <a:pt x="3942" y="477"/>
                  <a:pt x="3935" y="486"/>
                </a:cubicBezTo>
                <a:cubicBezTo>
                  <a:pt x="3929" y="495"/>
                  <a:pt x="3842" y="494"/>
                  <a:pt x="3863" y="509"/>
                </a:cubicBezTo>
                <a:cubicBezTo>
                  <a:pt x="3885" y="523"/>
                  <a:pt x="3911" y="526"/>
                  <a:pt x="3911" y="526"/>
                </a:cubicBezTo>
                <a:cubicBezTo>
                  <a:pt x="3942" y="514"/>
                  <a:pt x="3942" y="514"/>
                  <a:pt x="3942" y="514"/>
                </a:cubicBezTo>
                <a:cubicBezTo>
                  <a:pt x="3942" y="514"/>
                  <a:pt x="3933" y="530"/>
                  <a:pt x="3955" y="530"/>
                </a:cubicBezTo>
                <a:cubicBezTo>
                  <a:pt x="3978" y="530"/>
                  <a:pt x="4066" y="549"/>
                  <a:pt x="4077" y="543"/>
                </a:cubicBezTo>
                <a:cubicBezTo>
                  <a:pt x="4087" y="538"/>
                  <a:pt x="4063" y="526"/>
                  <a:pt x="4063" y="526"/>
                </a:cubicBezTo>
                <a:cubicBezTo>
                  <a:pt x="4063" y="526"/>
                  <a:pt x="4130" y="533"/>
                  <a:pt x="4141" y="534"/>
                </a:cubicBezTo>
                <a:cubicBezTo>
                  <a:pt x="4151" y="535"/>
                  <a:pt x="4178" y="546"/>
                  <a:pt x="4187" y="541"/>
                </a:cubicBezTo>
                <a:cubicBezTo>
                  <a:pt x="4197" y="535"/>
                  <a:pt x="4178" y="515"/>
                  <a:pt x="4178" y="515"/>
                </a:cubicBezTo>
                <a:cubicBezTo>
                  <a:pt x="4209" y="509"/>
                  <a:pt x="4209" y="509"/>
                  <a:pt x="4209" y="509"/>
                </a:cubicBezTo>
                <a:cubicBezTo>
                  <a:pt x="4209" y="509"/>
                  <a:pt x="4217" y="531"/>
                  <a:pt x="4221" y="530"/>
                </a:cubicBezTo>
                <a:cubicBezTo>
                  <a:pt x="4225" y="529"/>
                  <a:pt x="4239" y="545"/>
                  <a:pt x="4239" y="545"/>
                </a:cubicBezTo>
                <a:cubicBezTo>
                  <a:pt x="4259" y="538"/>
                  <a:pt x="4259" y="538"/>
                  <a:pt x="4259" y="538"/>
                </a:cubicBezTo>
                <a:cubicBezTo>
                  <a:pt x="4259" y="538"/>
                  <a:pt x="4251" y="558"/>
                  <a:pt x="4255" y="559"/>
                </a:cubicBezTo>
                <a:cubicBezTo>
                  <a:pt x="4259" y="561"/>
                  <a:pt x="4289" y="567"/>
                  <a:pt x="4289" y="567"/>
                </a:cubicBezTo>
                <a:cubicBezTo>
                  <a:pt x="4289" y="567"/>
                  <a:pt x="4267" y="586"/>
                  <a:pt x="4275" y="586"/>
                </a:cubicBezTo>
                <a:cubicBezTo>
                  <a:pt x="4283" y="586"/>
                  <a:pt x="4302" y="586"/>
                  <a:pt x="4302" y="586"/>
                </a:cubicBezTo>
                <a:cubicBezTo>
                  <a:pt x="4298" y="603"/>
                  <a:pt x="4298" y="603"/>
                  <a:pt x="4298" y="603"/>
                </a:cubicBezTo>
                <a:cubicBezTo>
                  <a:pt x="4298" y="603"/>
                  <a:pt x="4331" y="607"/>
                  <a:pt x="4331" y="623"/>
                </a:cubicBezTo>
                <a:cubicBezTo>
                  <a:pt x="4331" y="639"/>
                  <a:pt x="4309" y="673"/>
                  <a:pt x="4303" y="674"/>
                </a:cubicBezTo>
                <a:cubicBezTo>
                  <a:pt x="4298" y="675"/>
                  <a:pt x="4210" y="714"/>
                  <a:pt x="4210" y="714"/>
                </a:cubicBezTo>
                <a:cubicBezTo>
                  <a:pt x="4210" y="714"/>
                  <a:pt x="4238" y="733"/>
                  <a:pt x="4223" y="739"/>
                </a:cubicBezTo>
                <a:cubicBezTo>
                  <a:pt x="4209" y="746"/>
                  <a:pt x="4189" y="747"/>
                  <a:pt x="4189" y="747"/>
                </a:cubicBezTo>
                <a:cubicBezTo>
                  <a:pt x="4137" y="754"/>
                  <a:pt x="4137" y="754"/>
                  <a:pt x="4137" y="754"/>
                </a:cubicBezTo>
                <a:cubicBezTo>
                  <a:pt x="4131" y="769"/>
                  <a:pt x="4131" y="769"/>
                  <a:pt x="4131" y="769"/>
                </a:cubicBezTo>
                <a:cubicBezTo>
                  <a:pt x="4122" y="755"/>
                  <a:pt x="4122" y="755"/>
                  <a:pt x="4122" y="755"/>
                </a:cubicBezTo>
                <a:cubicBezTo>
                  <a:pt x="4122" y="755"/>
                  <a:pt x="4095" y="746"/>
                  <a:pt x="4082" y="749"/>
                </a:cubicBezTo>
                <a:cubicBezTo>
                  <a:pt x="4069" y="751"/>
                  <a:pt x="4070" y="763"/>
                  <a:pt x="4070" y="763"/>
                </a:cubicBezTo>
                <a:cubicBezTo>
                  <a:pt x="4070" y="763"/>
                  <a:pt x="4025" y="773"/>
                  <a:pt x="4025" y="789"/>
                </a:cubicBezTo>
                <a:cubicBezTo>
                  <a:pt x="4025" y="813"/>
                  <a:pt x="4059" y="807"/>
                  <a:pt x="4086" y="798"/>
                </a:cubicBezTo>
                <a:cubicBezTo>
                  <a:pt x="4113" y="789"/>
                  <a:pt x="4119" y="790"/>
                  <a:pt x="4119" y="790"/>
                </a:cubicBezTo>
                <a:cubicBezTo>
                  <a:pt x="4119" y="790"/>
                  <a:pt x="4138" y="803"/>
                  <a:pt x="4145" y="798"/>
                </a:cubicBezTo>
                <a:cubicBezTo>
                  <a:pt x="4151" y="793"/>
                  <a:pt x="4147" y="782"/>
                  <a:pt x="4147" y="782"/>
                </a:cubicBezTo>
                <a:cubicBezTo>
                  <a:pt x="4163" y="767"/>
                  <a:pt x="4163" y="767"/>
                  <a:pt x="4163" y="767"/>
                </a:cubicBezTo>
                <a:cubicBezTo>
                  <a:pt x="4163" y="767"/>
                  <a:pt x="4150" y="779"/>
                  <a:pt x="4159" y="782"/>
                </a:cubicBezTo>
                <a:cubicBezTo>
                  <a:pt x="4169" y="785"/>
                  <a:pt x="4203" y="785"/>
                  <a:pt x="4203" y="785"/>
                </a:cubicBezTo>
                <a:cubicBezTo>
                  <a:pt x="4203" y="785"/>
                  <a:pt x="4189" y="791"/>
                  <a:pt x="4190" y="798"/>
                </a:cubicBezTo>
                <a:cubicBezTo>
                  <a:pt x="4191" y="805"/>
                  <a:pt x="4213" y="809"/>
                  <a:pt x="4213" y="809"/>
                </a:cubicBezTo>
                <a:cubicBezTo>
                  <a:pt x="4213" y="809"/>
                  <a:pt x="4199" y="818"/>
                  <a:pt x="4210" y="825"/>
                </a:cubicBezTo>
                <a:cubicBezTo>
                  <a:pt x="4221" y="831"/>
                  <a:pt x="4245" y="831"/>
                  <a:pt x="4245" y="831"/>
                </a:cubicBezTo>
                <a:cubicBezTo>
                  <a:pt x="4214" y="842"/>
                  <a:pt x="4214" y="842"/>
                  <a:pt x="4214" y="842"/>
                </a:cubicBezTo>
                <a:cubicBezTo>
                  <a:pt x="4214" y="842"/>
                  <a:pt x="4219" y="863"/>
                  <a:pt x="4225" y="862"/>
                </a:cubicBezTo>
                <a:cubicBezTo>
                  <a:pt x="4230" y="861"/>
                  <a:pt x="4241" y="854"/>
                  <a:pt x="4241" y="854"/>
                </a:cubicBezTo>
                <a:cubicBezTo>
                  <a:pt x="4241" y="854"/>
                  <a:pt x="4243" y="869"/>
                  <a:pt x="4253" y="870"/>
                </a:cubicBezTo>
                <a:cubicBezTo>
                  <a:pt x="4262" y="871"/>
                  <a:pt x="4283" y="874"/>
                  <a:pt x="4283" y="874"/>
                </a:cubicBezTo>
                <a:cubicBezTo>
                  <a:pt x="4283" y="874"/>
                  <a:pt x="4282" y="891"/>
                  <a:pt x="4298" y="895"/>
                </a:cubicBezTo>
                <a:cubicBezTo>
                  <a:pt x="4314" y="899"/>
                  <a:pt x="4325" y="891"/>
                  <a:pt x="4339" y="899"/>
                </a:cubicBezTo>
                <a:cubicBezTo>
                  <a:pt x="4354" y="907"/>
                  <a:pt x="4390" y="922"/>
                  <a:pt x="4390" y="922"/>
                </a:cubicBezTo>
                <a:cubicBezTo>
                  <a:pt x="4390" y="922"/>
                  <a:pt x="4401" y="902"/>
                  <a:pt x="4389" y="889"/>
                </a:cubicBezTo>
                <a:cubicBezTo>
                  <a:pt x="4377" y="875"/>
                  <a:pt x="4357" y="863"/>
                  <a:pt x="4357" y="863"/>
                </a:cubicBezTo>
                <a:cubicBezTo>
                  <a:pt x="4357" y="863"/>
                  <a:pt x="4337" y="838"/>
                  <a:pt x="4342" y="830"/>
                </a:cubicBezTo>
                <a:cubicBezTo>
                  <a:pt x="4347" y="822"/>
                  <a:pt x="4370" y="845"/>
                  <a:pt x="4370" y="845"/>
                </a:cubicBezTo>
                <a:cubicBezTo>
                  <a:pt x="4370" y="825"/>
                  <a:pt x="4370" y="825"/>
                  <a:pt x="4370" y="825"/>
                </a:cubicBezTo>
                <a:cubicBezTo>
                  <a:pt x="4370" y="825"/>
                  <a:pt x="4379" y="850"/>
                  <a:pt x="4389" y="850"/>
                </a:cubicBezTo>
                <a:cubicBezTo>
                  <a:pt x="4398" y="850"/>
                  <a:pt x="4413" y="846"/>
                  <a:pt x="4413" y="846"/>
                </a:cubicBezTo>
                <a:cubicBezTo>
                  <a:pt x="4413" y="846"/>
                  <a:pt x="4409" y="867"/>
                  <a:pt x="4419" y="866"/>
                </a:cubicBezTo>
                <a:cubicBezTo>
                  <a:pt x="4430" y="865"/>
                  <a:pt x="4434" y="877"/>
                  <a:pt x="4434" y="877"/>
                </a:cubicBezTo>
                <a:cubicBezTo>
                  <a:pt x="4447" y="862"/>
                  <a:pt x="4447" y="862"/>
                  <a:pt x="4447" y="862"/>
                </a:cubicBezTo>
                <a:cubicBezTo>
                  <a:pt x="4447" y="862"/>
                  <a:pt x="4457" y="874"/>
                  <a:pt x="4462" y="871"/>
                </a:cubicBezTo>
                <a:cubicBezTo>
                  <a:pt x="4467" y="869"/>
                  <a:pt x="4461" y="853"/>
                  <a:pt x="4461" y="853"/>
                </a:cubicBezTo>
                <a:cubicBezTo>
                  <a:pt x="4471" y="822"/>
                  <a:pt x="4471" y="822"/>
                  <a:pt x="4471" y="822"/>
                </a:cubicBezTo>
                <a:cubicBezTo>
                  <a:pt x="4471" y="822"/>
                  <a:pt x="4471" y="849"/>
                  <a:pt x="4479" y="849"/>
                </a:cubicBezTo>
                <a:cubicBezTo>
                  <a:pt x="4487" y="849"/>
                  <a:pt x="4491" y="821"/>
                  <a:pt x="4491" y="821"/>
                </a:cubicBezTo>
                <a:cubicBezTo>
                  <a:pt x="4477" y="805"/>
                  <a:pt x="4477" y="805"/>
                  <a:pt x="4477" y="805"/>
                </a:cubicBezTo>
                <a:cubicBezTo>
                  <a:pt x="4491" y="801"/>
                  <a:pt x="4491" y="801"/>
                  <a:pt x="4491" y="801"/>
                </a:cubicBezTo>
                <a:cubicBezTo>
                  <a:pt x="4479" y="791"/>
                  <a:pt x="4479" y="791"/>
                  <a:pt x="4479" y="791"/>
                </a:cubicBezTo>
                <a:cubicBezTo>
                  <a:pt x="4481" y="778"/>
                  <a:pt x="4481" y="778"/>
                  <a:pt x="4481" y="778"/>
                </a:cubicBezTo>
                <a:cubicBezTo>
                  <a:pt x="4461" y="781"/>
                  <a:pt x="4461" y="781"/>
                  <a:pt x="4461" y="781"/>
                </a:cubicBezTo>
                <a:cubicBezTo>
                  <a:pt x="4461" y="770"/>
                  <a:pt x="4461" y="770"/>
                  <a:pt x="4461" y="770"/>
                </a:cubicBezTo>
                <a:cubicBezTo>
                  <a:pt x="4446" y="770"/>
                  <a:pt x="4446" y="770"/>
                  <a:pt x="4446" y="770"/>
                </a:cubicBezTo>
                <a:cubicBezTo>
                  <a:pt x="4445" y="737"/>
                  <a:pt x="4445" y="737"/>
                  <a:pt x="4445" y="737"/>
                </a:cubicBezTo>
                <a:cubicBezTo>
                  <a:pt x="4423" y="738"/>
                  <a:pt x="4423" y="738"/>
                  <a:pt x="4423" y="738"/>
                </a:cubicBezTo>
                <a:cubicBezTo>
                  <a:pt x="4423" y="738"/>
                  <a:pt x="4411" y="718"/>
                  <a:pt x="4423" y="715"/>
                </a:cubicBezTo>
                <a:cubicBezTo>
                  <a:pt x="4435" y="713"/>
                  <a:pt x="4443" y="730"/>
                  <a:pt x="4451" y="727"/>
                </a:cubicBezTo>
                <a:cubicBezTo>
                  <a:pt x="4459" y="725"/>
                  <a:pt x="4458" y="699"/>
                  <a:pt x="4458" y="699"/>
                </a:cubicBezTo>
                <a:cubicBezTo>
                  <a:pt x="4473" y="703"/>
                  <a:pt x="4473" y="703"/>
                  <a:pt x="4473" y="703"/>
                </a:cubicBezTo>
                <a:cubicBezTo>
                  <a:pt x="4498" y="691"/>
                  <a:pt x="4498" y="691"/>
                  <a:pt x="4498" y="691"/>
                </a:cubicBezTo>
                <a:cubicBezTo>
                  <a:pt x="4498" y="691"/>
                  <a:pt x="4499" y="723"/>
                  <a:pt x="4506" y="717"/>
                </a:cubicBezTo>
                <a:cubicBezTo>
                  <a:pt x="4513" y="710"/>
                  <a:pt x="4526" y="710"/>
                  <a:pt x="4526" y="710"/>
                </a:cubicBezTo>
                <a:cubicBezTo>
                  <a:pt x="4518" y="722"/>
                  <a:pt x="4518" y="722"/>
                  <a:pt x="4518" y="722"/>
                </a:cubicBezTo>
                <a:cubicBezTo>
                  <a:pt x="4533" y="723"/>
                  <a:pt x="4533" y="723"/>
                  <a:pt x="4533" y="723"/>
                </a:cubicBezTo>
                <a:cubicBezTo>
                  <a:pt x="4526" y="742"/>
                  <a:pt x="4526" y="742"/>
                  <a:pt x="4526" y="742"/>
                </a:cubicBezTo>
                <a:cubicBezTo>
                  <a:pt x="4526" y="742"/>
                  <a:pt x="4549" y="783"/>
                  <a:pt x="4565" y="773"/>
                </a:cubicBezTo>
                <a:cubicBezTo>
                  <a:pt x="4581" y="762"/>
                  <a:pt x="4583" y="737"/>
                  <a:pt x="4583" y="737"/>
                </a:cubicBezTo>
                <a:cubicBezTo>
                  <a:pt x="4590" y="727"/>
                  <a:pt x="4590" y="727"/>
                  <a:pt x="4590" y="727"/>
                </a:cubicBezTo>
                <a:cubicBezTo>
                  <a:pt x="4590" y="727"/>
                  <a:pt x="4609" y="743"/>
                  <a:pt x="4622" y="734"/>
                </a:cubicBezTo>
                <a:cubicBezTo>
                  <a:pt x="4635" y="725"/>
                  <a:pt x="4634" y="707"/>
                  <a:pt x="4634" y="707"/>
                </a:cubicBezTo>
                <a:cubicBezTo>
                  <a:pt x="4634" y="707"/>
                  <a:pt x="4669" y="717"/>
                  <a:pt x="4683" y="701"/>
                </a:cubicBezTo>
                <a:close/>
                <a:moveTo>
                  <a:pt x="4331" y="69"/>
                </a:moveTo>
                <a:cubicBezTo>
                  <a:pt x="4387" y="72"/>
                  <a:pt x="4387" y="72"/>
                  <a:pt x="4387" y="72"/>
                </a:cubicBezTo>
                <a:cubicBezTo>
                  <a:pt x="4332" y="80"/>
                  <a:pt x="4332" y="80"/>
                  <a:pt x="4332" y="80"/>
                </a:cubicBezTo>
                <a:cubicBezTo>
                  <a:pt x="4332" y="80"/>
                  <a:pt x="4352" y="89"/>
                  <a:pt x="4366" y="89"/>
                </a:cubicBezTo>
                <a:cubicBezTo>
                  <a:pt x="4380" y="89"/>
                  <a:pt x="4417" y="83"/>
                  <a:pt x="4417" y="83"/>
                </a:cubicBezTo>
                <a:cubicBezTo>
                  <a:pt x="4417" y="83"/>
                  <a:pt x="4442" y="75"/>
                  <a:pt x="4460" y="75"/>
                </a:cubicBezTo>
                <a:cubicBezTo>
                  <a:pt x="4479" y="75"/>
                  <a:pt x="4522" y="84"/>
                  <a:pt x="4522" y="84"/>
                </a:cubicBezTo>
                <a:cubicBezTo>
                  <a:pt x="4522" y="84"/>
                  <a:pt x="4471" y="85"/>
                  <a:pt x="4459" y="86"/>
                </a:cubicBezTo>
                <a:cubicBezTo>
                  <a:pt x="4447" y="87"/>
                  <a:pt x="4412" y="100"/>
                  <a:pt x="4412" y="100"/>
                </a:cubicBezTo>
                <a:cubicBezTo>
                  <a:pt x="4412" y="100"/>
                  <a:pt x="4440" y="100"/>
                  <a:pt x="4461" y="102"/>
                </a:cubicBezTo>
                <a:cubicBezTo>
                  <a:pt x="4483" y="104"/>
                  <a:pt x="4488" y="96"/>
                  <a:pt x="4488" y="96"/>
                </a:cubicBezTo>
                <a:cubicBezTo>
                  <a:pt x="4532" y="96"/>
                  <a:pt x="4532" y="96"/>
                  <a:pt x="4532" y="96"/>
                </a:cubicBezTo>
                <a:cubicBezTo>
                  <a:pt x="4532" y="96"/>
                  <a:pt x="4546" y="97"/>
                  <a:pt x="4563" y="97"/>
                </a:cubicBezTo>
                <a:cubicBezTo>
                  <a:pt x="4580" y="97"/>
                  <a:pt x="4620" y="86"/>
                  <a:pt x="4624" y="83"/>
                </a:cubicBezTo>
                <a:cubicBezTo>
                  <a:pt x="4629" y="79"/>
                  <a:pt x="4655" y="76"/>
                  <a:pt x="4668" y="72"/>
                </a:cubicBezTo>
                <a:cubicBezTo>
                  <a:pt x="4681" y="67"/>
                  <a:pt x="4702" y="72"/>
                  <a:pt x="4702" y="72"/>
                </a:cubicBezTo>
                <a:cubicBezTo>
                  <a:pt x="4644" y="89"/>
                  <a:pt x="4644" y="89"/>
                  <a:pt x="4644" y="89"/>
                </a:cubicBezTo>
                <a:cubicBezTo>
                  <a:pt x="4667" y="90"/>
                  <a:pt x="4667" y="90"/>
                  <a:pt x="4667" y="90"/>
                </a:cubicBezTo>
                <a:cubicBezTo>
                  <a:pt x="4635" y="100"/>
                  <a:pt x="4635" y="100"/>
                  <a:pt x="4635" y="100"/>
                </a:cubicBezTo>
                <a:cubicBezTo>
                  <a:pt x="4635" y="100"/>
                  <a:pt x="4522" y="105"/>
                  <a:pt x="4509" y="105"/>
                </a:cubicBezTo>
                <a:cubicBezTo>
                  <a:pt x="4496" y="105"/>
                  <a:pt x="4496" y="117"/>
                  <a:pt x="4496" y="117"/>
                </a:cubicBezTo>
                <a:cubicBezTo>
                  <a:pt x="4547" y="132"/>
                  <a:pt x="4547" y="132"/>
                  <a:pt x="4547" y="132"/>
                </a:cubicBezTo>
                <a:cubicBezTo>
                  <a:pt x="4547" y="132"/>
                  <a:pt x="4527" y="138"/>
                  <a:pt x="4515" y="138"/>
                </a:cubicBezTo>
                <a:cubicBezTo>
                  <a:pt x="4504" y="138"/>
                  <a:pt x="4456" y="112"/>
                  <a:pt x="4456" y="112"/>
                </a:cubicBezTo>
                <a:cubicBezTo>
                  <a:pt x="4456" y="112"/>
                  <a:pt x="4407" y="113"/>
                  <a:pt x="4394" y="113"/>
                </a:cubicBezTo>
                <a:cubicBezTo>
                  <a:pt x="4381" y="113"/>
                  <a:pt x="4373" y="128"/>
                  <a:pt x="4373" y="128"/>
                </a:cubicBezTo>
                <a:cubicBezTo>
                  <a:pt x="4394" y="139"/>
                  <a:pt x="4394" y="139"/>
                  <a:pt x="4394" y="139"/>
                </a:cubicBezTo>
                <a:cubicBezTo>
                  <a:pt x="4394" y="139"/>
                  <a:pt x="4405" y="155"/>
                  <a:pt x="4422" y="158"/>
                </a:cubicBezTo>
                <a:cubicBezTo>
                  <a:pt x="4438" y="161"/>
                  <a:pt x="4471" y="157"/>
                  <a:pt x="4471" y="157"/>
                </a:cubicBezTo>
                <a:cubicBezTo>
                  <a:pt x="4471" y="157"/>
                  <a:pt x="4463" y="166"/>
                  <a:pt x="4446" y="168"/>
                </a:cubicBezTo>
                <a:cubicBezTo>
                  <a:pt x="4430" y="170"/>
                  <a:pt x="4399" y="164"/>
                  <a:pt x="4391" y="162"/>
                </a:cubicBezTo>
                <a:cubicBezTo>
                  <a:pt x="4384" y="160"/>
                  <a:pt x="4328" y="170"/>
                  <a:pt x="4310" y="170"/>
                </a:cubicBezTo>
                <a:cubicBezTo>
                  <a:pt x="4291" y="170"/>
                  <a:pt x="4256" y="195"/>
                  <a:pt x="4256" y="195"/>
                </a:cubicBezTo>
                <a:cubicBezTo>
                  <a:pt x="4305" y="187"/>
                  <a:pt x="4305" y="187"/>
                  <a:pt x="4305" y="187"/>
                </a:cubicBezTo>
                <a:cubicBezTo>
                  <a:pt x="4303" y="199"/>
                  <a:pt x="4303" y="199"/>
                  <a:pt x="4303" y="199"/>
                </a:cubicBezTo>
                <a:cubicBezTo>
                  <a:pt x="4345" y="187"/>
                  <a:pt x="4345" y="187"/>
                  <a:pt x="4345" y="187"/>
                </a:cubicBezTo>
                <a:cubicBezTo>
                  <a:pt x="4298" y="205"/>
                  <a:pt x="4298" y="205"/>
                  <a:pt x="4298" y="205"/>
                </a:cubicBezTo>
                <a:cubicBezTo>
                  <a:pt x="4298" y="205"/>
                  <a:pt x="4306" y="216"/>
                  <a:pt x="4322" y="216"/>
                </a:cubicBezTo>
                <a:cubicBezTo>
                  <a:pt x="4339" y="216"/>
                  <a:pt x="4384" y="199"/>
                  <a:pt x="4384" y="199"/>
                </a:cubicBezTo>
                <a:cubicBezTo>
                  <a:pt x="4316" y="225"/>
                  <a:pt x="4316" y="225"/>
                  <a:pt x="4316" y="225"/>
                </a:cubicBezTo>
                <a:cubicBezTo>
                  <a:pt x="4271" y="222"/>
                  <a:pt x="4271" y="222"/>
                  <a:pt x="4271" y="222"/>
                </a:cubicBezTo>
                <a:cubicBezTo>
                  <a:pt x="4262" y="205"/>
                  <a:pt x="4262" y="205"/>
                  <a:pt x="4262" y="205"/>
                </a:cubicBezTo>
                <a:cubicBezTo>
                  <a:pt x="4262" y="205"/>
                  <a:pt x="4229" y="202"/>
                  <a:pt x="4219" y="204"/>
                </a:cubicBezTo>
                <a:cubicBezTo>
                  <a:pt x="4209" y="206"/>
                  <a:pt x="4223" y="231"/>
                  <a:pt x="4223" y="231"/>
                </a:cubicBezTo>
                <a:cubicBezTo>
                  <a:pt x="4223" y="231"/>
                  <a:pt x="4179" y="235"/>
                  <a:pt x="4173" y="235"/>
                </a:cubicBezTo>
                <a:cubicBezTo>
                  <a:pt x="4166" y="235"/>
                  <a:pt x="4136" y="250"/>
                  <a:pt x="4116" y="252"/>
                </a:cubicBezTo>
                <a:cubicBezTo>
                  <a:pt x="4104" y="253"/>
                  <a:pt x="4095" y="254"/>
                  <a:pt x="4092" y="254"/>
                </a:cubicBezTo>
                <a:cubicBezTo>
                  <a:pt x="4089" y="254"/>
                  <a:pt x="4108" y="260"/>
                  <a:pt x="4123" y="260"/>
                </a:cubicBezTo>
                <a:cubicBezTo>
                  <a:pt x="4138" y="260"/>
                  <a:pt x="4145" y="253"/>
                  <a:pt x="4145" y="253"/>
                </a:cubicBezTo>
                <a:cubicBezTo>
                  <a:pt x="4137" y="265"/>
                  <a:pt x="4137" y="265"/>
                  <a:pt x="4137" y="265"/>
                </a:cubicBezTo>
                <a:cubicBezTo>
                  <a:pt x="4162" y="260"/>
                  <a:pt x="4162" y="260"/>
                  <a:pt x="4162" y="260"/>
                </a:cubicBezTo>
                <a:cubicBezTo>
                  <a:pt x="4177" y="253"/>
                  <a:pt x="4177" y="253"/>
                  <a:pt x="4177" y="253"/>
                </a:cubicBezTo>
                <a:cubicBezTo>
                  <a:pt x="4177" y="261"/>
                  <a:pt x="4177" y="261"/>
                  <a:pt x="4177" y="261"/>
                </a:cubicBezTo>
                <a:cubicBezTo>
                  <a:pt x="4194" y="259"/>
                  <a:pt x="4194" y="259"/>
                  <a:pt x="4194" y="259"/>
                </a:cubicBezTo>
                <a:cubicBezTo>
                  <a:pt x="4210" y="257"/>
                  <a:pt x="4210" y="257"/>
                  <a:pt x="4210" y="257"/>
                </a:cubicBezTo>
                <a:cubicBezTo>
                  <a:pt x="4210" y="257"/>
                  <a:pt x="4211" y="266"/>
                  <a:pt x="4222" y="267"/>
                </a:cubicBezTo>
                <a:cubicBezTo>
                  <a:pt x="4233" y="268"/>
                  <a:pt x="4255" y="254"/>
                  <a:pt x="4255" y="254"/>
                </a:cubicBezTo>
                <a:cubicBezTo>
                  <a:pt x="4260" y="263"/>
                  <a:pt x="4260" y="263"/>
                  <a:pt x="4260" y="263"/>
                </a:cubicBezTo>
                <a:cubicBezTo>
                  <a:pt x="4278" y="253"/>
                  <a:pt x="4278" y="253"/>
                  <a:pt x="4278" y="253"/>
                </a:cubicBezTo>
                <a:cubicBezTo>
                  <a:pt x="4278" y="253"/>
                  <a:pt x="4284" y="261"/>
                  <a:pt x="4292" y="264"/>
                </a:cubicBezTo>
                <a:cubicBezTo>
                  <a:pt x="4301" y="266"/>
                  <a:pt x="4310" y="255"/>
                  <a:pt x="4310" y="255"/>
                </a:cubicBezTo>
                <a:cubicBezTo>
                  <a:pt x="4310" y="255"/>
                  <a:pt x="4319" y="263"/>
                  <a:pt x="4332" y="263"/>
                </a:cubicBezTo>
                <a:cubicBezTo>
                  <a:pt x="4345" y="263"/>
                  <a:pt x="4335" y="251"/>
                  <a:pt x="4335" y="251"/>
                </a:cubicBezTo>
                <a:cubicBezTo>
                  <a:pt x="4373" y="265"/>
                  <a:pt x="4373" y="265"/>
                  <a:pt x="4373" y="265"/>
                </a:cubicBezTo>
                <a:cubicBezTo>
                  <a:pt x="4373" y="265"/>
                  <a:pt x="4380" y="274"/>
                  <a:pt x="4384" y="274"/>
                </a:cubicBezTo>
                <a:cubicBezTo>
                  <a:pt x="4388" y="274"/>
                  <a:pt x="4446" y="261"/>
                  <a:pt x="4457" y="261"/>
                </a:cubicBezTo>
                <a:cubicBezTo>
                  <a:pt x="4468" y="261"/>
                  <a:pt x="4493" y="251"/>
                  <a:pt x="4497" y="244"/>
                </a:cubicBezTo>
                <a:cubicBezTo>
                  <a:pt x="4501" y="238"/>
                  <a:pt x="4455" y="243"/>
                  <a:pt x="4455" y="243"/>
                </a:cubicBezTo>
                <a:cubicBezTo>
                  <a:pt x="4455" y="243"/>
                  <a:pt x="4464" y="236"/>
                  <a:pt x="4457" y="233"/>
                </a:cubicBezTo>
                <a:cubicBezTo>
                  <a:pt x="4451" y="231"/>
                  <a:pt x="4425" y="233"/>
                  <a:pt x="4425" y="233"/>
                </a:cubicBezTo>
                <a:cubicBezTo>
                  <a:pt x="4387" y="227"/>
                  <a:pt x="4387" y="227"/>
                  <a:pt x="4387" y="227"/>
                </a:cubicBezTo>
                <a:cubicBezTo>
                  <a:pt x="4399" y="214"/>
                  <a:pt x="4399" y="214"/>
                  <a:pt x="4399" y="214"/>
                </a:cubicBezTo>
                <a:cubicBezTo>
                  <a:pt x="4441" y="228"/>
                  <a:pt x="4441" y="228"/>
                  <a:pt x="4441" y="228"/>
                </a:cubicBezTo>
                <a:cubicBezTo>
                  <a:pt x="4441" y="228"/>
                  <a:pt x="4496" y="225"/>
                  <a:pt x="4516" y="224"/>
                </a:cubicBezTo>
                <a:cubicBezTo>
                  <a:pt x="4537" y="223"/>
                  <a:pt x="4532" y="205"/>
                  <a:pt x="4532" y="205"/>
                </a:cubicBezTo>
                <a:cubicBezTo>
                  <a:pt x="4532" y="205"/>
                  <a:pt x="4557" y="200"/>
                  <a:pt x="4576" y="200"/>
                </a:cubicBezTo>
                <a:cubicBezTo>
                  <a:pt x="4594" y="200"/>
                  <a:pt x="4632" y="191"/>
                  <a:pt x="4632" y="191"/>
                </a:cubicBezTo>
                <a:cubicBezTo>
                  <a:pt x="4614" y="180"/>
                  <a:pt x="4614" y="180"/>
                  <a:pt x="4614" y="180"/>
                </a:cubicBezTo>
                <a:cubicBezTo>
                  <a:pt x="4614" y="180"/>
                  <a:pt x="4637" y="180"/>
                  <a:pt x="4662" y="174"/>
                </a:cubicBezTo>
                <a:cubicBezTo>
                  <a:pt x="4687" y="169"/>
                  <a:pt x="4629" y="159"/>
                  <a:pt x="4629" y="159"/>
                </a:cubicBezTo>
                <a:cubicBezTo>
                  <a:pt x="4629" y="159"/>
                  <a:pt x="4597" y="160"/>
                  <a:pt x="4586" y="156"/>
                </a:cubicBezTo>
                <a:cubicBezTo>
                  <a:pt x="4576" y="152"/>
                  <a:pt x="4634" y="138"/>
                  <a:pt x="4637" y="139"/>
                </a:cubicBezTo>
                <a:cubicBezTo>
                  <a:pt x="4640" y="140"/>
                  <a:pt x="4682" y="144"/>
                  <a:pt x="4682" y="144"/>
                </a:cubicBezTo>
                <a:cubicBezTo>
                  <a:pt x="4682" y="144"/>
                  <a:pt x="4730" y="142"/>
                  <a:pt x="4745" y="139"/>
                </a:cubicBezTo>
                <a:cubicBezTo>
                  <a:pt x="4760" y="135"/>
                  <a:pt x="4711" y="133"/>
                  <a:pt x="4729" y="126"/>
                </a:cubicBezTo>
                <a:cubicBezTo>
                  <a:pt x="4746" y="118"/>
                  <a:pt x="4778" y="132"/>
                  <a:pt x="4798" y="132"/>
                </a:cubicBezTo>
                <a:cubicBezTo>
                  <a:pt x="4817" y="132"/>
                  <a:pt x="4810" y="115"/>
                  <a:pt x="4810" y="115"/>
                </a:cubicBezTo>
                <a:cubicBezTo>
                  <a:pt x="4858" y="118"/>
                  <a:pt x="4858" y="118"/>
                  <a:pt x="4858" y="118"/>
                </a:cubicBezTo>
                <a:cubicBezTo>
                  <a:pt x="4861" y="104"/>
                  <a:pt x="4861" y="104"/>
                  <a:pt x="4861" y="104"/>
                </a:cubicBezTo>
                <a:cubicBezTo>
                  <a:pt x="4861" y="104"/>
                  <a:pt x="4874" y="108"/>
                  <a:pt x="4883" y="108"/>
                </a:cubicBezTo>
                <a:cubicBezTo>
                  <a:pt x="4891" y="108"/>
                  <a:pt x="4922" y="96"/>
                  <a:pt x="4922" y="96"/>
                </a:cubicBezTo>
                <a:cubicBezTo>
                  <a:pt x="4922" y="96"/>
                  <a:pt x="4981" y="86"/>
                  <a:pt x="5013" y="80"/>
                </a:cubicBezTo>
                <a:cubicBezTo>
                  <a:pt x="5046" y="75"/>
                  <a:pt x="5049" y="70"/>
                  <a:pt x="5044" y="70"/>
                </a:cubicBezTo>
                <a:cubicBezTo>
                  <a:pt x="5040" y="70"/>
                  <a:pt x="4973" y="73"/>
                  <a:pt x="4973" y="73"/>
                </a:cubicBezTo>
                <a:cubicBezTo>
                  <a:pt x="4956" y="80"/>
                  <a:pt x="4956" y="80"/>
                  <a:pt x="4956" y="80"/>
                </a:cubicBezTo>
                <a:cubicBezTo>
                  <a:pt x="4910" y="77"/>
                  <a:pt x="4910" y="77"/>
                  <a:pt x="4910" y="77"/>
                </a:cubicBezTo>
                <a:cubicBezTo>
                  <a:pt x="4963" y="74"/>
                  <a:pt x="4963" y="74"/>
                  <a:pt x="4963" y="74"/>
                </a:cubicBezTo>
                <a:cubicBezTo>
                  <a:pt x="4961" y="65"/>
                  <a:pt x="4961" y="65"/>
                  <a:pt x="4961" y="65"/>
                </a:cubicBezTo>
                <a:cubicBezTo>
                  <a:pt x="4994" y="70"/>
                  <a:pt x="4994" y="70"/>
                  <a:pt x="4994" y="70"/>
                </a:cubicBezTo>
                <a:cubicBezTo>
                  <a:pt x="4994" y="70"/>
                  <a:pt x="4999" y="62"/>
                  <a:pt x="5008" y="62"/>
                </a:cubicBezTo>
                <a:cubicBezTo>
                  <a:pt x="5016" y="62"/>
                  <a:pt x="5117" y="58"/>
                  <a:pt x="5135" y="57"/>
                </a:cubicBezTo>
                <a:cubicBezTo>
                  <a:pt x="5153" y="56"/>
                  <a:pt x="5200" y="43"/>
                  <a:pt x="5197" y="39"/>
                </a:cubicBezTo>
                <a:cubicBezTo>
                  <a:pt x="5195" y="36"/>
                  <a:pt x="5140" y="41"/>
                  <a:pt x="5140" y="41"/>
                </a:cubicBezTo>
                <a:cubicBezTo>
                  <a:pt x="5142" y="31"/>
                  <a:pt x="5142" y="31"/>
                  <a:pt x="5142" y="31"/>
                </a:cubicBezTo>
                <a:cubicBezTo>
                  <a:pt x="5142" y="31"/>
                  <a:pt x="5107" y="23"/>
                  <a:pt x="5094" y="23"/>
                </a:cubicBezTo>
                <a:cubicBezTo>
                  <a:pt x="5081" y="23"/>
                  <a:pt x="5009" y="38"/>
                  <a:pt x="5009" y="38"/>
                </a:cubicBezTo>
                <a:cubicBezTo>
                  <a:pt x="5042" y="23"/>
                  <a:pt x="5042" y="23"/>
                  <a:pt x="5042" y="23"/>
                </a:cubicBezTo>
                <a:cubicBezTo>
                  <a:pt x="4997" y="25"/>
                  <a:pt x="4997" y="25"/>
                  <a:pt x="4997" y="25"/>
                </a:cubicBezTo>
                <a:cubicBezTo>
                  <a:pt x="4997" y="25"/>
                  <a:pt x="4961" y="13"/>
                  <a:pt x="4951" y="15"/>
                </a:cubicBezTo>
                <a:cubicBezTo>
                  <a:pt x="4940" y="17"/>
                  <a:pt x="4935" y="28"/>
                  <a:pt x="4935" y="28"/>
                </a:cubicBezTo>
                <a:cubicBezTo>
                  <a:pt x="4935" y="28"/>
                  <a:pt x="4909" y="16"/>
                  <a:pt x="4900" y="16"/>
                </a:cubicBezTo>
                <a:cubicBezTo>
                  <a:pt x="4891" y="16"/>
                  <a:pt x="4871" y="31"/>
                  <a:pt x="4871" y="31"/>
                </a:cubicBezTo>
                <a:cubicBezTo>
                  <a:pt x="4845" y="23"/>
                  <a:pt x="4845" y="23"/>
                  <a:pt x="4845" y="23"/>
                </a:cubicBezTo>
                <a:cubicBezTo>
                  <a:pt x="4772" y="20"/>
                  <a:pt x="4772" y="20"/>
                  <a:pt x="4772" y="20"/>
                </a:cubicBezTo>
                <a:cubicBezTo>
                  <a:pt x="4790" y="38"/>
                  <a:pt x="4790" y="38"/>
                  <a:pt x="4790" y="38"/>
                </a:cubicBezTo>
                <a:cubicBezTo>
                  <a:pt x="4748" y="24"/>
                  <a:pt x="4748" y="24"/>
                  <a:pt x="4748" y="24"/>
                </a:cubicBezTo>
                <a:cubicBezTo>
                  <a:pt x="4707" y="31"/>
                  <a:pt x="4707" y="31"/>
                  <a:pt x="4707" y="31"/>
                </a:cubicBezTo>
                <a:cubicBezTo>
                  <a:pt x="4707" y="31"/>
                  <a:pt x="4677" y="25"/>
                  <a:pt x="4661" y="25"/>
                </a:cubicBezTo>
                <a:cubicBezTo>
                  <a:pt x="4645" y="25"/>
                  <a:pt x="4596" y="37"/>
                  <a:pt x="4596" y="37"/>
                </a:cubicBezTo>
                <a:cubicBezTo>
                  <a:pt x="4654" y="55"/>
                  <a:pt x="4654" y="55"/>
                  <a:pt x="4654" y="55"/>
                </a:cubicBezTo>
                <a:cubicBezTo>
                  <a:pt x="4596" y="47"/>
                  <a:pt x="4596" y="47"/>
                  <a:pt x="4596" y="47"/>
                </a:cubicBezTo>
                <a:cubicBezTo>
                  <a:pt x="4596" y="47"/>
                  <a:pt x="4541" y="36"/>
                  <a:pt x="4516" y="38"/>
                </a:cubicBezTo>
                <a:cubicBezTo>
                  <a:pt x="4492" y="41"/>
                  <a:pt x="4500" y="55"/>
                  <a:pt x="4500" y="55"/>
                </a:cubicBezTo>
                <a:cubicBezTo>
                  <a:pt x="4500" y="55"/>
                  <a:pt x="4438" y="49"/>
                  <a:pt x="4425" y="49"/>
                </a:cubicBezTo>
                <a:cubicBezTo>
                  <a:pt x="4412" y="49"/>
                  <a:pt x="4312" y="59"/>
                  <a:pt x="4308" y="61"/>
                </a:cubicBezTo>
                <a:cubicBezTo>
                  <a:pt x="4305" y="63"/>
                  <a:pt x="4331" y="69"/>
                  <a:pt x="4331" y="69"/>
                </a:cubicBezTo>
                <a:close/>
                <a:moveTo>
                  <a:pt x="4558" y="1696"/>
                </a:moveTo>
                <a:cubicBezTo>
                  <a:pt x="4605" y="1655"/>
                  <a:pt x="4605" y="1655"/>
                  <a:pt x="4605" y="1655"/>
                </a:cubicBezTo>
                <a:cubicBezTo>
                  <a:pt x="4600" y="1640"/>
                  <a:pt x="4600" y="1640"/>
                  <a:pt x="4600" y="1640"/>
                </a:cubicBezTo>
                <a:cubicBezTo>
                  <a:pt x="4578" y="1649"/>
                  <a:pt x="4578" y="1649"/>
                  <a:pt x="4578" y="1649"/>
                </a:cubicBezTo>
                <a:cubicBezTo>
                  <a:pt x="4558" y="1648"/>
                  <a:pt x="4558" y="1648"/>
                  <a:pt x="4558" y="1648"/>
                </a:cubicBezTo>
                <a:cubicBezTo>
                  <a:pt x="4580" y="1634"/>
                  <a:pt x="4580" y="1634"/>
                  <a:pt x="4580" y="1634"/>
                </a:cubicBezTo>
                <a:cubicBezTo>
                  <a:pt x="4556" y="1633"/>
                  <a:pt x="4556" y="1633"/>
                  <a:pt x="4556" y="1633"/>
                </a:cubicBezTo>
                <a:cubicBezTo>
                  <a:pt x="4556" y="1633"/>
                  <a:pt x="4600" y="1581"/>
                  <a:pt x="4594" y="1580"/>
                </a:cubicBezTo>
                <a:cubicBezTo>
                  <a:pt x="4588" y="1580"/>
                  <a:pt x="4562" y="1577"/>
                  <a:pt x="4570" y="1574"/>
                </a:cubicBezTo>
                <a:cubicBezTo>
                  <a:pt x="4579" y="1571"/>
                  <a:pt x="4589" y="1556"/>
                  <a:pt x="4589" y="1556"/>
                </a:cubicBezTo>
                <a:cubicBezTo>
                  <a:pt x="4576" y="1547"/>
                  <a:pt x="4576" y="1547"/>
                  <a:pt x="4576" y="1547"/>
                </a:cubicBezTo>
                <a:cubicBezTo>
                  <a:pt x="4542" y="1568"/>
                  <a:pt x="4542" y="1568"/>
                  <a:pt x="4542" y="1568"/>
                </a:cubicBezTo>
                <a:cubicBezTo>
                  <a:pt x="4536" y="1549"/>
                  <a:pt x="4536" y="1549"/>
                  <a:pt x="4536" y="1549"/>
                </a:cubicBezTo>
                <a:cubicBezTo>
                  <a:pt x="4516" y="1551"/>
                  <a:pt x="4516" y="1551"/>
                  <a:pt x="4516" y="1551"/>
                </a:cubicBezTo>
                <a:cubicBezTo>
                  <a:pt x="4524" y="1530"/>
                  <a:pt x="4524" y="1530"/>
                  <a:pt x="4524" y="1530"/>
                </a:cubicBezTo>
                <a:cubicBezTo>
                  <a:pt x="4508" y="1524"/>
                  <a:pt x="4508" y="1524"/>
                  <a:pt x="4508" y="1524"/>
                </a:cubicBezTo>
                <a:cubicBezTo>
                  <a:pt x="4494" y="1512"/>
                  <a:pt x="4494" y="1512"/>
                  <a:pt x="4494" y="1512"/>
                </a:cubicBezTo>
                <a:cubicBezTo>
                  <a:pt x="4476" y="1542"/>
                  <a:pt x="4476" y="1542"/>
                  <a:pt x="4476" y="1542"/>
                </a:cubicBezTo>
                <a:cubicBezTo>
                  <a:pt x="4459" y="1555"/>
                  <a:pt x="4459" y="1555"/>
                  <a:pt x="4459" y="1555"/>
                </a:cubicBezTo>
                <a:cubicBezTo>
                  <a:pt x="4461" y="1537"/>
                  <a:pt x="4461" y="1537"/>
                  <a:pt x="4461" y="1537"/>
                </a:cubicBezTo>
                <a:cubicBezTo>
                  <a:pt x="4485" y="1508"/>
                  <a:pt x="4485" y="1508"/>
                  <a:pt x="4485" y="1508"/>
                </a:cubicBezTo>
                <a:cubicBezTo>
                  <a:pt x="4485" y="1508"/>
                  <a:pt x="4500" y="1507"/>
                  <a:pt x="4512" y="1496"/>
                </a:cubicBezTo>
                <a:cubicBezTo>
                  <a:pt x="4524" y="1485"/>
                  <a:pt x="4529" y="1465"/>
                  <a:pt x="4529" y="1465"/>
                </a:cubicBezTo>
                <a:cubicBezTo>
                  <a:pt x="4543" y="1456"/>
                  <a:pt x="4543" y="1456"/>
                  <a:pt x="4543" y="1456"/>
                </a:cubicBezTo>
                <a:cubicBezTo>
                  <a:pt x="4543" y="1456"/>
                  <a:pt x="4558" y="1446"/>
                  <a:pt x="4540" y="1441"/>
                </a:cubicBezTo>
                <a:cubicBezTo>
                  <a:pt x="4523" y="1436"/>
                  <a:pt x="4494" y="1453"/>
                  <a:pt x="4494" y="1453"/>
                </a:cubicBezTo>
                <a:cubicBezTo>
                  <a:pt x="4457" y="1501"/>
                  <a:pt x="4457" y="1501"/>
                  <a:pt x="4457" y="1501"/>
                </a:cubicBezTo>
                <a:cubicBezTo>
                  <a:pt x="4420" y="1537"/>
                  <a:pt x="4420" y="1537"/>
                  <a:pt x="4420" y="1537"/>
                </a:cubicBezTo>
                <a:cubicBezTo>
                  <a:pt x="4364" y="1589"/>
                  <a:pt x="4364" y="1589"/>
                  <a:pt x="4364" y="1589"/>
                </a:cubicBezTo>
                <a:cubicBezTo>
                  <a:pt x="4364" y="1589"/>
                  <a:pt x="4324" y="1606"/>
                  <a:pt x="4322" y="1612"/>
                </a:cubicBezTo>
                <a:cubicBezTo>
                  <a:pt x="4320" y="1619"/>
                  <a:pt x="4348" y="1622"/>
                  <a:pt x="4348" y="1622"/>
                </a:cubicBezTo>
                <a:cubicBezTo>
                  <a:pt x="4348" y="1622"/>
                  <a:pt x="4314" y="1625"/>
                  <a:pt x="4326" y="1637"/>
                </a:cubicBezTo>
                <a:cubicBezTo>
                  <a:pt x="4338" y="1649"/>
                  <a:pt x="4378" y="1635"/>
                  <a:pt x="4378" y="1635"/>
                </a:cubicBezTo>
                <a:cubicBezTo>
                  <a:pt x="4378" y="1635"/>
                  <a:pt x="4450" y="1652"/>
                  <a:pt x="4466" y="1653"/>
                </a:cubicBezTo>
                <a:cubicBezTo>
                  <a:pt x="4482" y="1653"/>
                  <a:pt x="4473" y="1664"/>
                  <a:pt x="4473" y="1664"/>
                </a:cubicBezTo>
                <a:cubicBezTo>
                  <a:pt x="4445" y="1672"/>
                  <a:pt x="4445" y="1672"/>
                  <a:pt x="4445" y="1672"/>
                </a:cubicBezTo>
                <a:cubicBezTo>
                  <a:pt x="4447" y="1675"/>
                  <a:pt x="4447" y="1675"/>
                  <a:pt x="4447" y="1675"/>
                </a:cubicBezTo>
                <a:cubicBezTo>
                  <a:pt x="4472" y="1679"/>
                  <a:pt x="4472" y="1679"/>
                  <a:pt x="4472" y="1679"/>
                </a:cubicBezTo>
                <a:cubicBezTo>
                  <a:pt x="4519" y="1673"/>
                  <a:pt x="4519" y="1673"/>
                  <a:pt x="4519" y="1673"/>
                </a:cubicBezTo>
                <a:cubicBezTo>
                  <a:pt x="4524" y="1678"/>
                  <a:pt x="4524" y="1678"/>
                  <a:pt x="4524" y="1678"/>
                </a:cubicBezTo>
                <a:cubicBezTo>
                  <a:pt x="4546" y="1676"/>
                  <a:pt x="4546" y="1676"/>
                  <a:pt x="4546" y="1676"/>
                </a:cubicBezTo>
                <a:cubicBezTo>
                  <a:pt x="4530" y="1692"/>
                  <a:pt x="4530" y="1692"/>
                  <a:pt x="4530" y="1692"/>
                </a:cubicBezTo>
                <a:lnTo>
                  <a:pt x="4558" y="1696"/>
                </a:lnTo>
                <a:close/>
                <a:moveTo>
                  <a:pt x="5966" y="589"/>
                </a:moveTo>
                <a:cubicBezTo>
                  <a:pt x="5984" y="589"/>
                  <a:pt x="5984" y="589"/>
                  <a:pt x="5984" y="589"/>
                </a:cubicBezTo>
                <a:cubicBezTo>
                  <a:pt x="5993" y="578"/>
                  <a:pt x="5993" y="578"/>
                  <a:pt x="5993" y="578"/>
                </a:cubicBezTo>
                <a:cubicBezTo>
                  <a:pt x="6010" y="578"/>
                  <a:pt x="6010" y="578"/>
                  <a:pt x="6010" y="578"/>
                </a:cubicBezTo>
                <a:cubicBezTo>
                  <a:pt x="6010" y="578"/>
                  <a:pt x="6028" y="561"/>
                  <a:pt x="6032" y="558"/>
                </a:cubicBezTo>
                <a:cubicBezTo>
                  <a:pt x="6036" y="555"/>
                  <a:pt x="6062" y="553"/>
                  <a:pt x="6062" y="553"/>
                </a:cubicBezTo>
                <a:cubicBezTo>
                  <a:pt x="6094" y="542"/>
                  <a:pt x="6094" y="542"/>
                  <a:pt x="6094" y="542"/>
                </a:cubicBezTo>
                <a:cubicBezTo>
                  <a:pt x="6115" y="537"/>
                  <a:pt x="6115" y="537"/>
                  <a:pt x="6115" y="537"/>
                </a:cubicBezTo>
                <a:cubicBezTo>
                  <a:pt x="6120" y="529"/>
                  <a:pt x="6120" y="529"/>
                  <a:pt x="6120" y="529"/>
                </a:cubicBezTo>
                <a:cubicBezTo>
                  <a:pt x="6120" y="529"/>
                  <a:pt x="6100" y="531"/>
                  <a:pt x="6088" y="531"/>
                </a:cubicBezTo>
                <a:cubicBezTo>
                  <a:pt x="6076" y="531"/>
                  <a:pt x="6068" y="524"/>
                  <a:pt x="6053" y="522"/>
                </a:cubicBezTo>
                <a:cubicBezTo>
                  <a:pt x="6038" y="520"/>
                  <a:pt x="6010" y="520"/>
                  <a:pt x="5996" y="524"/>
                </a:cubicBezTo>
                <a:cubicBezTo>
                  <a:pt x="5982" y="528"/>
                  <a:pt x="5962" y="528"/>
                  <a:pt x="5962" y="528"/>
                </a:cubicBezTo>
                <a:cubicBezTo>
                  <a:pt x="5952" y="537"/>
                  <a:pt x="5952" y="537"/>
                  <a:pt x="5952" y="537"/>
                </a:cubicBezTo>
                <a:cubicBezTo>
                  <a:pt x="5952" y="537"/>
                  <a:pt x="5907" y="541"/>
                  <a:pt x="5914" y="535"/>
                </a:cubicBezTo>
                <a:cubicBezTo>
                  <a:pt x="5921" y="529"/>
                  <a:pt x="5981" y="520"/>
                  <a:pt x="5981" y="520"/>
                </a:cubicBezTo>
                <a:cubicBezTo>
                  <a:pt x="5981" y="520"/>
                  <a:pt x="6041" y="508"/>
                  <a:pt x="6026" y="499"/>
                </a:cubicBezTo>
                <a:cubicBezTo>
                  <a:pt x="6011" y="490"/>
                  <a:pt x="6003" y="490"/>
                  <a:pt x="6003" y="490"/>
                </a:cubicBezTo>
                <a:cubicBezTo>
                  <a:pt x="6003" y="490"/>
                  <a:pt x="5948" y="508"/>
                  <a:pt x="5942" y="511"/>
                </a:cubicBezTo>
                <a:cubicBezTo>
                  <a:pt x="5936" y="514"/>
                  <a:pt x="5910" y="512"/>
                  <a:pt x="5910" y="512"/>
                </a:cubicBezTo>
                <a:cubicBezTo>
                  <a:pt x="5934" y="500"/>
                  <a:pt x="5934" y="500"/>
                  <a:pt x="5934" y="500"/>
                </a:cubicBezTo>
                <a:cubicBezTo>
                  <a:pt x="5948" y="489"/>
                  <a:pt x="5948" y="489"/>
                  <a:pt x="5948" y="489"/>
                </a:cubicBezTo>
                <a:cubicBezTo>
                  <a:pt x="5948" y="489"/>
                  <a:pt x="5972" y="493"/>
                  <a:pt x="5979" y="491"/>
                </a:cubicBezTo>
                <a:cubicBezTo>
                  <a:pt x="5986" y="489"/>
                  <a:pt x="6004" y="485"/>
                  <a:pt x="6012" y="485"/>
                </a:cubicBezTo>
                <a:cubicBezTo>
                  <a:pt x="6020" y="485"/>
                  <a:pt x="6042" y="483"/>
                  <a:pt x="6030" y="477"/>
                </a:cubicBezTo>
                <a:cubicBezTo>
                  <a:pt x="6018" y="471"/>
                  <a:pt x="5980" y="470"/>
                  <a:pt x="5980" y="470"/>
                </a:cubicBezTo>
                <a:cubicBezTo>
                  <a:pt x="5948" y="472"/>
                  <a:pt x="5948" y="472"/>
                  <a:pt x="5948" y="472"/>
                </a:cubicBezTo>
                <a:cubicBezTo>
                  <a:pt x="5964" y="465"/>
                  <a:pt x="5964" y="465"/>
                  <a:pt x="5964" y="465"/>
                </a:cubicBezTo>
                <a:cubicBezTo>
                  <a:pt x="5948" y="455"/>
                  <a:pt x="5948" y="455"/>
                  <a:pt x="5948" y="455"/>
                </a:cubicBezTo>
                <a:cubicBezTo>
                  <a:pt x="5948" y="455"/>
                  <a:pt x="5946" y="446"/>
                  <a:pt x="5950" y="446"/>
                </a:cubicBezTo>
                <a:cubicBezTo>
                  <a:pt x="5954" y="446"/>
                  <a:pt x="5974" y="463"/>
                  <a:pt x="5987" y="464"/>
                </a:cubicBezTo>
                <a:cubicBezTo>
                  <a:pt x="6000" y="465"/>
                  <a:pt x="6041" y="477"/>
                  <a:pt x="6041" y="477"/>
                </a:cubicBezTo>
                <a:cubicBezTo>
                  <a:pt x="6041" y="477"/>
                  <a:pt x="6059" y="469"/>
                  <a:pt x="6060" y="478"/>
                </a:cubicBezTo>
                <a:cubicBezTo>
                  <a:pt x="6061" y="487"/>
                  <a:pt x="6049" y="501"/>
                  <a:pt x="6070" y="507"/>
                </a:cubicBezTo>
                <a:cubicBezTo>
                  <a:pt x="6091" y="513"/>
                  <a:pt x="6114" y="514"/>
                  <a:pt x="6114" y="514"/>
                </a:cubicBezTo>
                <a:cubicBezTo>
                  <a:pt x="6114" y="514"/>
                  <a:pt x="6116" y="499"/>
                  <a:pt x="6120" y="502"/>
                </a:cubicBezTo>
                <a:cubicBezTo>
                  <a:pt x="6124" y="505"/>
                  <a:pt x="6120" y="520"/>
                  <a:pt x="6129" y="520"/>
                </a:cubicBezTo>
                <a:cubicBezTo>
                  <a:pt x="6138" y="520"/>
                  <a:pt x="6150" y="510"/>
                  <a:pt x="6150" y="510"/>
                </a:cubicBezTo>
                <a:cubicBezTo>
                  <a:pt x="6150" y="494"/>
                  <a:pt x="6150" y="494"/>
                  <a:pt x="6150" y="494"/>
                </a:cubicBezTo>
                <a:cubicBezTo>
                  <a:pt x="6144" y="492"/>
                  <a:pt x="6144" y="492"/>
                  <a:pt x="6144" y="492"/>
                </a:cubicBezTo>
                <a:cubicBezTo>
                  <a:pt x="6144" y="492"/>
                  <a:pt x="6158" y="481"/>
                  <a:pt x="6152" y="476"/>
                </a:cubicBezTo>
                <a:cubicBezTo>
                  <a:pt x="6146" y="471"/>
                  <a:pt x="6135" y="477"/>
                  <a:pt x="6135" y="477"/>
                </a:cubicBezTo>
                <a:cubicBezTo>
                  <a:pt x="6129" y="462"/>
                  <a:pt x="6129" y="462"/>
                  <a:pt x="6129" y="462"/>
                </a:cubicBezTo>
                <a:cubicBezTo>
                  <a:pt x="6118" y="459"/>
                  <a:pt x="6118" y="459"/>
                  <a:pt x="6118" y="459"/>
                </a:cubicBezTo>
                <a:cubicBezTo>
                  <a:pt x="6121" y="449"/>
                  <a:pt x="6121" y="449"/>
                  <a:pt x="6121" y="449"/>
                </a:cubicBezTo>
                <a:cubicBezTo>
                  <a:pt x="6073" y="430"/>
                  <a:pt x="6073" y="430"/>
                  <a:pt x="6073" y="430"/>
                </a:cubicBezTo>
                <a:cubicBezTo>
                  <a:pt x="6046" y="437"/>
                  <a:pt x="6046" y="437"/>
                  <a:pt x="6046" y="437"/>
                </a:cubicBezTo>
                <a:cubicBezTo>
                  <a:pt x="6040" y="434"/>
                  <a:pt x="6040" y="434"/>
                  <a:pt x="6040" y="434"/>
                </a:cubicBezTo>
                <a:cubicBezTo>
                  <a:pt x="6062" y="427"/>
                  <a:pt x="6062" y="427"/>
                  <a:pt x="6062" y="427"/>
                </a:cubicBezTo>
                <a:cubicBezTo>
                  <a:pt x="6064" y="424"/>
                  <a:pt x="6064" y="424"/>
                  <a:pt x="6064" y="424"/>
                </a:cubicBezTo>
                <a:cubicBezTo>
                  <a:pt x="6064" y="424"/>
                  <a:pt x="6063" y="415"/>
                  <a:pt x="6046" y="415"/>
                </a:cubicBezTo>
                <a:cubicBezTo>
                  <a:pt x="6029" y="415"/>
                  <a:pt x="5996" y="412"/>
                  <a:pt x="5996" y="412"/>
                </a:cubicBezTo>
                <a:cubicBezTo>
                  <a:pt x="6007" y="398"/>
                  <a:pt x="6007" y="398"/>
                  <a:pt x="6007" y="398"/>
                </a:cubicBezTo>
                <a:cubicBezTo>
                  <a:pt x="6007" y="398"/>
                  <a:pt x="6020" y="396"/>
                  <a:pt x="6030" y="400"/>
                </a:cubicBezTo>
                <a:cubicBezTo>
                  <a:pt x="6040" y="404"/>
                  <a:pt x="6056" y="393"/>
                  <a:pt x="6056" y="393"/>
                </a:cubicBezTo>
                <a:cubicBezTo>
                  <a:pt x="6074" y="390"/>
                  <a:pt x="6074" y="390"/>
                  <a:pt x="6074" y="390"/>
                </a:cubicBezTo>
                <a:cubicBezTo>
                  <a:pt x="6106" y="400"/>
                  <a:pt x="6106" y="400"/>
                  <a:pt x="6106" y="400"/>
                </a:cubicBezTo>
                <a:cubicBezTo>
                  <a:pt x="6120" y="397"/>
                  <a:pt x="6120" y="397"/>
                  <a:pt x="6120" y="397"/>
                </a:cubicBezTo>
                <a:cubicBezTo>
                  <a:pt x="6120" y="397"/>
                  <a:pt x="6146" y="418"/>
                  <a:pt x="6157" y="418"/>
                </a:cubicBezTo>
                <a:cubicBezTo>
                  <a:pt x="6168" y="418"/>
                  <a:pt x="6164" y="404"/>
                  <a:pt x="6164" y="404"/>
                </a:cubicBezTo>
                <a:cubicBezTo>
                  <a:pt x="6138" y="400"/>
                  <a:pt x="6138" y="400"/>
                  <a:pt x="6138" y="400"/>
                </a:cubicBezTo>
                <a:cubicBezTo>
                  <a:pt x="6118" y="390"/>
                  <a:pt x="6118" y="390"/>
                  <a:pt x="6118" y="390"/>
                </a:cubicBezTo>
                <a:cubicBezTo>
                  <a:pt x="6087" y="387"/>
                  <a:pt x="6087" y="387"/>
                  <a:pt x="6087" y="387"/>
                </a:cubicBezTo>
                <a:cubicBezTo>
                  <a:pt x="6087" y="387"/>
                  <a:pt x="6094" y="378"/>
                  <a:pt x="6101" y="375"/>
                </a:cubicBezTo>
                <a:cubicBezTo>
                  <a:pt x="6108" y="372"/>
                  <a:pt x="6125" y="390"/>
                  <a:pt x="6141" y="390"/>
                </a:cubicBezTo>
                <a:cubicBezTo>
                  <a:pt x="6157" y="390"/>
                  <a:pt x="6185" y="391"/>
                  <a:pt x="6185" y="391"/>
                </a:cubicBezTo>
                <a:cubicBezTo>
                  <a:pt x="6227" y="386"/>
                  <a:pt x="6227" y="386"/>
                  <a:pt x="6227" y="386"/>
                </a:cubicBezTo>
                <a:cubicBezTo>
                  <a:pt x="6228" y="368"/>
                  <a:pt x="6228" y="368"/>
                  <a:pt x="6228" y="368"/>
                </a:cubicBezTo>
                <a:cubicBezTo>
                  <a:pt x="6199" y="361"/>
                  <a:pt x="6199" y="361"/>
                  <a:pt x="6199" y="361"/>
                </a:cubicBezTo>
                <a:cubicBezTo>
                  <a:pt x="6184" y="371"/>
                  <a:pt x="6184" y="371"/>
                  <a:pt x="6184" y="371"/>
                </a:cubicBezTo>
                <a:cubicBezTo>
                  <a:pt x="6184" y="371"/>
                  <a:pt x="6170" y="359"/>
                  <a:pt x="6174" y="355"/>
                </a:cubicBezTo>
                <a:cubicBezTo>
                  <a:pt x="6178" y="351"/>
                  <a:pt x="6210" y="354"/>
                  <a:pt x="6210" y="354"/>
                </a:cubicBezTo>
                <a:cubicBezTo>
                  <a:pt x="6239" y="346"/>
                  <a:pt x="6239" y="346"/>
                  <a:pt x="6239" y="346"/>
                </a:cubicBezTo>
                <a:cubicBezTo>
                  <a:pt x="6239" y="346"/>
                  <a:pt x="6256" y="356"/>
                  <a:pt x="6269" y="352"/>
                </a:cubicBezTo>
                <a:cubicBezTo>
                  <a:pt x="6282" y="348"/>
                  <a:pt x="6295" y="339"/>
                  <a:pt x="6290" y="337"/>
                </a:cubicBezTo>
                <a:cubicBezTo>
                  <a:pt x="6285" y="335"/>
                  <a:pt x="6243" y="334"/>
                  <a:pt x="6239" y="334"/>
                </a:cubicBezTo>
                <a:cubicBezTo>
                  <a:pt x="6235" y="334"/>
                  <a:pt x="6243" y="326"/>
                  <a:pt x="6231" y="323"/>
                </a:cubicBezTo>
                <a:cubicBezTo>
                  <a:pt x="6219" y="320"/>
                  <a:pt x="6191" y="321"/>
                  <a:pt x="6191" y="321"/>
                </a:cubicBezTo>
                <a:cubicBezTo>
                  <a:pt x="6191" y="321"/>
                  <a:pt x="6225" y="320"/>
                  <a:pt x="6228" y="314"/>
                </a:cubicBezTo>
                <a:cubicBezTo>
                  <a:pt x="6231" y="308"/>
                  <a:pt x="6192" y="301"/>
                  <a:pt x="6192" y="301"/>
                </a:cubicBezTo>
                <a:cubicBezTo>
                  <a:pt x="6192" y="301"/>
                  <a:pt x="6214" y="296"/>
                  <a:pt x="6221" y="299"/>
                </a:cubicBezTo>
                <a:cubicBezTo>
                  <a:pt x="6228" y="302"/>
                  <a:pt x="6252" y="310"/>
                  <a:pt x="6258" y="308"/>
                </a:cubicBezTo>
                <a:cubicBezTo>
                  <a:pt x="6264" y="306"/>
                  <a:pt x="6266" y="320"/>
                  <a:pt x="6276" y="316"/>
                </a:cubicBezTo>
                <a:cubicBezTo>
                  <a:pt x="6286" y="312"/>
                  <a:pt x="6294" y="294"/>
                  <a:pt x="6287" y="289"/>
                </a:cubicBezTo>
                <a:cubicBezTo>
                  <a:pt x="6280" y="284"/>
                  <a:pt x="6263" y="272"/>
                  <a:pt x="6263" y="272"/>
                </a:cubicBezTo>
                <a:cubicBezTo>
                  <a:pt x="6224" y="264"/>
                  <a:pt x="6224" y="264"/>
                  <a:pt x="6224" y="264"/>
                </a:cubicBezTo>
                <a:cubicBezTo>
                  <a:pt x="6224" y="264"/>
                  <a:pt x="6206" y="256"/>
                  <a:pt x="6213" y="250"/>
                </a:cubicBezTo>
                <a:cubicBezTo>
                  <a:pt x="6220" y="244"/>
                  <a:pt x="6242" y="249"/>
                  <a:pt x="6242" y="249"/>
                </a:cubicBezTo>
                <a:cubicBezTo>
                  <a:pt x="6273" y="242"/>
                  <a:pt x="6273" y="242"/>
                  <a:pt x="6273" y="242"/>
                </a:cubicBezTo>
                <a:cubicBezTo>
                  <a:pt x="6273" y="242"/>
                  <a:pt x="6284" y="244"/>
                  <a:pt x="6316" y="246"/>
                </a:cubicBezTo>
                <a:cubicBezTo>
                  <a:pt x="6348" y="248"/>
                  <a:pt x="6363" y="225"/>
                  <a:pt x="6340" y="223"/>
                </a:cubicBezTo>
                <a:cubicBezTo>
                  <a:pt x="6317" y="221"/>
                  <a:pt x="6283" y="221"/>
                  <a:pt x="6283" y="221"/>
                </a:cubicBezTo>
                <a:cubicBezTo>
                  <a:pt x="6282" y="211"/>
                  <a:pt x="6282" y="211"/>
                  <a:pt x="6282" y="211"/>
                </a:cubicBezTo>
                <a:cubicBezTo>
                  <a:pt x="6302" y="210"/>
                  <a:pt x="6302" y="210"/>
                  <a:pt x="6302" y="210"/>
                </a:cubicBezTo>
                <a:cubicBezTo>
                  <a:pt x="6302" y="210"/>
                  <a:pt x="6296" y="195"/>
                  <a:pt x="6280" y="197"/>
                </a:cubicBezTo>
                <a:cubicBezTo>
                  <a:pt x="6264" y="199"/>
                  <a:pt x="6276" y="215"/>
                  <a:pt x="6267" y="216"/>
                </a:cubicBezTo>
                <a:cubicBezTo>
                  <a:pt x="6258" y="217"/>
                  <a:pt x="6233" y="204"/>
                  <a:pt x="6242" y="201"/>
                </a:cubicBezTo>
                <a:cubicBezTo>
                  <a:pt x="6251" y="198"/>
                  <a:pt x="6275" y="193"/>
                  <a:pt x="6278" y="185"/>
                </a:cubicBezTo>
                <a:cubicBezTo>
                  <a:pt x="6281" y="177"/>
                  <a:pt x="6291" y="165"/>
                  <a:pt x="6294" y="164"/>
                </a:cubicBezTo>
                <a:cubicBezTo>
                  <a:pt x="6297" y="163"/>
                  <a:pt x="6311" y="170"/>
                  <a:pt x="6320" y="165"/>
                </a:cubicBezTo>
                <a:cubicBezTo>
                  <a:pt x="6329" y="160"/>
                  <a:pt x="6342" y="151"/>
                  <a:pt x="6342" y="151"/>
                </a:cubicBezTo>
                <a:cubicBezTo>
                  <a:pt x="6332" y="141"/>
                  <a:pt x="6332" y="141"/>
                  <a:pt x="6332" y="141"/>
                </a:cubicBezTo>
                <a:cubicBezTo>
                  <a:pt x="6332" y="141"/>
                  <a:pt x="6358" y="128"/>
                  <a:pt x="6364" y="128"/>
                </a:cubicBezTo>
                <a:cubicBezTo>
                  <a:pt x="6370" y="128"/>
                  <a:pt x="6380" y="138"/>
                  <a:pt x="6388" y="132"/>
                </a:cubicBezTo>
                <a:cubicBezTo>
                  <a:pt x="6396" y="126"/>
                  <a:pt x="6416" y="122"/>
                  <a:pt x="6404" y="119"/>
                </a:cubicBezTo>
                <a:cubicBezTo>
                  <a:pt x="6392" y="116"/>
                  <a:pt x="6363" y="119"/>
                  <a:pt x="6363" y="119"/>
                </a:cubicBezTo>
                <a:cubicBezTo>
                  <a:pt x="6363" y="119"/>
                  <a:pt x="6308" y="134"/>
                  <a:pt x="6319" y="123"/>
                </a:cubicBezTo>
                <a:cubicBezTo>
                  <a:pt x="6330" y="112"/>
                  <a:pt x="6352" y="111"/>
                  <a:pt x="6352" y="111"/>
                </a:cubicBezTo>
                <a:cubicBezTo>
                  <a:pt x="6352" y="111"/>
                  <a:pt x="6393" y="113"/>
                  <a:pt x="6414" y="112"/>
                </a:cubicBezTo>
                <a:cubicBezTo>
                  <a:pt x="6435" y="111"/>
                  <a:pt x="6451" y="104"/>
                  <a:pt x="6451" y="104"/>
                </a:cubicBezTo>
                <a:cubicBezTo>
                  <a:pt x="6451" y="104"/>
                  <a:pt x="6416" y="95"/>
                  <a:pt x="6410" y="98"/>
                </a:cubicBezTo>
                <a:cubicBezTo>
                  <a:pt x="6404" y="101"/>
                  <a:pt x="6365" y="102"/>
                  <a:pt x="6365" y="102"/>
                </a:cubicBezTo>
                <a:cubicBezTo>
                  <a:pt x="6365" y="102"/>
                  <a:pt x="6318" y="105"/>
                  <a:pt x="6335" y="100"/>
                </a:cubicBezTo>
                <a:cubicBezTo>
                  <a:pt x="6352" y="95"/>
                  <a:pt x="6403" y="94"/>
                  <a:pt x="6403" y="94"/>
                </a:cubicBezTo>
                <a:cubicBezTo>
                  <a:pt x="6403" y="94"/>
                  <a:pt x="6469" y="95"/>
                  <a:pt x="6480" y="92"/>
                </a:cubicBezTo>
                <a:cubicBezTo>
                  <a:pt x="6491" y="89"/>
                  <a:pt x="6500" y="79"/>
                  <a:pt x="6500" y="79"/>
                </a:cubicBezTo>
                <a:cubicBezTo>
                  <a:pt x="6500" y="79"/>
                  <a:pt x="6527" y="80"/>
                  <a:pt x="6544" y="78"/>
                </a:cubicBezTo>
                <a:cubicBezTo>
                  <a:pt x="6561" y="76"/>
                  <a:pt x="6584" y="67"/>
                  <a:pt x="6584" y="67"/>
                </a:cubicBezTo>
                <a:cubicBezTo>
                  <a:pt x="6584" y="67"/>
                  <a:pt x="6558" y="57"/>
                  <a:pt x="6538" y="57"/>
                </a:cubicBezTo>
                <a:cubicBezTo>
                  <a:pt x="6518" y="57"/>
                  <a:pt x="6450" y="51"/>
                  <a:pt x="6445" y="57"/>
                </a:cubicBezTo>
                <a:cubicBezTo>
                  <a:pt x="6440" y="63"/>
                  <a:pt x="6415" y="69"/>
                  <a:pt x="6404" y="69"/>
                </a:cubicBezTo>
                <a:cubicBezTo>
                  <a:pt x="6393" y="69"/>
                  <a:pt x="6348" y="60"/>
                  <a:pt x="6340" y="64"/>
                </a:cubicBezTo>
                <a:cubicBezTo>
                  <a:pt x="6332" y="68"/>
                  <a:pt x="6280" y="83"/>
                  <a:pt x="6274" y="86"/>
                </a:cubicBezTo>
                <a:cubicBezTo>
                  <a:pt x="6268" y="89"/>
                  <a:pt x="6216" y="101"/>
                  <a:pt x="6225" y="94"/>
                </a:cubicBezTo>
                <a:cubicBezTo>
                  <a:pt x="6234" y="87"/>
                  <a:pt x="6308" y="71"/>
                  <a:pt x="6303" y="61"/>
                </a:cubicBezTo>
                <a:cubicBezTo>
                  <a:pt x="6298" y="51"/>
                  <a:pt x="6269" y="48"/>
                  <a:pt x="6258" y="52"/>
                </a:cubicBezTo>
                <a:cubicBezTo>
                  <a:pt x="6247" y="56"/>
                  <a:pt x="6229" y="63"/>
                  <a:pt x="6229" y="63"/>
                </a:cubicBezTo>
                <a:cubicBezTo>
                  <a:pt x="6150" y="73"/>
                  <a:pt x="6150" y="73"/>
                  <a:pt x="6150" y="73"/>
                </a:cubicBezTo>
                <a:cubicBezTo>
                  <a:pt x="6150" y="73"/>
                  <a:pt x="6224" y="55"/>
                  <a:pt x="6206" y="54"/>
                </a:cubicBezTo>
                <a:cubicBezTo>
                  <a:pt x="6188" y="53"/>
                  <a:pt x="6120" y="52"/>
                  <a:pt x="6120" y="52"/>
                </a:cubicBezTo>
                <a:cubicBezTo>
                  <a:pt x="6096" y="57"/>
                  <a:pt x="6096" y="57"/>
                  <a:pt x="6096" y="57"/>
                </a:cubicBezTo>
                <a:cubicBezTo>
                  <a:pt x="6051" y="53"/>
                  <a:pt x="6051" y="53"/>
                  <a:pt x="6051" y="53"/>
                </a:cubicBezTo>
                <a:cubicBezTo>
                  <a:pt x="6051" y="53"/>
                  <a:pt x="6000" y="68"/>
                  <a:pt x="6002" y="61"/>
                </a:cubicBezTo>
                <a:cubicBezTo>
                  <a:pt x="6004" y="54"/>
                  <a:pt x="6064" y="47"/>
                  <a:pt x="6085" y="47"/>
                </a:cubicBezTo>
                <a:cubicBezTo>
                  <a:pt x="6106" y="47"/>
                  <a:pt x="6241" y="45"/>
                  <a:pt x="6250" y="45"/>
                </a:cubicBezTo>
                <a:cubicBezTo>
                  <a:pt x="6259" y="45"/>
                  <a:pt x="6338" y="43"/>
                  <a:pt x="6329" y="35"/>
                </a:cubicBezTo>
                <a:cubicBezTo>
                  <a:pt x="6320" y="27"/>
                  <a:pt x="6270" y="24"/>
                  <a:pt x="6251" y="27"/>
                </a:cubicBezTo>
                <a:cubicBezTo>
                  <a:pt x="6232" y="30"/>
                  <a:pt x="6219" y="29"/>
                  <a:pt x="6219" y="29"/>
                </a:cubicBezTo>
                <a:cubicBezTo>
                  <a:pt x="6219" y="29"/>
                  <a:pt x="6244" y="18"/>
                  <a:pt x="6228" y="17"/>
                </a:cubicBezTo>
                <a:cubicBezTo>
                  <a:pt x="6212" y="16"/>
                  <a:pt x="6185" y="19"/>
                  <a:pt x="6185" y="19"/>
                </a:cubicBezTo>
                <a:cubicBezTo>
                  <a:pt x="6185" y="19"/>
                  <a:pt x="6155" y="18"/>
                  <a:pt x="6148" y="16"/>
                </a:cubicBezTo>
                <a:cubicBezTo>
                  <a:pt x="6141" y="14"/>
                  <a:pt x="6176" y="17"/>
                  <a:pt x="6183" y="10"/>
                </a:cubicBezTo>
                <a:cubicBezTo>
                  <a:pt x="6190" y="3"/>
                  <a:pt x="6147" y="5"/>
                  <a:pt x="6125" y="5"/>
                </a:cubicBezTo>
                <a:cubicBezTo>
                  <a:pt x="6103" y="5"/>
                  <a:pt x="6048" y="8"/>
                  <a:pt x="6048" y="8"/>
                </a:cubicBezTo>
                <a:cubicBezTo>
                  <a:pt x="6048" y="8"/>
                  <a:pt x="6008" y="4"/>
                  <a:pt x="5985" y="2"/>
                </a:cubicBezTo>
                <a:cubicBezTo>
                  <a:pt x="5962" y="0"/>
                  <a:pt x="5939" y="5"/>
                  <a:pt x="5930" y="6"/>
                </a:cubicBezTo>
                <a:cubicBezTo>
                  <a:pt x="5921" y="7"/>
                  <a:pt x="5903" y="7"/>
                  <a:pt x="5881" y="6"/>
                </a:cubicBezTo>
                <a:cubicBezTo>
                  <a:pt x="5859" y="5"/>
                  <a:pt x="5837" y="5"/>
                  <a:pt x="5839" y="10"/>
                </a:cubicBezTo>
                <a:cubicBezTo>
                  <a:pt x="5841" y="15"/>
                  <a:pt x="5870" y="16"/>
                  <a:pt x="5870" y="16"/>
                </a:cubicBezTo>
                <a:cubicBezTo>
                  <a:pt x="5870" y="16"/>
                  <a:pt x="5835" y="21"/>
                  <a:pt x="5822" y="20"/>
                </a:cubicBezTo>
                <a:cubicBezTo>
                  <a:pt x="5809" y="19"/>
                  <a:pt x="5754" y="13"/>
                  <a:pt x="5740" y="11"/>
                </a:cubicBezTo>
                <a:cubicBezTo>
                  <a:pt x="5726" y="9"/>
                  <a:pt x="5688" y="13"/>
                  <a:pt x="5683" y="13"/>
                </a:cubicBezTo>
                <a:cubicBezTo>
                  <a:pt x="5678" y="13"/>
                  <a:pt x="5628" y="19"/>
                  <a:pt x="5649" y="24"/>
                </a:cubicBezTo>
                <a:cubicBezTo>
                  <a:pt x="5670" y="29"/>
                  <a:pt x="5739" y="31"/>
                  <a:pt x="5739" y="31"/>
                </a:cubicBezTo>
                <a:cubicBezTo>
                  <a:pt x="5796" y="38"/>
                  <a:pt x="5796" y="38"/>
                  <a:pt x="5796" y="38"/>
                </a:cubicBezTo>
                <a:cubicBezTo>
                  <a:pt x="5796" y="38"/>
                  <a:pt x="5741" y="40"/>
                  <a:pt x="5733" y="40"/>
                </a:cubicBezTo>
                <a:cubicBezTo>
                  <a:pt x="5725" y="40"/>
                  <a:pt x="5677" y="27"/>
                  <a:pt x="5678" y="31"/>
                </a:cubicBezTo>
                <a:cubicBezTo>
                  <a:pt x="5679" y="35"/>
                  <a:pt x="5699" y="38"/>
                  <a:pt x="5699" y="38"/>
                </a:cubicBezTo>
                <a:cubicBezTo>
                  <a:pt x="5668" y="41"/>
                  <a:pt x="5668" y="41"/>
                  <a:pt x="5668" y="41"/>
                </a:cubicBezTo>
                <a:cubicBezTo>
                  <a:pt x="5668" y="41"/>
                  <a:pt x="5651" y="55"/>
                  <a:pt x="5655" y="59"/>
                </a:cubicBezTo>
                <a:cubicBezTo>
                  <a:pt x="5659" y="63"/>
                  <a:pt x="5631" y="64"/>
                  <a:pt x="5618" y="56"/>
                </a:cubicBezTo>
                <a:cubicBezTo>
                  <a:pt x="5605" y="48"/>
                  <a:pt x="5578" y="42"/>
                  <a:pt x="5552" y="40"/>
                </a:cubicBezTo>
                <a:cubicBezTo>
                  <a:pt x="5526" y="38"/>
                  <a:pt x="5497" y="38"/>
                  <a:pt x="5497" y="38"/>
                </a:cubicBezTo>
                <a:cubicBezTo>
                  <a:pt x="5499" y="58"/>
                  <a:pt x="5499" y="58"/>
                  <a:pt x="5499" y="58"/>
                </a:cubicBezTo>
                <a:cubicBezTo>
                  <a:pt x="5499" y="58"/>
                  <a:pt x="5479" y="61"/>
                  <a:pt x="5466" y="59"/>
                </a:cubicBezTo>
                <a:cubicBezTo>
                  <a:pt x="5453" y="57"/>
                  <a:pt x="5429" y="49"/>
                  <a:pt x="5421" y="51"/>
                </a:cubicBezTo>
                <a:cubicBezTo>
                  <a:pt x="5413" y="53"/>
                  <a:pt x="5395" y="62"/>
                  <a:pt x="5395" y="62"/>
                </a:cubicBezTo>
                <a:cubicBezTo>
                  <a:pt x="5395" y="62"/>
                  <a:pt x="5406" y="44"/>
                  <a:pt x="5393" y="44"/>
                </a:cubicBezTo>
                <a:cubicBezTo>
                  <a:pt x="5380" y="44"/>
                  <a:pt x="5309" y="45"/>
                  <a:pt x="5290" y="48"/>
                </a:cubicBezTo>
                <a:cubicBezTo>
                  <a:pt x="5271" y="51"/>
                  <a:pt x="5238" y="44"/>
                  <a:pt x="5243" y="49"/>
                </a:cubicBezTo>
                <a:cubicBezTo>
                  <a:pt x="5248" y="54"/>
                  <a:pt x="5283" y="71"/>
                  <a:pt x="5283" y="71"/>
                </a:cubicBezTo>
                <a:cubicBezTo>
                  <a:pt x="5283" y="71"/>
                  <a:pt x="5229" y="54"/>
                  <a:pt x="5220" y="54"/>
                </a:cubicBezTo>
                <a:cubicBezTo>
                  <a:pt x="5211" y="54"/>
                  <a:pt x="5184" y="49"/>
                  <a:pt x="5180" y="59"/>
                </a:cubicBezTo>
                <a:cubicBezTo>
                  <a:pt x="5176" y="69"/>
                  <a:pt x="5158" y="80"/>
                  <a:pt x="5145" y="80"/>
                </a:cubicBezTo>
                <a:cubicBezTo>
                  <a:pt x="5132" y="80"/>
                  <a:pt x="5095" y="80"/>
                  <a:pt x="5095" y="80"/>
                </a:cubicBezTo>
                <a:cubicBezTo>
                  <a:pt x="5095" y="80"/>
                  <a:pt x="5021" y="94"/>
                  <a:pt x="5017" y="95"/>
                </a:cubicBezTo>
                <a:cubicBezTo>
                  <a:pt x="5013" y="96"/>
                  <a:pt x="4941" y="106"/>
                  <a:pt x="4952" y="113"/>
                </a:cubicBezTo>
                <a:cubicBezTo>
                  <a:pt x="4963" y="120"/>
                  <a:pt x="5003" y="122"/>
                  <a:pt x="5008" y="121"/>
                </a:cubicBezTo>
                <a:cubicBezTo>
                  <a:pt x="5013" y="120"/>
                  <a:pt x="5028" y="118"/>
                  <a:pt x="5028" y="118"/>
                </a:cubicBezTo>
                <a:cubicBezTo>
                  <a:pt x="5004" y="128"/>
                  <a:pt x="5004" y="128"/>
                  <a:pt x="5004" y="128"/>
                </a:cubicBezTo>
                <a:cubicBezTo>
                  <a:pt x="4993" y="139"/>
                  <a:pt x="4993" y="139"/>
                  <a:pt x="4993" y="139"/>
                </a:cubicBezTo>
                <a:cubicBezTo>
                  <a:pt x="4993" y="139"/>
                  <a:pt x="4946" y="157"/>
                  <a:pt x="4929" y="157"/>
                </a:cubicBezTo>
                <a:cubicBezTo>
                  <a:pt x="4912" y="157"/>
                  <a:pt x="4844" y="157"/>
                  <a:pt x="4830" y="169"/>
                </a:cubicBezTo>
                <a:cubicBezTo>
                  <a:pt x="4816" y="181"/>
                  <a:pt x="4805" y="167"/>
                  <a:pt x="4805" y="167"/>
                </a:cubicBezTo>
                <a:cubicBezTo>
                  <a:pt x="4783" y="176"/>
                  <a:pt x="4783" y="176"/>
                  <a:pt x="4783" y="176"/>
                </a:cubicBezTo>
                <a:cubicBezTo>
                  <a:pt x="4750" y="175"/>
                  <a:pt x="4750" y="175"/>
                  <a:pt x="4750" y="175"/>
                </a:cubicBezTo>
                <a:cubicBezTo>
                  <a:pt x="4750" y="175"/>
                  <a:pt x="4693" y="181"/>
                  <a:pt x="4707" y="191"/>
                </a:cubicBezTo>
                <a:cubicBezTo>
                  <a:pt x="4721" y="201"/>
                  <a:pt x="4744" y="212"/>
                  <a:pt x="4744" y="212"/>
                </a:cubicBezTo>
                <a:cubicBezTo>
                  <a:pt x="4764" y="204"/>
                  <a:pt x="4764" y="204"/>
                  <a:pt x="4764" y="204"/>
                </a:cubicBezTo>
                <a:cubicBezTo>
                  <a:pt x="4764" y="204"/>
                  <a:pt x="4766" y="216"/>
                  <a:pt x="4776" y="219"/>
                </a:cubicBezTo>
                <a:cubicBezTo>
                  <a:pt x="4786" y="222"/>
                  <a:pt x="4809" y="209"/>
                  <a:pt x="4809" y="209"/>
                </a:cubicBezTo>
                <a:cubicBezTo>
                  <a:pt x="4809" y="209"/>
                  <a:pt x="4805" y="220"/>
                  <a:pt x="4815" y="220"/>
                </a:cubicBezTo>
                <a:cubicBezTo>
                  <a:pt x="4825" y="220"/>
                  <a:pt x="4862" y="204"/>
                  <a:pt x="4869" y="209"/>
                </a:cubicBezTo>
                <a:cubicBezTo>
                  <a:pt x="4876" y="214"/>
                  <a:pt x="4874" y="220"/>
                  <a:pt x="4874" y="220"/>
                </a:cubicBezTo>
                <a:cubicBezTo>
                  <a:pt x="4863" y="221"/>
                  <a:pt x="4863" y="221"/>
                  <a:pt x="4863" y="221"/>
                </a:cubicBezTo>
                <a:cubicBezTo>
                  <a:pt x="4863" y="221"/>
                  <a:pt x="4855" y="232"/>
                  <a:pt x="4848" y="232"/>
                </a:cubicBezTo>
                <a:cubicBezTo>
                  <a:pt x="4841" y="232"/>
                  <a:pt x="4845" y="226"/>
                  <a:pt x="4834" y="226"/>
                </a:cubicBezTo>
                <a:cubicBezTo>
                  <a:pt x="4823" y="226"/>
                  <a:pt x="4789" y="231"/>
                  <a:pt x="4789" y="231"/>
                </a:cubicBezTo>
                <a:cubicBezTo>
                  <a:pt x="4762" y="228"/>
                  <a:pt x="4762" y="228"/>
                  <a:pt x="4762" y="228"/>
                </a:cubicBezTo>
                <a:cubicBezTo>
                  <a:pt x="4762" y="228"/>
                  <a:pt x="4724" y="208"/>
                  <a:pt x="4713" y="227"/>
                </a:cubicBezTo>
                <a:cubicBezTo>
                  <a:pt x="4702" y="246"/>
                  <a:pt x="4729" y="252"/>
                  <a:pt x="4737" y="251"/>
                </a:cubicBezTo>
                <a:cubicBezTo>
                  <a:pt x="4745" y="250"/>
                  <a:pt x="4772" y="251"/>
                  <a:pt x="4772" y="251"/>
                </a:cubicBezTo>
                <a:cubicBezTo>
                  <a:pt x="4772" y="251"/>
                  <a:pt x="4729" y="254"/>
                  <a:pt x="4734" y="261"/>
                </a:cubicBezTo>
                <a:cubicBezTo>
                  <a:pt x="4739" y="268"/>
                  <a:pt x="4767" y="274"/>
                  <a:pt x="4767" y="274"/>
                </a:cubicBezTo>
                <a:cubicBezTo>
                  <a:pt x="4791" y="277"/>
                  <a:pt x="4791" y="277"/>
                  <a:pt x="4791" y="277"/>
                </a:cubicBezTo>
                <a:cubicBezTo>
                  <a:pt x="4791" y="277"/>
                  <a:pt x="4792" y="267"/>
                  <a:pt x="4799" y="266"/>
                </a:cubicBezTo>
                <a:cubicBezTo>
                  <a:pt x="4806" y="265"/>
                  <a:pt x="4814" y="276"/>
                  <a:pt x="4814" y="276"/>
                </a:cubicBezTo>
                <a:cubicBezTo>
                  <a:pt x="4837" y="267"/>
                  <a:pt x="4837" y="267"/>
                  <a:pt x="4837" y="267"/>
                </a:cubicBezTo>
                <a:cubicBezTo>
                  <a:pt x="4837" y="267"/>
                  <a:pt x="4841" y="277"/>
                  <a:pt x="4844" y="277"/>
                </a:cubicBezTo>
                <a:cubicBezTo>
                  <a:pt x="4847" y="277"/>
                  <a:pt x="4877" y="263"/>
                  <a:pt x="4886" y="265"/>
                </a:cubicBezTo>
                <a:cubicBezTo>
                  <a:pt x="4895" y="267"/>
                  <a:pt x="4902" y="271"/>
                  <a:pt x="4907" y="271"/>
                </a:cubicBezTo>
                <a:cubicBezTo>
                  <a:pt x="4912" y="271"/>
                  <a:pt x="4923" y="262"/>
                  <a:pt x="4929" y="262"/>
                </a:cubicBezTo>
                <a:cubicBezTo>
                  <a:pt x="4935" y="262"/>
                  <a:pt x="4952" y="273"/>
                  <a:pt x="4952" y="273"/>
                </a:cubicBezTo>
                <a:cubicBezTo>
                  <a:pt x="4952" y="273"/>
                  <a:pt x="4984" y="268"/>
                  <a:pt x="5006" y="274"/>
                </a:cubicBezTo>
                <a:cubicBezTo>
                  <a:pt x="5028" y="280"/>
                  <a:pt x="5032" y="291"/>
                  <a:pt x="5032" y="291"/>
                </a:cubicBezTo>
                <a:cubicBezTo>
                  <a:pt x="5032" y="291"/>
                  <a:pt x="5054" y="286"/>
                  <a:pt x="5054" y="291"/>
                </a:cubicBezTo>
                <a:cubicBezTo>
                  <a:pt x="5054" y="296"/>
                  <a:pt x="5044" y="306"/>
                  <a:pt x="5044" y="306"/>
                </a:cubicBezTo>
                <a:cubicBezTo>
                  <a:pt x="5050" y="315"/>
                  <a:pt x="5050" y="315"/>
                  <a:pt x="5050" y="315"/>
                </a:cubicBezTo>
                <a:cubicBezTo>
                  <a:pt x="5050" y="315"/>
                  <a:pt x="5083" y="321"/>
                  <a:pt x="5083" y="330"/>
                </a:cubicBezTo>
                <a:cubicBezTo>
                  <a:pt x="5083" y="339"/>
                  <a:pt x="5067" y="343"/>
                  <a:pt x="5067" y="343"/>
                </a:cubicBezTo>
                <a:cubicBezTo>
                  <a:pt x="5076" y="359"/>
                  <a:pt x="5076" y="359"/>
                  <a:pt x="5076" y="359"/>
                </a:cubicBezTo>
                <a:cubicBezTo>
                  <a:pt x="5092" y="369"/>
                  <a:pt x="5092" y="369"/>
                  <a:pt x="5092" y="369"/>
                </a:cubicBezTo>
                <a:cubicBezTo>
                  <a:pt x="5078" y="374"/>
                  <a:pt x="5078" y="374"/>
                  <a:pt x="5078" y="374"/>
                </a:cubicBezTo>
                <a:cubicBezTo>
                  <a:pt x="5088" y="387"/>
                  <a:pt x="5088" y="387"/>
                  <a:pt x="5088" y="387"/>
                </a:cubicBezTo>
                <a:cubicBezTo>
                  <a:pt x="5088" y="387"/>
                  <a:pt x="5076" y="386"/>
                  <a:pt x="5076" y="395"/>
                </a:cubicBezTo>
                <a:cubicBezTo>
                  <a:pt x="5076" y="404"/>
                  <a:pt x="5098" y="407"/>
                  <a:pt x="5095" y="412"/>
                </a:cubicBezTo>
                <a:cubicBezTo>
                  <a:pt x="5092" y="417"/>
                  <a:pt x="5073" y="426"/>
                  <a:pt x="5073" y="426"/>
                </a:cubicBezTo>
                <a:cubicBezTo>
                  <a:pt x="5081" y="433"/>
                  <a:pt x="5081" y="433"/>
                  <a:pt x="5081" y="433"/>
                </a:cubicBezTo>
                <a:cubicBezTo>
                  <a:pt x="5081" y="433"/>
                  <a:pt x="5040" y="438"/>
                  <a:pt x="5041" y="441"/>
                </a:cubicBezTo>
                <a:cubicBezTo>
                  <a:pt x="5042" y="444"/>
                  <a:pt x="5050" y="446"/>
                  <a:pt x="5063" y="445"/>
                </a:cubicBezTo>
                <a:cubicBezTo>
                  <a:pt x="5076" y="444"/>
                  <a:pt x="5060" y="455"/>
                  <a:pt x="5060" y="455"/>
                </a:cubicBezTo>
                <a:cubicBezTo>
                  <a:pt x="5060" y="455"/>
                  <a:pt x="5009" y="456"/>
                  <a:pt x="5021" y="465"/>
                </a:cubicBezTo>
                <a:cubicBezTo>
                  <a:pt x="5033" y="474"/>
                  <a:pt x="5046" y="479"/>
                  <a:pt x="5062" y="478"/>
                </a:cubicBezTo>
                <a:cubicBezTo>
                  <a:pt x="5078" y="477"/>
                  <a:pt x="5082" y="467"/>
                  <a:pt x="5082" y="467"/>
                </a:cubicBezTo>
                <a:cubicBezTo>
                  <a:pt x="5082" y="467"/>
                  <a:pt x="5109" y="469"/>
                  <a:pt x="5107" y="460"/>
                </a:cubicBezTo>
                <a:cubicBezTo>
                  <a:pt x="5105" y="451"/>
                  <a:pt x="5112" y="439"/>
                  <a:pt x="5112" y="439"/>
                </a:cubicBezTo>
                <a:cubicBezTo>
                  <a:pt x="5114" y="458"/>
                  <a:pt x="5114" y="458"/>
                  <a:pt x="5114" y="458"/>
                </a:cubicBezTo>
                <a:cubicBezTo>
                  <a:pt x="5131" y="447"/>
                  <a:pt x="5131" y="447"/>
                  <a:pt x="5131" y="447"/>
                </a:cubicBezTo>
                <a:cubicBezTo>
                  <a:pt x="5131" y="447"/>
                  <a:pt x="5123" y="453"/>
                  <a:pt x="5127" y="458"/>
                </a:cubicBezTo>
                <a:cubicBezTo>
                  <a:pt x="5131" y="463"/>
                  <a:pt x="5156" y="465"/>
                  <a:pt x="5156" y="465"/>
                </a:cubicBezTo>
                <a:cubicBezTo>
                  <a:pt x="5147" y="471"/>
                  <a:pt x="5147" y="471"/>
                  <a:pt x="5147" y="471"/>
                </a:cubicBezTo>
                <a:cubicBezTo>
                  <a:pt x="5147" y="471"/>
                  <a:pt x="5141" y="484"/>
                  <a:pt x="5150" y="487"/>
                </a:cubicBezTo>
                <a:cubicBezTo>
                  <a:pt x="5159" y="490"/>
                  <a:pt x="5172" y="504"/>
                  <a:pt x="5166" y="510"/>
                </a:cubicBezTo>
                <a:cubicBezTo>
                  <a:pt x="5160" y="516"/>
                  <a:pt x="5149" y="513"/>
                  <a:pt x="5149" y="513"/>
                </a:cubicBezTo>
                <a:cubicBezTo>
                  <a:pt x="5149" y="519"/>
                  <a:pt x="5149" y="519"/>
                  <a:pt x="5149" y="519"/>
                </a:cubicBezTo>
                <a:cubicBezTo>
                  <a:pt x="5149" y="519"/>
                  <a:pt x="5134" y="518"/>
                  <a:pt x="5125" y="517"/>
                </a:cubicBezTo>
                <a:cubicBezTo>
                  <a:pt x="5116" y="516"/>
                  <a:pt x="5108" y="506"/>
                  <a:pt x="5108" y="506"/>
                </a:cubicBezTo>
                <a:cubicBezTo>
                  <a:pt x="5068" y="505"/>
                  <a:pt x="5068" y="505"/>
                  <a:pt x="5068" y="505"/>
                </a:cubicBezTo>
                <a:cubicBezTo>
                  <a:pt x="5068" y="505"/>
                  <a:pt x="5044" y="483"/>
                  <a:pt x="5038" y="505"/>
                </a:cubicBezTo>
                <a:cubicBezTo>
                  <a:pt x="5036" y="514"/>
                  <a:pt x="5048" y="520"/>
                  <a:pt x="5055" y="521"/>
                </a:cubicBezTo>
                <a:cubicBezTo>
                  <a:pt x="5062" y="522"/>
                  <a:pt x="5067" y="518"/>
                  <a:pt x="5076" y="522"/>
                </a:cubicBezTo>
                <a:cubicBezTo>
                  <a:pt x="5085" y="526"/>
                  <a:pt x="5093" y="540"/>
                  <a:pt x="5108" y="540"/>
                </a:cubicBezTo>
                <a:cubicBezTo>
                  <a:pt x="5123" y="540"/>
                  <a:pt x="5134" y="534"/>
                  <a:pt x="5134" y="534"/>
                </a:cubicBezTo>
                <a:cubicBezTo>
                  <a:pt x="5149" y="542"/>
                  <a:pt x="5149" y="542"/>
                  <a:pt x="5149" y="542"/>
                </a:cubicBezTo>
                <a:cubicBezTo>
                  <a:pt x="5163" y="533"/>
                  <a:pt x="5163" y="533"/>
                  <a:pt x="5163" y="533"/>
                </a:cubicBezTo>
                <a:cubicBezTo>
                  <a:pt x="5160" y="547"/>
                  <a:pt x="5160" y="547"/>
                  <a:pt x="5160" y="547"/>
                </a:cubicBezTo>
                <a:cubicBezTo>
                  <a:pt x="5160" y="547"/>
                  <a:pt x="5145" y="540"/>
                  <a:pt x="5143" y="547"/>
                </a:cubicBezTo>
                <a:cubicBezTo>
                  <a:pt x="5141" y="554"/>
                  <a:pt x="5152" y="561"/>
                  <a:pt x="5152" y="561"/>
                </a:cubicBezTo>
                <a:cubicBezTo>
                  <a:pt x="5152" y="561"/>
                  <a:pt x="5125" y="561"/>
                  <a:pt x="5126" y="566"/>
                </a:cubicBezTo>
                <a:cubicBezTo>
                  <a:pt x="5127" y="571"/>
                  <a:pt x="5147" y="572"/>
                  <a:pt x="5147" y="572"/>
                </a:cubicBezTo>
                <a:cubicBezTo>
                  <a:pt x="5147" y="572"/>
                  <a:pt x="5144" y="581"/>
                  <a:pt x="5139" y="583"/>
                </a:cubicBezTo>
                <a:cubicBezTo>
                  <a:pt x="5134" y="585"/>
                  <a:pt x="5118" y="572"/>
                  <a:pt x="5114" y="578"/>
                </a:cubicBezTo>
                <a:cubicBezTo>
                  <a:pt x="5110" y="584"/>
                  <a:pt x="5120" y="592"/>
                  <a:pt x="5120" y="592"/>
                </a:cubicBezTo>
                <a:cubicBezTo>
                  <a:pt x="5104" y="591"/>
                  <a:pt x="5104" y="591"/>
                  <a:pt x="5104" y="591"/>
                </a:cubicBezTo>
                <a:cubicBezTo>
                  <a:pt x="5109" y="605"/>
                  <a:pt x="5109" y="605"/>
                  <a:pt x="5109" y="605"/>
                </a:cubicBezTo>
                <a:cubicBezTo>
                  <a:pt x="5109" y="605"/>
                  <a:pt x="5088" y="606"/>
                  <a:pt x="5091" y="616"/>
                </a:cubicBezTo>
                <a:cubicBezTo>
                  <a:pt x="5094" y="626"/>
                  <a:pt x="5113" y="628"/>
                  <a:pt x="5113" y="628"/>
                </a:cubicBezTo>
                <a:cubicBezTo>
                  <a:pt x="5113" y="628"/>
                  <a:pt x="5115" y="639"/>
                  <a:pt x="5108" y="639"/>
                </a:cubicBezTo>
                <a:cubicBezTo>
                  <a:pt x="5101" y="639"/>
                  <a:pt x="5106" y="647"/>
                  <a:pt x="5106" y="647"/>
                </a:cubicBezTo>
                <a:cubicBezTo>
                  <a:pt x="5106" y="647"/>
                  <a:pt x="5104" y="649"/>
                  <a:pt x="5101" y="639"/>
                </a:cubicBezTo>
                <a:cubicBezTo>
                  <a:pt x="5098" y="629"/>
                  <a:pt x="5087" y="624"/>
                  <a:pt x="5087" y="624"/>
                </a:cubicBezTo>
                <a:cubicBezTo>
                  <a:pt x="5087" y="624"/>
                  <a:pt x="5070" y="593"/>
                  <a:pt x="5060" y="595"/>
                </a:cubicBezTo>
                <a:cubicBezTo>
                  <a:pt x="5050" y="597"/>
                  <a:pt x="5024" y="609"/>
                  <a:pt x="5038" y="617"/>
                </a:cubicBezTo>
                <a:cubicBezTo>
                  <a:pt x="5052" y="625"/>
                  <a:pt x="5074" y="628"/>
                  <a:pt x="5074" y="628"/>
                </a:cubicBezTo>
                <a:cubicBezTo>
                  <a:pt x="5074" y="628"/>
                  <a:pt x="5057" y="630"/>
                  <a:pt x="5046" y="630"/>
                </a:cubicBezTo>
                <a:cubicBezTo>
                  <a:pt x="5035" y="630"/>
                  <a:pt x="5021" y="625"/>
                  <a:pt x="5013" y="630"/>
                </a:cubicBezTo>
                <a:cubicBezTo>
                  <a:pt x="5005" y="635"/>
                  <a:pt x="4982" y="640"/>
                  <a:pt x="4989" y="643"/>
                </a:cubicBezTo>
                <a:cubicBezTo>
                  <a:pt x="4996" y="646"/>
                  <a:pt x="5037" y="639"/>
                  <a:pt x="5047" y="640"/>
                </a:cubicBezTo>
                <a:cubicBezTo>
                  <a:pt x="5057" y="641"/>
                  <a:pt x="5081" y="643"/>
                  <a:pt x="5081" y="643"/>
                </a:cubicBezTo>
                <a:cubicBezTo>
                  <a:pt x="5081" y="643"/>
                  <a:pt x="5061" y="644"/>
                  <a:pt x="5055" y="644"/>
                </a:cubicBezTo>
                <a:cubicBezTo>
                  <a:pt x="5049" y="644"/>
                  <a:pt x="4983" y="649"/>
                  <a:pt x="4977" y="654"/>
                </a:cubicBezTo>
                <a:cubicBezTo>
                  <a:pt x="4971" y="659"/>
                  <a:pt x="4971" y="663"/>
                  <a:pt x="4987" y="662"/>
                </a:cubicBezTo>
                <a:cubicBezTo>
                  <a:pt x="5003" y="661"/>
                  <a:pt x="5041" y="657"/>
                  <a:pt x="5041" y="657"/>
                </a:cubicBezTo>
                <a:cubicBezTo>
                  <a:pt x="5041" y="657"/>
                  <a:pt x="5068" y="656"/>
                  <a:pt x="5069" y="659"/>
                </a:cubicBezTo>
                <a:cubicBezTo>
                  <a:pt x="5070" y="662"/>
                  <a:pt x="5023" y="664"/>
                  <a:pt x="5023" y="664"/>
                </a:cubicBezTo>
                <a:cubicBezTo>
                  <a:pt x="5023" y="664"/>
                  <a:pt x="4968" y="666"/>
                  <a:pt x="4969" y="668"/>
                </a:cubicBezTo>
                <a:cubicBezTo>
                  <a:pt x="4970" y="670"/>
                  <a:pt x="4979" y="675"/>
                  <a:pt x="4988" y="675"/>
                </a:cubicBezTo>
                <a:cubicBezTo>
                  <a:pt x="4997" y="675"/>
                  <a:pt x="5011" y="682"/>
                  <a:pt x="5011" y="682"/>
                </a:cubicBezTo>
                <a:cubicBezTo>
                  <a:pt x="5011" y="682"/>
                  <a:pt x="4987" y="676"/>
                  <a:pt x="4982" y="682"/>
                </a:cubicBezTo>
                <a:cubicBezTo>
                  <a:pt x="4977" y="688"/>
                  <a:pt x="4982" y="690"/>
                  <a:pt x="4982" y="690"/>
                </a:cubicBezTo>
                <a:cubicBezTo>
                  <a:pt x="4982" y="690"/>
                  <a:pt x="4951" y="699"/>
                  <a:pt x="4955" y="705"/>
                </a:cubicBezTo>
                <a:cubicBezTo>
                  <a:pt x="4980" y="706"/>
                  <a:pt x="4980" y="706"/>
                  <a:pt x="4980" y="706"/>
                </a:cubicBezTo>
                <a:cubicBezTo>
                  <a:pt x="4957" y="716"/>
                  <a:pt x="4957" y="716"/>
                  <a:pt x="4957" y="716"/>
                </a:cubicBezTo>
                <a:cubicBezTo>
                  <a:pt x="4957" y="716"/>
                  <a:pt x="4956" y="729"/>
                  <a:pt x="4966" y="727"/>
                </a:cubicBezTo>
                <a:cubicBezTo>
                  <a:pt x="4976" y="725"/>
                  <a:pt x="4999" y="725"/>
                  <a:pt x="4999" y="725"/>
                </a:cubicBezTo>
                <a:cubicBezTo>
                  <a:pt x="4999" y="725"/>
                  <a:pt x="4960" y="736"/>
                  <a:pt x="4967" y="744"/>
                </a:cubicBezTo>
                <a:cubicBezTo>
                  <a:pt x="4974" y="752"/>
                  <a:pt x="4997" y="740"/>
                  <a:pt x="4997" y="740"/>
                </a:cubicBezTo>
                <a:cubicBezTo>
                  <a:pt x="4997" y="740"/>
                  <a:pt x="4980" y="755"/>
                  <a:pt x="4978" y="762"/>
                </a:cubicBezTo>
                <a:cubicBezTo>
                  <a:pt x="4976" y="769"/>
                  <a:pt x="4973" y="775"/>
                  <a:pt x="4979" y="775"/>
                </a:cubicBezTo>
                <a:cubicBezTo>
                  <a:pt x="4985" y="775"/>
                  <a:pt x="4996" y="767"/>
                  <a:pt x="4996" y="767"/>
                </a:cubicBezTo>
                <a:cubicBezTo>
                  <a:pt x="4996" y="767"/>
                  <a:pt x="4991" y="783"/>
                  <a:pt x="4984" y="783"/>
                </a:cubicBezTo>
                <a:cubicBezTo>
                  <a:pt x="4977" y="783"/>
                  <a:pt x="4962" y="792"/>
                  <a:pt x="4963" y="802"/>
                </a:cubicBezTo>
                <a:cubicBezTo>
                  <a:pt x="4964" y="812"/>
                  <a:pt x="4987" y="793"/>
                  <a:pt x="4987" y="793"/>
                </a:cubicBezTo>
                <a:cubicBezTo>
                  <a:pt x="4987" y="793"/>
                  <a:pt x="5002" y="776"/>
                  <a:pt x="5006" y="780"/>
                </a:cubicBezTo>
                <a:cubicBezTo>
                  <a:pt x="5010" y="784"/>
                  <a:pt x="5034" y="774"/>
                  <a:pt x="5034" y="774"/>
                </a:cubicBezTo>
                <a:cubicBezTo>
                  <a:pt x="5031" y="784"/>
                  <a:pt x="5031" y="784"/>
                  <a:pt x="5031" y="784"/>
                </a:cubicBezTo>
                <a:cubicBezTo>
                  <a:pt x="5045" y="774"/>
                  <a:pt x="5045" y="774"/>
                  <a:pt x="5045" y="774"/>
                </a:cubicBezTo>
                <a:cubicBezTo>
                  <a:pt x="5031" y="791"/>
                  <a:pt x="5031" y="791"/>
                  <a:pt x="5031" y="791"/>
                </a:cubicBezTo>
                <a:cubicBezTo>
                  <a:pt x="5053" y="794"/>
                  <a:pt x="5053" y="794"/>
                  <a:pt x="5053" y="794"/>
                </a:cubicBezTo>
                <a:cubicBezTo>
                  <a:pt x="5053" y="794"/>
                  <a:pt x="5023" y="794"/>
                  <a:pt x="5021" y="798"/>
                </a:cubicBezTo>
                <a:cubicBezTo>
                  <a:pt x="5019" y="802"/>
                  <a:pt x="5028" y="804"/>
                  <a:pt x="5028" y="804"/>
                </a:cubicBezTo>
                <a:cubicBezTo>
                  <a:pt x="5028" y="804"/>
                  <a:pt x="5005" y="809"/>
                  <a:pt x="4999" y="810"/>
                </a:cubicBezTo>
                <a:cubicBezTo>
                  <a:pt x="4993" y="811"/>
                  <a:pt x="5000" y="816"/>
                  <a:pt x="5000" y="816"/>
                </a:cubicBezTo>
                <a:cubicBezTo>
                  <a:pt x="5000" y="816"/>
                  <a:pt x="4976" y="821"/>
                  <a:pt x="4974" y="826"/>
                </a:cubicBezTo>
                <a:cubicBezTo>
                  <a:pt x="4972" y="831"/>
                  <a:pt x="4998" y="829"/>
                  <a:pt x="4998" y="829"/>
                </a:cubicBezTo>
                <a:cubicBezTo>
                  <a:pt x="4998" y="829"/>
                  <a:pt x="4977" y="833"/>
                  <a:pt x="4977" y="836"/>
                </a:cubicBezTo>
                <a:cubicBezTo>
                  <a:pt x="4977" y="839"/>
                  <a:pt x="4997" y="844"/>
                  <a:pt x="4997" y="844"/>
                </a:cubicBezTo>
                <a:cubicBezTo>
                  <a:pt x="4997" y="844"/>
                  <a:pt x="4980" y="844"/>
                  <a:pt x="4979" y="851"/>
                </a:cubicBezTo>
                <a:cubicBezTo>
                  <a:pt x="4978" y="858"/>
                  <a:pt x="5003" y="855"/>
                  <a:pt x="5003" y="855"/>
                </a:cubicBezTo>
                <a:cubicBezTo>
                  <a:pt x="4991" y="870"/>
                  <a:pt x="4991" y="870"/>
                  <a:pt x="4991" y="870"/>
                </a:cubicBezTo>
                <a:cubicBezTo>
                  <a:pt x="5010" y="867"/>
                  <a:pt x="5010" y="867"/>
                  <a:pt x="5010" y="867"/>
                </a:cubicBezTo>
                <a:cubicBezTo>
                  <a:pt x="5010" y="867"/>
                  <a:pt x="4988" y="880"/>
                  <a:pt x="4991" y="891"/>
                </a:cubicBezTo>
                <a:cubicBezTo>
                  <a:pt x="4994" y="902"/>
                  <a:pt x="5017" y="900"/>
                  <a:pt x="5017" y="900"/>
                </a:cubicBezTo>
                <a:cubicBezTo>
                  <a:pt x="5006" y="915"/>
                  <a:pt x="5006" y="915"/>
                  <a:pt x="5006" y="915"/>
                </a:cubicBezTo>
                <a:cubicBezTo>
                  <a:pt x="5027" y="908"/>
                  <a:pt x="5027" y="908"/>
                  <a:pt x="5027" y="908"/>
                </a:cubicBezTo>
                <a:cubicBezTo>
                  <a:pt x="5027" y="908"/>
                  <a:pt x="5012" y="920"/>
                  <a:pt x="5015" y="925"/>
                </a:cubicBezTo>
                <a:cubicBezTo>
                  <a:pt x="5018" y="930"/>
                  <a:pt x="5037" y="931"/>
                  <a:pt x="5037" y="931"/>
                </a:cubicBezTo>
                <a:cubicBezTo>
                  <a:pt x="5037" y="931"/>
                  <a:pt x="5027" y="934"/>
                  <a:pt x="5030" y="940"/>
                </a:cubicBezTo>
                <a:cubicBezTo>
                  <a:pt x="5033" y="946"/>
                  <a:pt x="5044" y="943"/>
                  <a:pt x="5044" y="943"/>
                </a:cubicBezTo>
                <a:cubicBezTo>
                  <a:pt x="5044" y="943"/>
                  <a:pt x="5029" y="955"/>
                  <a:pt x="5032" y="959"/>
                </a:cubicBezTo>
                <a:cubicBezTo>
                  <a:pt x="5035" y="963"/>
                  <a:pt x="5051" y="961"/>
                  <a:pt x="5051" y="961"/>
                </a:cubicBezTo>
                <a:cubicBezTo>
                  <a:pt x="5049" y="969"/>
                  <a:pt x="5049" y="969"/>
                  <a:pt x="5049" y="969"/>
                </a:cubicBezTo>
                <a:cubicBezTo>
                  <a:pt x="5075" y="963"/>
                  <a:pt x="5075" y="963"/>
                  <a:pt x="5075" y="963"/>
                </a:cubicBezTo>
                <a:cubicBezTo>
                  <a:pt x="5075" y="963"/>
                  <a:pt x="5083" y="976"/>
                  <a:pt x="5091" y="969"/>
                </a:cubicBezTo>
                <a:cubicBezTo>
                  <a:pt x="5099" y="962"/>
                  <a:pt x="5124" y="946"/>
                  <a:pt x="5128" y="948"/>
                </a:cubicBezTo>
                <a:cubicBezTo>
                  <a:pt x="5132" y="950"/>
                  <a:pt x="5121" y="958"/>
                  <a:pt x="5121" y="958"/>
                </a:cubicBezTo>
                <a:cubicBezTo>
                  <a:pt x="5136" y="962"/>
                  <a:pt x="5136" y="962"/>
                  <a:pt x="5136" y="962"/>
                </a:cubicBezTo>
                <a:cubicBezTo>
                  <a:pt x="5150" y="955"/>
                  <a:pt x="5150" y="955"/>
                  <a:pt x="5150" y="955"/>
                </a:cubicBezTo>
                <a:cubicBezTo>
                  <a:pt x="5150" y="955"/>
                  <a:pt x="5129" y="968"/>
                  <a:pt x="5124" y="973"/>
                </a:cubicBezTo>
                <a:cubicBezTo>
                  <a:pt x="5119" y="978"/>
                  <a:pt x="5115" y="983"/>
                  <a:pt x="5123" y="983"/>
                </a:cubicBezTo>
                <a:cubicBezTo>
                  <a:pt x="5131" y="983"/>
                  <a:pt x="5158" y="978"/>
                  <a:pt x="5158" y="978"/>
                </a:cubicBezTo>
                <a:cubicBezTo>
                  <a:pt x="5158" y="978"/>
                  <a:pt x="5127" y="994"/>
                  <a:pt x="5136" y="1000"/>
                </a:cubicBezTo>
                <a:cubicBezTo>
                  <a:pt x="5145" y="1006"/>
                  <a:pt x="5164" y="1000"/>
                  <a:pt x="5164" y="1000"/>
                </a:cubicBezTo>
                <a:cubicBezTo>
                  <a:pt x="5164" y="1000"/>
                  <a:pt x="5174" y="1019"/>
                  <a:pt x="5186" y="1012"/>
                </a:cubicBezTo>
                <a:cubicBezTo>
                  <a:pt x="5198" y="1005"/>
                  <a:pt x="5204" y="998"/>
                  <a:pt x="5204" y="998"/>
                </a:cubicBezTo>
                <a:cubicBezTo>
                  <a:pt x="5204" y="998"/>
                  <a:pt x="5199" y="995"/>
                  <a:pt x="5195" y="989"/>
                </a:cubicBezTo>
                <a:cubicBezTo>
                  <a:pt x="5191" y="983"/>
                  <a:pt x="5208" y="990"/>
                  <a:pt x="5213" y="985"/>
                </a:cubicBezTo>
                <a:cubicBezTo>
                  <a:pt x="5218" y="980"/>
                  <a:pt x="5217" y="964"/>
                  <a:pt x="5217" y="964"/>
                </a:cubicBezTo>
                <a:cubicBezTo>
                  <a:pt x="5217" y="964"/>
                  <a:pt x="5239" y="974"/>
                  <a:pt x="5238" y="964"/>
                </a:cubicBezTo>
                <a:cubicBezTo>
                  <a:pt x="5237" y="954"/>
                  <a:pt x="5233" y="948"/>
                  <a:pt x="5233" y="948"/>
                </a:cubicBezTo>
                <a:cubicBezTo>
                  <a:pt x="5233" y="948"/>
                  <a:pt x="5239" y="957"/>
                  <a:pt x="5245" y="958"/>
                </a:cubicBezTo>
                <a:cubicBezTo>
                  <a:pt x="5250" y="958"/>
                  <a:pt x="5255" y="949"/>
                  <a:pt x="5252" y="944"/>
                </a:cubicBezTo>
                <a:cubicBezTo>
                  <a:pt x="5246" y="934"/>
                  <a:pt x="5240" y="931"/>
                  <a:pt x="5240" y="931"/>
                </a:cubicBezTo>
                <a:cubicBezTo>
                  <a:pt x="5240" y="931"/>
                  <a:pt x="5262" y="937"/>
                  <a:pt x="5262" y="933"/>
                </a:cubicBezTo>
                <a:cubicBezTo>
                  <a:pt x="5262" y="929"/>
                  <a:pt x="5257" y="923"/>
                  <a:pt x="5257" y="923"/>
                </a:cubicBezTo>
                <a:cubicBezTo>
                  <a:pt x="5275" y="922"/>
                  <a:pt x="5275" y="922"/>
                  <a:pt x="5275" y="922"/>
                </a:cubicBezTo>
                <a:cubicBezTo>
                  <a:pt x="5267" y="908"/>
                  <a:pt x="5267" y="908"/>
                  <a:pt x="5267" y="908"/>
                </a:cubicBezTo>
                <a:cubicBezTo>
                  <a:pt x="5278" y="903"/>
                  <a:pt x="5278" y="903"/>
                  <a:pt x="5278" y="903"/>
                </a:cubicBezTo>
                <a:cubicBezTo>
                  <a:pt x="5278" y="903"/>
                  <a:pt x="5265" y="894"/>
                  <a:pt x="5262" y="893"/>
                </a:cubicBezTo>
                <a:cubicBezTo>
                  <a:pt x="5259" y="892"/>
                  <a:pt x="5273" y="887"/>
                  <a:pt x="5273" y="887"/>
                </a:cubicBezTo>
                <a:cubicBezTo>
                  <a:pt x="5259" y="873"/>
                  <a:pt x="5259" y="873"/>
                  <a:pt x="5259" y="873"/>
                </a:cubicBezTo>
                <a:cubicBezTo>
                  <a:pt x="5259" y="873"/>
                  <a:pt x="5273" y="885"/>
                  <a:pt x="5277" y="882"/>
                </a:cubicBezTo>
                <a:cubicBezTo>
                  <a:pt x="5281" y="879"/>
                  <a:pt x="5289" y="873"/>
                  <a:pt x="5289" y="873"/>
                </a:cubicBezTo>
                <a:cubicBezTo>
                  <a:pt x="5289" y="873"/>
                  <a:pt x="5305" y="875"/>
                  <a:pt x="5308" y="872"/>
                </a:cubicBezTo>
                <a:cubicBezTo>
                  <a:pt x="5311" y="869"/>
                  <a:pt x="5304" y="859"/>
                  <a:pt x="5304" y="859"/>
                </a:cubicBezTo>
                <a:cubicBezTo>
                  <a:pt x="5318" y="858"/>
                  <a:pt x="5318" y="858"/>
                  <a:pt x="5318" y="858"/>
                </a:cubicBezTo>
                <a:cubicBezTo>
                  <a:pt x="5323" y="841"/>
                  <a:pt x="5323" y="841"/>
                  <a:pt x="5323" y="841"/>
                </a:cubicBezTo>
                <a:cubicBezTo>
                  <a:pt x="5323" y="841"/>
                  <a:pt x="5343" y="848"/>
                  <a:pt x="5349" y="843"/>
                </a:cubicBezTo>
                <a:cubicBezTo>
                  <a:pt x="5355" y="838"/>
                  <a:pt x="5350" y="829"/>
                  <a:pt x="5350" y="829"/>
                </a:cubicBezTo>
                <a:cubicBezTo>
                  <a:pt x="5350" y="829"/>
                  <a:pt x="5357" y="839"/>
                  <a:pt x="5364" y="839"/>
                </a:cubicBezTo>
                <a:cubicBezTo>
                  <a:pt x="5368" y="839"/>
                  <a:pt x="5371" y="830"/>
                  <a:pt x="5373" y="828"/>
                </a:cubicBezTo>
                <a:cubicBezTo>
                  <a:pt x="5378" y="821"/>
                  <a:pt x="5373" y="811"/>
                  <a:pt x="5373" y="811"/>
                </a:cubicBezTo>
                <a:cubicBezTo>
                  <a:pt x="5348" y="807"/>
                  <a:pt x="5348" y="807"/>
                  <a:pt x="5348" y="807"/>
                </a:cubicBezTo>
                <a:cubicBezTo>
                  <a:pt x="5366" y="802"/>
                  <a:pt x="5366" y="802"/>
                  <a:pt x="5366" y="802"/>
                </a:cubicBezTo>
                <a:cubicBezTo>
                  <a:pt x="5386" y="794"/>
                  <a:pt x="5386" y="794"/>
                  <a:pt x="5386" y="794"/>
                </a:cubicBezTo>
                <a:cubicBezTo>
                  <a:pt x="5387" y="780"/>
                  <a:pt x="5387" y="780"/>
                  <a:pt x="5387" y="780"/>
                </a:cubicBezTo>
                <a:cubicBezTo>
                  <a:pt x="5374" y="777"/>
                  <a:pt x="5374" y="777"/>
                  <a:pt x="5374" y="777"/>
                </a:cubicBezTo>
                <a:cubicBezTo>
                  <a:pt x="5379" y="765"/>
                  <a:pt x="5379" y="765"/>
                  <a:pt x="5379" y="765"/>
                </a:cubicBezTo>
                <a:cubicBezTo>
                  <a:pt x="5400" y="765"/>
                  <a:pt x="5400" y="765"/>
                  <a:pt x="5400" y="765"/>
                </a:cubicBezTo>
                <a:cubicBezTo>
                  <a:pt x="5400" y="765"/>
                  <a:pt x="5414" y="769"/>
                  <a:pt x="5421" y="763"/>
                </a:cubicBezTo>
                <a:cubicBezTo>
                  <a:pt x="5428" y="757"/>
                  <a:pt x="5423" y="745"/>
                  <a:pt x="5423" y="745"/>
                </a:cubicBezTo>
                <a:cubicBezTo>
                  <a:pt x="5445" y="741"/>
                  <a:pt x="5445" y="741"/>
                  <a:pt x="5445" y="741"/>
                </a:cubicBezTo>
                <a:cubicBezTo>
                  <a:pt x="5445" y="741"/>
                  <a:pt x="5476" y="747"/>
                  <a:pt x="5484" y="740"/>
                </a:cubicBezTo>
                <a:cubicBezTo>
                  <a:pt x="5492" y="733"/>
                  <a:pt x="5495" y="726"/>
                  <a:pt x="5495" y="726"/>
                </a:cubicBezTo>
                <a:cubicBezTo>
                  <a:pt x="5504" y="721"/>
                  <a:pt x="5504" y="721"/>
                  <a:pt x="5504" y="721"/>
                </a:cubicBezTo>
                <a:cubicBezTo>
                  <a:pt x="5504" y="721"/>
                  <a:pt x="5506" y="710"/>
                  <a:pt x="5517" y="708"/>
                </a:cubicBezTo>
                <a:cubicBezTo>
                  <a:pt x="5528" y="706"/>
                  <a:pt x="5497" y="740"/>
                  <a:pt x="5505" y="740"/>
                </a:cubicBezTo>
                <a:cubicBezTo>
                  <a:pt x="5513" y="740"/>
                  <a:pt x="5521" y="738"/>
                  <a:pt x="5521" y="738"/>
                </a:cubicBezTo>
                <a:cubicBezTo>
                  <a:pt x="5525" y="725"/>
                  <a:pt x="5525" y="725"/>
                  <a:pt x="5525" y="725"/>
                </a:cubicBezTo>
                <a:cubicBezTo>
                  <a:pt x="5534" y="727"/>
                  <a:pt x="5534" y="727"/>
                  <a:pt x="5534" y="727"/>
                </a:cubicBezTo>
                <a:cubicBezTo>
                  <a:pt x="5542" y="718"/>
                  <a:pt x="5542" y="718"/>
                  <a:pt x="5542" y="718"/>
                </a:cubicBezTo>
                <a:cubicBezTo>
                  <a:pt x="5542" y="718"/>
                  <a:pt x="5559" y="733"/>
                  <a:pt x="5571" y="725"/>
                </a:cubicBezTo>
                <a:cubicBezTo>
                  <a:pt x="5583" y="717"/>
                  <a:pt x="5600" y="704"/>
                  <a:pt x="5600" y="704"/>
                </a:cubicBezTo>
                <a:cubicBezTo>
                  <a:pt x="5600" y="704"/>
                  <a:pt x="5616" y="709"/>
                  <a:pt x="5643" y="698"/>
                </a:cubicBezTo>
                <a:cubicBezTo>
                  <a:pt x="5670" y="687"/>
                  <a:pt x="5667" y="670"/>
                  <a:pt x="5685" y="658"/>
                </a:cubicBezTo>
                <a:cubicBezTo>
                  <a:pt x="5703" y="646"/>
                  <a:pt x="5745" y="634"/>
                  <a:pt x="5745" y="634"/>
                </a:cubicBezTo>
                <a:cubicBezTo>
                  <a:pt x="5745" y="634"/>
                  <a:pt x="5748" y="625"/>
                  <a:pt x="5747" y="619"/>
                </a:cubicBezTo>
                <a:cubicBezTo>
                  <a:pt x="5746" y="613"/>
                  <a:pt x="5739" y="601"/>
                  <a:pt x="5746" y="599"/>
                </a:cubicBezTo>
                <a:cubicBezTo>
                  <a:pt x="5753" y="597"/>
                  <a:pt x="5764" y="625"/>
                  <a:pt x="5775" y="625"/>
                </a:cubicBezTo>
                <a:cubicBezTo>
                  <a:pt x="5775" y="625"/>
                  <a:pt x="5817" y="624"/>
                  <a:pt x="5828" y="622"/>
                </a:cubicBezTo>
                <a:cubicBezTo>
                  <a:pt x="5839" y="620"/>
                  <a:pt x="5860" y="609"/>
                  <a:pt x="5883" y="606"/>
                </a:cubicBezTo>
                <a:cubicBezTo>
                  <a:pt x="5906" y="603"/>
                  <a:pt x="5946" y="600"/>
                  <a:pt x="5953" y="598"/>
                </a:cubicBezTo>
                <a:cubicBezTo>
                  <a:pt x="5960" y="596"/>
                  <a:pt x="5966" y="589"/>
                  <a:pt x="5966" y="589"/>
                </a:cubicBezTo>
                <a:close/>
                <a:moveTo>
                  <a:pt x="3460" y="585"/>
                </a:moveTo>
                <a:cubicBezTo>
                  <a:pt x="3479" y="587"/>
                  <a:pt x="3488" y="593"/>
                  <a:pt x="3504" y="601"/>
                </a:cubicBezTo>
                <a:cubicBezTo>
                  <a:pt x="3520" y="609"/>
                  <a:pt x="3574" y="600"/>
                  <a:pt x="3574" y="600"/>
                </a:cubicBezTo>
                <a:cubicBezTo>
                  <a:pt x="3560" y="555"/>
                  <a:pt x="3560" y="555"/>
                  <a:pt x="3560" y="555"/>
                </a:cubicBezTo>
                <a:cubicBezTo>
                  <a:pt x="3494" y="541"/>
                  <a:pt x="3494" y="541"/>
                  <a:pt x="3494" y="541"/>
                </a:cubicBezTo>
                <a:cubicBezTo>
                  <a:pt x="3472" y="566"/>
                  <a:pt x="3472" y="566"/>
                  <a:pt x="3472" y="566"/>
                </a:cubicBezTo>
                <a:cubicBezTo>
                  <a:pt x="3450" y="568"/>
                  <a:pt x="3450" y="568"/>
                  <a:pt x="3450" y="568"/>
                </a:cubicBezTo>
                <a:cubicBezTo>
                  <a:pt x="3450" y="568"/>
                  <a:pt x="3441" y="584"/>
                  <a:pt x="3460" y="585"/>
                </a:cubicBezTo>
                <a:close/>
                <a:moveTo>
                  <a:pt x="5038" y="566"/>
                </a:moveTo>
                <a:cubicBezTo>
                  <a:pt x="5046" y="568"/>
                  <a:pt x="5046" y="568"/>
                  <a:pt x="5046" y="568"/>
                </a:cubicBezTo>
                <a:cubicBezTo>
                  <a:pt x="5046" y="568"/>
                  <a:pt x="5064" y="564"/>
                  <a:pt x="5070" y="564"/>
                </a:cubicBezTo>
                <a:cubicBezTo>
                  <a:pt x="5076" y="564"/>
                  <a:pt x="5090" y="554"/>
                  <a:pt x="5088" y="546"/>
                </a:cubicBezTo>
                <a:cubicBezTo>
                  <a:pt x="5086" y="538"/>
                  <a:pt x="5064" y="534"/>
                  <a:pt x="5064" y="534"/>
                </a:cubicBezTo>
                <a:cubicBezTo>
                  <a:pt x="5064" y="534"/>
                  <a:pt x="5054" y="526"/>
                  <a:pt x="5044" y="526"/>
                </a:cubicBezTo>
                <a:cubicBezTo>
                  <a:pt x="5034" y="526"/>
                  <a:pt x="5030" y="532"/>
                  <a:pt x="5014" y="526"/>
                </a:cubicBezTo>
                <a:cubicBezTo>
                  <a:pt x="5010" y="542"/>
                  <a:pt x="5010" y="542"/>
                  <a:pt x="5010" y="542"/>
                </a:cubicBezTo>
                <a:cubicBezTo>
                  <a:pt x="5010" y="542"/>
                  <a:pt x="5002" y="546"/>
                  <a:pt x="5002" y="552"/>
                </a:cubicBezTo>
                <a:cubicBezTo>
                  <a:pt x="5002" y="558"/>
                  <a:pt x="5014" y="564"/>
                  <a:pt x="5014" y="564"/>
                </a:cubicBezTo>
                <a:cubicBezTo>
                  <a:pt x="5010" y="572"/>
                  <a:pt x="5010" y="572"/>
                  <a:pt x="5010" y="572"/>
                </a:cubicBezTo>
                <a:lnTo>
                  <a:pt x="5038" y="566"/>
                </a:lnTo>
                <a:close/>
                <a:moveTo>
                  <a:pt x="3831" y="723"/>
                </a:moveTo>
                <a:cubicBezTo>
                  <a:pt x="3819" y="725"/>
                  <a:pt x="3809" y="742"/>
                  <a:pt x="3828" y="742"/>
                </a:cubicBezTo>
                <a:cubicBezTo>
                  <a:pt x="3839" y="742"/>
                  <a:pt x="3844" y="721"/>
                  <a:pt x="3831" y="723"/>
                </a:cubicBezTo>
                <a:close/>
                <a:moveTo>
                  <a:pt x="1600" y="1098"/>
                </a:moveTo>
                <a:cubicBezTo>
                  <a:pt x="1600" y="1098"/>
                  <a:pt x="1575" y="1105"/>
                  <a:pt x="1576" y="1112"/>
                </a:cubicBezTo>
                <a:cubicBezTo>
                  <a:pt x="1577" y="1119"/>
                  <a:pt x="1586" y="1129"/>
                  <a:pt x="1586" y="1129"/>
                </a:cubicBezTo>
                <a:cubicBezTo>
                  <a:pt x="1597" y="1133"/>
                  <a:pt x="1614" y="1125"/>
                  <a:pt x="1614" y="1115"/>
                </a:cubicBezTo>
                <a:cubicBezTo>
                  <a:pt x="1614" y="1105"/>
                  <a:pt x="1600" y="1098"/>
                  <a:pt x="1600" y="1098"/>
                </a:cubicBezTo>
                <a:close/>
                <a:moveTo>
                  <a:pt x="1573" y="1465"/>
                </a:moveTo>
                <a:cubicBezTo>
                  <a:pt x="1561" y="1464"/>
                  <a:pt x="1541" y="1476"/>
                  <a:pt x="1546" y="1484"/>
                </a:cubicBezTo>
                <a:cubicBezTo>
                  <a:pt x="1551" y="1492"/>
                  <a:pt x="1560" y="1490"/>
                  <a:pt x="1560" y="1490"/>
                </a:cubicBezTo>
                <a:cubicBezTo>
                  <a:pt x="1569" y="1484"/>
                  <a:pt x="1569" y="1484"/>
                  <a:pt x="1569" y="1484"/>
                </a:cubicBezTo>
                <a:cubicBezTo>
                  <a:pt x="1576" y="1489"/>
                  <a:pt x="1576" y="1489"/>
                  <a:pt x="1576" y="1489"/>
                </a:cubicBezTo>
                <a:cubicBezTo>
                  <a:pt x="1570" y="1496"/>
                  <a:pt x="1570" y="1496"/>
                  <a:pt x="1570" y="1496"/>
                </a:cubicBezTo>
                <a:cubicBezTo>
                  <a:pt x="1570" y="1496"/>
                  <a:pt x="1541" y="1501"/>
                  <a:pt x="1549" y="1510"/>
                </a:cubicBezTo>
                <a:cubicBezTo>
                  <a:pt x="1557" y="1519"/>
                  <a:pt x="1572" y="1510"/>
                  <a:pt x="1572" y="1510"/>
                </a:cubicBezTo>
                <a:cubicBezTo>
                  <a:pt x="1567" y="1525"/>
                  <a:pt x="1567" y="1525"/>
                  <a:pt x="1567" y="1525"/>
                </a:cubicBezTo>
                <a:cubicBezTo>
                  <a:pt x="1582" y="1524"/>
                  <a:pt x="1582" y="1524"/>
                  <a:pt x="1582" y="1524"/>
                </a:cubicBezTo>
                <a:cubicBezTo>
                  <a:pt x="1568" y="1535"/>
                  <a:pt x="1568" y="1535"/>
                  <a:pt x="1568" y="1535"/>
                </a:cubicBezTo>
                <a:cubicBezTo>
                  <a:pt x="1594" y="1533"/>
                  <a:pt x="1594" y="1533"/>
                  <a:pt x="1594" y="1533"/>
                </a:cubicBezTo>
                <a:cubicBezTo>
                  <a:pt x="1594" y="1533"/>
                  <a:pt x="1567" y="1544"/>
                  <a:pt x="1573" y="1549"/>
                </a:cubicBezTo>
                <a:cubicBezTo>
                  <a:pt x="1579" y="1554"/>
                  <a:pt x="1591" y="1533"/>
                  <a:pt x="1597" y="1544"/>
                </a:cubicBezTo>
                <a:cubicBezTo>
                  <a:pt x="1603" y="1555"/>
                  <a:pt x="1581" y="1559"/>
                  <a:pt x="1587" y="1566"/>
                </a:cubicBezTo>
                <a:cubicBezTo>
                  <a:pt x="1593" y="1573"/>
                  <a:pt x="1619" y="1568"/>
                  <a:pt x="1619" y="1568"/>
                </a:cubicBezTo>
                <a:cubicBezTo>
                  <a:pt x="1632" y="1560"/>
                  <a:pt x="1632" y="1560"/>
                  <a:pt x="1632" y="1560"/>
                </a:cubicBezTo>
                <a:cubicBezTo>
                  <a:pt x="1620" y="1574"/>
                  <a:pt x="1620" y="1574"/>
                  <a:pt x="1620" y="1574"/>
                </a:cubicBezTo>
                <a:cubicBezTo>
                  <a:pt x="1620" y="1574"/>
                  <a:pt x="1595" y="1574"/>
                  <a:pt x="1606" y="1583"/>
                </a:cubicBezTo>
                <a:cubicBezTo>
                  <a:pt x="1617" y="1592"/>
                  <a:pt x="1626" y="1592"/>
                  <a:pt x="1626" y="1592"/>
                </a:cubicBezTo>
                <a:cubicBezTo>
                  <a:pt x="1626" y="1592"/>
                  <a:pt x="1650" y="1609"/>
                  <a:pt x="1662" y="1599"/>
                </a:cubicBezTo>
                <a:cubicBezTo>
                  <a:pt x="1674" y="1589"/>
                  <a:pt x="1683" y="1581"/>
                  <a:pt x="1674" y="1570"/>
                </a:cubicBezTo>
                <a:cubicBezTo>
                  <a:pt x="1665" y="1559"/>
                  <a:pt x="1648" y="1548"/>
                  <a:pt x="1648" y="1548"/>
                </a:cubicBezTo>
                <a:cubicBezTo>
                  <a:pt x="1648" y="1548"/>
                  <a:pt x="1645" y="1534"/>
                  <a:pt x="1646" y="1527"/>
                </a:cubicBezTo>
                <a:cubicBezTo>
                  <a:pt x="1647" y="1520"/>
                  <a:pt x="1652" y="1508"/>
                  <a:pt x="1644" y="1498"/>
                </a:cubicBezTo>
                <a:cubicBezTo>
                  <a:pt x="1644" y="1498"/>
                  <a:pt x="1618" y="1494"/>
                  <a:pt x="1609" y="1492"/>
                </a:cubicBezTo>
                <a:cubicBezTo>
                  <a:pt x="1600" y="1490"/>
                  <a:pt x="1585" y="1466"/>
                  <a:pt x="1573" y="1465"/>
                </a:cubicBezTo>
                <a:close/>
                <a:moveTo>
                  <a:pt x="1638" y="1472"/>
                </a:moveTo>
                <a:cubicBezTo>
                  <a:pt x="1628" y="1469"/>
                  <a:pt x="1629" y="1486"/>
                  <a:pt x="1629" y="1486"/>
                </a:cubicBezTo>
                <a:cubicBezTo>
                  <a:pt x="1637" y="1486"/>
                  <a:pt x="1648" y="1475"/>
                  <a:pt x="1638" y="1472"/>
                </a:cubicBezTo>
                <a:close/>
                <a:moveTo>
                  <a:pt x="1625" y="1384"/>
                </a:moveTo>
                <a:cubicBezTo>
                  <a:pt x="1623" y="1367"/>
                  <a:pt x="1623" y="1367"/>
                  <a:pt x="1623" y="1367"/>
                </a:cubicBezTo>
                <a:cubicBezTo>
                  <a:pt x="1623" y="1367"/>
                  <a:pt x="1591" y="1364"/>
                  <a:pt x="1591" y="1373"/>
                </a:cubicBezTo>
                <a:cubicBezTo>
                  <a:pt x="1591" y="1382"/>
                  <a:pt x="1608" y="1379"/>
                  <a:pt x="1608" y="1379"/>
                </a:cubicBezTo>
                <a:cubicBezTo>
                  <a:pt x="1606" y="1396"/>
                  <a:pt x="1606" y="1396"/>
                  <a:pt x="1606" y="1396"/>
                </a:cubicBezTo>
                <a:lnTo>
                  <a:pt x="1625" y="1384"/>
                </a:lnTo>
                <a:close/>
                <a:moveTo>
                  <a:pt x="1582" y="1336"/>
                </a:moveTo>
                <a:cubicBezTo>
                  <a:pt x="1584" y="1351"/>
                  <a:pt x="1595" y="1357"/>
                  <a:pt x="1595" y="1357"/>
                </a:cubicBezTo>
                <a:cubicBezTo>
                  <a:pt x="1603" y="1336"/>
                  <a:pt x="1603" y="1336"/>
                  <a:pt x="1603" y="1336"/>
                </a:cubicBezTo>
                <a:cubicBezTo>
                  <a:pt x="1603" y="1336"/>
                  <a:pt x="1580" y="1321"/>
                  <a:pt x="1582" y="1336"/>
                </a:cubicBezTo>
                <a:close/>
                <a:moveTo>
                  <a:pt x="1573" y="1224"/>
                </a:moveTo>
                <a:cubicBezTo>
                  <a:pt x="1569" y="1226"/>
                  <a:pt x="1563" y="1237"/>
                  <a:pt x="1568" y="1246"/>
                </a:cubicBezTo>
                <a:cubicBezTo>
                  <a:pt x="1573" y="1255"/>
                  <a:pt x="1572" y="1273"/>
                  <a:pt x="1572" y="1273"/>
                </a:cubicBezTo>
                <a:cubicBezTo>
                  <a:pt x="1572" y="1273"/>
                  <a:pt x="1586" y="1265"/>
                  <a:pt x="1594" y="1256"/>
                </a:cubicBezTo>
                <a:cubicBezTo>
                  <a:pt x="1602" y="1247"/>
                  <a:pt x="1590" y="1235"/>
                  <a:pt x="1590" y="1235"/>
                </a:cubicBezTo>
                <a:cubicBezTo>
                  <a:pt x="1590" y="1235"/>
                  <a:pt x="1600" y="1234"/>
                  <a:pt x="1609" y="1224"/>
                </a:cubicBezTo>
                <a:cubicBezTo>
                  <a:pt x="1618" y="1214"/>
                  <a:pt x="1594" y="1196"/>
                  <a:pt x="1594" y="1196"/>
                </a:cubicBezTo>
                <a:cubicBezTo>
                  <a:pt x="1581" y="1205"/>
                  <a:pt x="1581" y="1205"/>
                  <a:pt x="1581" y="1205"/>
                </a:cubicBezTo>
                <a:cubicBezTo>
                  <a:pt x="1581" y="1205"/>
                  <a:pt x="1587" y="1211"/>
                  <a:pt x="1591" y="1212"/>
                </a:cubicBezTo>
                <a:cubicBezTo>
                  <a:pt x="1595" y="1213"/>
                  <a:pt x="1577" y="1222"/>
                  <a:pt x="1573" y="1224"/>
                </a:cubicBezTo>
                <a:close/>
                <a:moveTo>
                  <a:pt x="1636" y="1101"/>
                </a:moveTo>
                <a:cubicBezTo>
                  <a:pt x="1628" y="1108"/>
                  <a:pt x="1614" y="1124"/>
                  <a:pt x="1614" y="1124"/>
                </a:cubicBezTo>
                <a:cubicBezTo>
                  <a:pt x="1602" y="1148"/>
                  <a:pt x="1602" y="1148"/>
                  <a:pt x="1602" y="1148"/>
                </a:cubicBezTo>
                <a:cubicBezTo>
                  <a:pt x="1602" y="1148"/>
                  <a:pt x="1623" y="1144"/>
                  <a:pt x="1633" y="1135"/>
                </a:cubicBezTo>
                <a:cubicBezTo>
                  <a:pt x="1643" y="1126"/>
                  <a:pt x="1640" y="1117"/>
                  <a:pt x="1640" y="1117"/>
                </a:cubicBezTo>
                <a:cubicBezTo>
                  <a:pt x="1650" y="1107"/>
                  <a:pt x="1650" y="1107"/>
                  <a:pt x="1650" y="1107"/>
                </a:cubicBezTo>
                <a:cubicBezTo>
                  <a:pt x="1650" y="1107"/>
                  <a:pt x="1644" y="1094"/>
                  <a:pt x="1636" y="1101"/>
                </a:cubicBezTo>
                <a:close/>
                <a:moveTo>
                  <a:pt x="1614" y="1326"/>
                </a:moveTo>
                <a:cubicBezTo>
                  <a:pt x="1607" y="1344"/>
                  <a:pt x="1607" y="1344"/>
                  <a:pt x="1607" y="1344"/>
                </a:cubicBezTo>
                <a:cubicBezTo>
                  <a:pt x="1609" y="1356"/>
                  <a:pt x="1609" y="1356"/>
                  <a:pt x="1609" y="1356"/>
                </a:cubicBezTo>
                <a:cubicBezTo>
                  <a:pt x="1625" y="1346"/>
                  <a:pt x="1625" y="1346"/>
                  <a:pt x="1625" y="1346"/>
                </a:cubicBezTo>
                <a:lnTo>
                  <a:pt x="1614" y="1326"/>
                </a:lnTo>
                <a:close/>
                <a:moveTo>
                  <a:pt x="4282" y="982"/>
                </a:moveTo>
                <a:cubicBezTo>
                  <a:pt x="4259" y="984"/>
                  <a:pt x="4259" y="984"/>
                  <a:pt x="4259" y="984"/>
                </a:cubicBezTo>
                <a:cubicBezTo>
                  <a:pt x="4283" y="1000"/>
                  <a:pt x="4283" y="1000"/>
                  <a:pt x="4283" y="1000"/>
                </a:cubicBezTo>
                <a:cubicBezTo>
                  <a:pt x="4302" y="991"/>
                  <a:pt x="4282" y="982"/>
                  <a:pt x="4282" y="982"/>
                </a:cubicBezTo>
                <a:close/>
                <a:moveTo>
                  <a:pt x="4428" y="931"/>
                </a:moveTo>
                <a:cubicBezTo>
                  <a:pt x="4428" y="931"/>
                  <a:pt x="4406" y="926"/>
                  <a:pt x="4403" y="935"/>
                </a:cubicBezTo>
                <a:cubicBezTo>
                  <a:pt x="4403" y="935"/>
                  <a:pt x="4414" y="949"/>
                  <a:pt x="4425" y="942"/>
                </a:cubicBezTo>
                <a:cubicBezTo>
                  <a:pt x="4435" y="934"/>
                  <a:pt x="4428" y="931"/>
                  <a:pt x="4428" y="931"/>
                </a:cubicBezTo>
                <a:close/>
                <a:moveTo>
                  <a:pt x="1487" y="1399"/>
                </a:moveTo>
                <a:cubicBezTo>
                  <a:pt x="1487" y="1399"/>
                  <a:pt x="1482" y="1411"/>
                  <a:pt x="1498" y="1410"/>
                </a:cubicBezTo>
                <a:cubicBezTo>
                  <a:pt x="1509" y="1409"/>
                  <a:pt x="1498" y="1392"/>
                  <a:pt x="1495" y="1385"/>
                </a:cubicBezTo>
                <a:cubicBezTo>
                  <a:pt x="1492" y="1378"/>
                  <a:pt x="1500" y="1372"/>
                  <a:pt x="1505" y="1369"/>
                </a:cubicBezTo>
                <a:cubicBezTo>
                  <a:pt x="1510" y="1366"/>
                  <a:pt x="1518" y="1357"/>
                  <a:pt x="1516" y="1353"/>
                </a:cubicBezTo>
                <a:cubicBezTo>
                  <a:pt x="1516" y="1353"/>
                  <a:pt x="1514" y="1342"/>
                  <a:pt x="1520" y="1337"/>
                </a:cubicBezTo>
                <a:cubicBezTo>
                  <a:pt x="1526" y="1332"/>
                  <a:pt x="1537" y="1321"/>
                  <a:pt x="1546" y="1316"/>
                </a:cubicBezTo>
                <a:cubicBezTo>
                  <a:pt x="1555" y="1311"/>
                  <a:pt x="1568" y="1305"/>
                  <a:pt x="1564" y="1304"/>
                </a:cubicBezTo>
                <a:cubicBezTo>
                  <a:pt x="1560" y="1303"/>
                  <a:pt x="1544" y="1307"/>
                  <a:pt x="1538" y="1310"/>
                </a:cubicBezTo>
                <a:cubicBezTo>
                  <a:pt x="1532" y="1313"/>
                  <a:pt x="1527" y="1328"/>
                  <a:pt x="1517" y="1328"/>
                </a:cubicBezTo>
                <a:cubicBezTo>
                  <a:pt x="1507" y="1328"/>
                  <a:pt x="1506" y="1320"/>
                  <a:pt x="1516" y="1320"/>
                </a:cubicBezTo>
                <a:cubicBezTo>
                  <a:pt x="1526" y="1320"/>
                  <a:pt x="1544" y="1307"/>
                  <a:pt x="1530" y="1308"/>
                </a:cubicBezTo>
                <a:cubicBezTo>
                  <a:pt x="1516" y="1309"/>
                  <a:pt x="1514" y="1312"/>
                  <a:pt x="1514" y="1312"/>
                </a:cubicBezTo>
                <a:cubicBezTo>
                  <a:pt x="1514" y="1312"/>
                  <a:pt x="1517" y="1298"/>
                  <a:pt x="1506" y="1302"/>
                </a:cubicBezTo>
                <a:cubicBezTo>
                  <a:pt x="1495" y="1306"/>
                  <a:pt x="1493" y="1319"/>
                  <a:pt x="1493" y="1319"/>
                </a:cubicBezTo>
                <a:cubicBezTo>
                  <a:pt x="1485" y="1337"/>
                  <a:pt x="1485" y="1337"/>
                  <a:pt x="1485" y="1337"/>
                </a:cubicBezTo>
                <a:cubicBezTo>
                  <a:pt x="1485" y="1337"/>
                  <a:pt x="1482" y="1349"/>
                  <a:pt x="1485" y="1350"/>
                </a:cubicBezTo>
                <a:cubicBezTo>
                  <a:pt x="1488" y="1351"/>
                  <a:pt x="1491" y="1360"/>
                  <a:pt x="1491" y="1360"/>
                </a:cubicBezTo>
                <a:cubicBezTo>
                  <a:pt x="1482" y="1364"/>
                  <a:pt x="1482" y="1364"/>
                  <a:pt x="1482" y="1364"/>
                </a:cubicBezTo>
                <a:lnTo>
                  <a:pt x="1487" y="1399"/>
                </a:lnTo>
                <a:close/>
                <a:moveTo>
                  <a:pt x="3982" y="842"/>
                </a:moveTo>
                <a:cubicBezTo>
                  <a:pt x="3959" y="854"/>
                  <a:pt x="3991" y="862"/>
                  <a:pt x="3991" y="862"/>
                </a:cubicBezTo>
                <a:cubicBezTo>
                  <a:pt x="4014" y="849"/>
                  <a:pt x="4006" y="829"/>
                  <a:pt x="3982" y="842"/>
                </a:cubicBezTo>
                <a:close/>
                <a:moveTo>
                  <a:pt x="3698" y="1210"/>
                </a:moveTo>
                <a:cubicBezTo>
                  <a:pt x="3730" y="1209"/>
                  <a:pt x="3741" y="1183"/>
                  <a:pt x="3710" y="1183"/>
                </a:cubicBezTo>
                <a:cubicBezTo>
                  <a:pt x="3678" y="1184"/>
                  <a:pt x="3698" y="1210"/>
                  <a:pt x="3698" y="1210"/>
                </a:cubicBezTo>
                <a:close/>
                <a:moveTo>
                  <a:pt x="3875" y="899"/>
                </a:moveTo>
                <a:cubicBezTo>
                  <a:pt x="3834" y="912"/>
                  <a:pt x="3875" y="926"/>
                  <a:pt x="3875" y="926"/>
                </a:cubicBezTo>
                <a:cubicBezTo>
                  <a:pt x="3897" y="910"/>
                  <a:pt x="3916" y="885"/>
                  <a:pt x="3875" y="899"/>
                </a:cubicBezTo>
                <a:close/>
                <a:moveTo>
                  <a:pt x="3938" y="838"/>
                </a:moveTo>
                <a:cubicBezTo>
                  <a:pt x="3938" y="838"/>
                  <a:pt x="3915" y="835"/>
                  <a:pt x="3905" y="827"/>
                </a:cubicBezTo>
                <a:cubicBezTo>
                  <a:pt x="3895" y="819"/>
                  <a:pt x="3900" y="798"/>
                  <a:pt x="3900" y="798"/>
                </a:cubicBezTo>
                <a:cubicBezTo>
                  <a:pt x="3879" y="782"/>
                  <a:pt x="3879" y="782"/>
                  <a:pt x="3879" y="782"/>
                </a:cubicBezTo>
                <a:cubicBezTo>
                  <a:pt x="3852" y="785"/>
                  <a:pt x="3852" y="785"/>
                  <a:pt x="3852" y="785"/>
                </a:cubicBezTo>
                <a:cubicBezTo>
                  <a:pt x="3848" y="776"/>
                  <a:pt x="3848" y="776"/>
                  <a:pt x="3848" y="776"/>
                </a:cubicBezTo>
                <a:cubicBezTo>
                  <a:pt x="3835" y="754"/>
                  <a:pt x="3835" y="754"/>
                  <a:pt x="3835" y="754"/>
                </a:cubicBezTo>
                <a:cubicBezTo>
                  <a:pt x="3812" y="758"/>
                  <a:pt x="3812" y="758"/>
                  <a:pt x="3812" y="758"/>
                </a:cubicBezTo>
                <a:cubicBezTo>
                  <a:pt x="3799" y="751"/>
                  <a:pt x="3799" y="751"/>
                  <a:pt x="3799" y="751"/>
                </a:cubicBezTo>
                <a:cubicBezTo>
                  <a:pt x="3811" y="740"/>
                  <a:pt x="3811" y="740"/>
                  <a:pt x="3811" y="740"/>
                </a:cubicBezTo>
                <a:cubicBezTo>
                  <a:pt x="3809" y="723"/>
                  <a:pt x="3809" y="723"/>
                  <a:pt x="3809" y="723"/>
                </a:cubicBezTo>
                <a:cubicBezTo>
                  <a:pt x="3775" y="741"/>
                  <a:pt x="3775" y="741"/>
                  <a:pt x="3775" y="741"/>
                </a:cubicBezTo>
                <a:cubicBezTo>
                  <a:pt x="3758" y="749"/>
                  <a:pt x="3758" y="749"/>
                  <a:pt x="3758" y="749"/>
                </a:cubicBezTo>
                <a:cubicBezTo>
                  <a:pt x="3739" y="777"/>
                  <a:pt x="3739" y="777"/>
                  <a:pt x="3739" y="777"/>
                </a:cubicBezTo>
                <a:cubicBezTo>
                  <a:pt x="3739" y="777"/>
                  <a:pt x="3708" y="784"/>
                  <a:pt x="3706" y="790"/>
                </a:cubicBezTo>
                <a:cubicBezTo>
                  <a:pt x="3704" y="796"/>
                  <a:pt x="3716" y="803"/>
                  <a:pt x="3706" y="806"/>
                </a:cubicBezTo>
                <a:cubicBezTo>
                  <a:pt x="3697" y="810"/>
                  <a:pt x="3668" y="820"/>
                  <a:pt x="3668" y="820"/>
                </a:cubicBezTo>
                <a:cubicBezTo>
                  <a:pt x="3685" y="828"/>
                  <a:pt x="3685" y="828"/>
                  <a:pt x="3685" y="828"/>
                </a:cubicBezTo>
                <a:cubicBezTo>
                  <a:pt x="3685" y="828"/>
                  <a:pt x="3712" y="824"/>
                  <a:pt x="3713" y="827"/>
                </a:cubicBezTo>
                <a:cubicBezTo>
                  <a:pt x="3713" y="830"/>
                  <a:pt x="3707" y="835"/>
                  <a:pt x="3707" y="846"/>
                </a:cubicBezTo>
                <a:cubicBezTo>
                  <a:pt x="3707" y="857"/>
                  <a:pt x="3750" y="858"/>
                  <a:pt x="3769" y="848"/>
                </a:cubicBezTo>
                <a:cubicBezTo>
                  <a:pt x="3788" y="839"/>
                  <a:pt x="3778" y="821"/>
                  <a:pt x="3806" y="822"/>
                </a:cubicBezTo>
                <a:cubicBezTo>
                  <a:pt x="3833" y="822"/>
                  <a:pt x="3837" y="831"/>
                  <a:pt x="3837" y="831"/>
                </a:cubicBezTo>
                <a:cubicBezTo>
                  <a:pt x="3868" y="836"/>
                  <a:pt x="3868" y="836"/>
                  <a:pt x="3868" y="836"/>
                </a:cubicBezTo>
                <a:cubicBezTo>
                  <a:pt x="3872" y="847"/>
                  <a:pt x="3872" y="847"/>
                  <a:pt x="3872" y="847"/>
                </a:cubicBezTo>
                <a:cubicBezTo>
                  <a:pt x="3934" y="851"/>
                  <a:pt x="3934" y="851"/>
                  <a:pt x="3934" y="851"/>
                </a:cubicBezTo>
                <a:lnTo>
                  <a:pt x="3938" y="838"/>
                </a:lnTo>
                <a:close/>
                <a:moveTo>
                  <a:pt x="3767" y="885"/>
                </a:moveTo>
                <a:cubicBezTo>
                  <a:pt x="3712" y="935"/>
                  <a:pt x="3802" y="899"/>
                  <a:pt x="3802" y="899"/>
                </a:cubicBezTo>
                <a:cubicBezTo>
                  <a:pt x="3848" y="856"/>
                  <a:pt x="3821" y="834"/>
                  <a:pt x="3767" y="885"/>
                </a:cubicBezTo>
                <a:close/>
                <a:moveTo>
                  <a:pt x="4240" y="874"/>
                </a:moveTo>
                <a:cubicBezTo>
                  <a:pt x="4228" y="875"/>
                  <a:pt x="4229" y="891"/>
                  <a:pt x="4243" y="891"/>
                </a:cubicBezTo>
                <a:cubicBezTo>
                  <a:pt x="4267" y="891"/>
                  <a:pt x="4253" y="872"/>
                  <a:pt x="4240" y="874"/>
                </a:cubicBezTo>
                <a:close/>
                <a:moveTo>
                  <a:pt x="1646" y="1241"/>
                </a:moveTo>
                <a:cubicBezTo>
                  <a:pt x="1652" y="1228"/>
                  <a:pt x="1637" y="1213"/>
                  <a:pt x="1627" y="1223"/>
                </a:cubicBezTo>
                <a:cubicBezTo>
                  <a:pt x="1617" y="1233"/>
                  <a:pt x="1611" y="1263"/>
                  <a:pt x="1611" y="1263"/>
                </a:cubicBezTo>
                <a:cubicBezTo>
                  <a:pt x="1611" y="1263"/>
                  <a:pt x="1624" y="1252"/>
                  <a:pt x="1629" y="1252"/>
                </a:cubicBezTo>
                <a:cubicBezTo>
                  <a:pt x="1634" y="1252"/>
                  <a:pt x="1640" y="1254"/>
                  <a:pt x="1646" y="1241"/>
                </a:cubicBezTo>
                <a:close/>
                <a:moveTo>
                  <a:pt x="1638" y="1161"/>
                </a:moveTo>
                <a:cubicBezTo>
                  <a:pt x="1620" y="1158"/>
                  <a:pt x="1620" y="1158"/>
                  <a:pt x="1620" y="1158"/>
                </a:cubicBezTo>
                <a:cubicBezTo>
                  <a:pt x="1620" y="1158"/>
                  <a:pt x="1595" y="1176"/>
                  <a:pt x="1598" y="1183"/>
                </a:cubicBezTo>
                <a:cubicBezTo>
                  <a:pt x="1604" y="1197"/>
                  <a:pt x="1624" y="1175"/>
                  <a:pt x="1624" y="1175"/>
                </a:cubicBezTo>
                <a:cubicBezTo>
                  <a:pt x="1639" y="1171"/>
                  <a:pt x="1639" y="1171"/>
                  <a:pt x="1639" y="1171"/>
                </a:cubicBezTo>
                <a:lnTo>
                  <a:pt x="1638" y="1161"/>
                </a:lnTo>
                <a:close/>
                <a:moveTo>
                  <a:pt x="1553" y="1272"/>
                </a:moveTo>
                <a:cubicBezTo>
                  <a:pt x="1559" y="1247"/>
                  <a:pt x="1559" y="1247"/>
                  <a:pt x="1559" y="1247"/>
                </a:cubicBezTo>
                <a:cubicBezTo>
                  <a:pt x="1548" y="1252"/>
                  <a:pt x="1548" y="1252"/>
                  <a:pt x="1548" y="1252"/>
                </a:cubicBezTo>
                <a:cubicBezTo>
                  <a:pt x="1544" y="1271"/>
                  <a:pt x="1544" y="1271"/>
                  <a:pt x="1544" y="1271"/>
                </a:cubicBezTo>
                <a:lnTo>
                  <a:pt x="1553" y="1272"/>
                </a:lnTo>
                <a:close/>
                <a:moveTo>
                  <a:pt x="1558" y="1149"/>
                </a:moveTo>
                <a:cubicBezTo>
                  <a:pt x="1557" y="1155"/>
                  <a:pt x="1550" y="1168"/>
                  <a:pt x="1550" y="1168"/>
                </a:cubicBezTo>
                <a:cubicBezTo>
                  <a:pt x="1549" y="1177"/>
                  <a:pt x="1549" y="1177"/>
                  <a:pt x="1549" y="1177"/>
                </a:cubicBezTo>
                <a:cubicBezTo>
                  <a:pt x="1549" y="1177"/>
                  <a:pt x="1541" y="1181"/>
                  <a:pt x="1540" y="1188"/>
                </a:cubicBezTo>
                <a:cubicBezTo>
                  <a:pt x="1539" y="1195"/>
                  <a:pt x="1546" y="1199"/>
                  <a:pt x="1546" y="1199"/>
                </a:cubicBezTo>
                <a:cubicBezTo>
                  <a:pt x="1546" y="1199"/>
                  <a:pt x="1559" y="1179"/>
                  <a:pt x="1576" y="1166"/>
                </a:cubicBezTo>
                <a:cubicBezTo>
                  <a:pt x="1593" y="1153"/>
                  <a:pt x="1590" y="1138"/>
                  <a:pt x="1583" y="1135"/>
                </a:cubicBezTo>
                <a:cubicBezTo>
                  <a:pt x="1576" y="1132"/>
                  <a:pt x="1559" y="1143"/>
                  <a:pt x="1558" y="1149"/>
                </a:cubicBezTo>
                <a:close/>
                <a:moveTo>
                  <a:pt x="4429" y="4263"/>
                </a:moveTo>
                <a:cubicBezTo>
                  <a:pt x="4438" y="4234"/>
                  <a:pt x="4438" y="4234"/>
                  <a:pt x="4438" y="4234"/>
                </a:cubicBezTo>
                <a:cubicBezTo>
                  <a:pt x="4438" y="4234"/>
                  <a:pt x="4445" y="4220"/>
                  <a:pt x="4444" y="4207"/>
                </a:cubicBezTo>
                <a:cubicBezTo>
                  <a:pt x="4443" y="4194"/>
                  <a:pt x="4423" y="4199"/>
                  <a:pt x="4412" y="4199"/>
                </a:cubicBezTo>
                <a:cubicBezTo>
                  <a:pt x="4412" y="4199"/>
                  <a:pt x="4396" y="4208"/>
                  <a:pt x="4389" y="4207"/>
                </a:cubicBezTo>
                <a:cubicBezTo>
                  <a:pt x="4383" y="4206"/>
                  <a:pt x="4355" y="4199"/>
                  <a:pt x="4345" y="4201"/>
                </a:cubicBezTo>
                <a:cubicBezTo>
                  <a:pt x="4335" y="4203"/>
                  <a:pt x="4346" y="4226"/>
                  <a:pt x="4346" y="4226"/>
                </a:cubicBezTo>
                <a:cubicBezTo>
                  <a:pt x="4335" y="4228"/>
                  <a:pt x="4335" y="4228"/>
                  <a:pt x="4335" y="4228"/>
                </a:cubicBezTo>
                <a:cubicBezTo>
                  <a:pt x="4335" y="4244"/>
                  <a:pt x="4335" y="4244"/>
                  <a:pt x="4335" y="4244"/>
                </a:cubicBezTo>
                <a:cubicBezTo>
                  <a:pt x="4349" y="4250"/>
                  <a:pt x="4349" y="4250"/>
                  <a:pt x="4349" y="4250"/>
                </a:cubicBezTo>
                <a:cubicBezTo>
                  <a:pt x="4339" y="4258"/>
                  <a:pt x="4339" y="4258"/>
                  <a:pt x="4339" y="4258"/>
                </a:cubicBezTo>
                <a:cubicBezTo>
                  <a:pt x="4339" y="4258"/>
                  <a:pt x="4342" y="4274"/>
                  <a:pt x="4348" y="4284"/>
                </a:cubicBezTo>
                <a:cubicBezTo>
                  <a:pt x="4355" y="4294"/>
                  <a:pt x="4375" y="4288"/>
                  <a:pt x="4382" y="4288"/>
                </a:cubicBezTo>
                <a:cubicBezTo>
                  <a:pt x="4388" y="4288"/>
                  <a:pt x="4387" y="4280"/>
                  <a:pt x="4387" y="4280"/>
                </a:cubicBezTo>
                <a:cubicBezTo>
                  <a:pt x="4387" y="4280"/>
                  <a:pt x="4400" y="4276"/>
                  <a:pt x="4411" y="4276"/>
                </a:cubicBezTo>
                <a:cubicBezTo>
                  <a:pt x="4422" y="4276"/>
                  <a:pt x="4429" y="4263"/>
                  <a:pt x="4429" y="4263"/>
                </a:cubicBezTo>
                <a:close/>
                <a:moveTo>
                  <a:pt x="4330" y="4191"/>
                </a:moveTo>
                <a:cubicBezTo>
                  <a:pt x="4317" y="4207"/>
                  <a:pt x="4317" y="4207"/>
                  <a:pt x="4317" y="4207"/>
                </a:cubicBezTo>
                <a:cubicBezTo>
                  <a:pt x="4328" y="4212"/>
                  <a:pt x="4328" y="4212"/>
                  <a:pt x="4328" y="4212"/>
                </a:cubicBezTo>
                <a:cubicBezTo>
                  <a:pt x="4339" y="4195"/>
                  <a:pt x="4339" y="4195"/>
                  <a:pt x="4339" y="4195"/>
                </a:cubicBezTo>
                <a:lnTo>
                  <a:pt x="4330" y="4191"/>
                </a:lnTo>
                <a:close/>
                <a:moveTo>
                  <a:pt x="4367" y="4178"/>
                </a:moveTo>
                <a:cubicBezTo>
                  <a:pt x="4353" y="4179"/>
                  <a:pt x="4353" y="4179"/>
                  <a:pt x="4353" y="4179"/>
                </a:cubicBezTo>
                <a:cubicBezTo>
                  <a:pt x="4352" y="4190"/>
                  <a:pt x="4352" y="4190"/>
                  <a:pt x="4352" y="4190"/>
                </a:cubicBezTo>
                <a:cubicBezTo>
                  <a:pt x="4374" y="4191"/>
                  <a:pt x="4374" y="4191"/>
                  <a:pt x="4374" y="4191"/>
                </a:cubicBezTo>
                <a:cubicBezTo>
                  <a:pt x="4386" y="4174"/>
                  <a:pt x="4386" y="4174"/>
                  <a:pt x="4386" y="4174"/>
                </a:cubicBezTo>
                <a:cubicBezTo>
                  <a:pt x="4377" y="4163"/>
                  <a:pt x="4377" y="4163"/>
                  <a:pt x="4377" y="4163"/>
                </a:cubicBezTo>
                <a:lnTo>
                  <a:pt x="4367" y="4178"/>
                </a:lnTo>
                <a:close/>
                <a:moveTo>
                  <a:pt x="4402" y="4194"/>
                </a:moveTo>
                <a:cubicBezTo>
                  <a:pt x="4390" y="4183"/>
                  <a:pt x="4390" y="4183"/>
                  <a:pt x="4390" y="4183"/>
                </a:cubicBezTo>
                <a:cubicBezTo>
                  <a:pt x="4375" y="4200"/>
                  <a:pt x="4375" y="4200"/>
                  <a:pt x="4375" y="4200"/>
                </a:cubicBezTo>
                <a:cubicBezTo>
                  <a:pt x="4387" y="4199"/>
                  <a:pt x="4387" y="4199"/>
                  <a:pt x="4387" y="4199"/>
                </a:cubicBezTo>
                <a:lnTo>
                  <a:pt x="4402" y="4194"/>
                </a:lnTo>
                <a:close/>
                <a:moveTo>
                  <a:pt x="3763" y="6942"/>
                </a:moveTo>
                <a:cubicBezTo>
                  <a:pt x="3766" y="6925"/>
                  <a:pt x="3766" y="6925"/>
                  <a:pt x="3766" y="6925"/>
                </a:cubicBezTo>
                <a:cubicBezTo>
                  <a:pt x="3763" y="6900"/>
                  <a:pt x="3763" y="6900"/>
                  <a:pt x="3763" y="6900"/>
                </a:cubicBezTo>
                <a:cubicBezTo>
                  <a:pt x="3752" y="6896"/>
                  <a:pt x="3752" y="6896"/>
                  <a:pt x="3752" y="6896"/>
                </a:cubicBezTo>
                <a:cubicBezTo>
                  <a:pt x="3752" y="6907"/>
                  <a:pt x="3752" y="6907"/>
                  <a:pt x="3752" y="6907"/>
                </a:cubicBezTo>
                <a:cubicBezTo>
                  <a:pt x="3730" y="6903"/>
                  <a:pt x="3730" y="6903"/>
                  <a:pt x="3730" y="6903"/>
                </a:cubicBezTo>
                <a:cubicBezTo>
                  <a:pt x="3747" y="6926"/>
                  <a:pt x="3747" y="6926"/>
                  <a:pt x="3747" y="6926"/>
                </a:cubicBezTo>
                <a:cubicBezTo>
                  <a:pt x="3743" y="6955"/>
                  <a:pt x="3743" y="6955"/>
                  <a:pt x="3743" y="6955"/>
                </a:cubicBezTo>
                <a:lnTo>
                  <a:pt x="3763" y="6942"/>
                </a:lnTo>
                <a:close/>
                <a:moveTo>
                  <a:pt x="4098" y="7134"/>
                </a:moveTo>
                <a:cubicBezTo>
                  <a:pt x="4104" y="7128"/>
                  <a:pt x="4104" y="7128"/>
                  <a:pt x="4104" y="7128"/>
                </a:cubicBezTo>
                <a:cubicBezTo>
                  <a:pt x="4077" y="7125"/>
                  <a:pt x="4077" y="7125"/>
                  <a:pt x="4077" y="7125"/>
                </a:cubicBezTo>
                <a:cubicBezTo>
                  <a:pt x="4053" y="7125"/>
                  <a:pt x="4053" y="7125"/>
                  <a:pt x="4053" y="7125"/>
                </a:cubicBezTo>
                <a:cubicBezTo>
                  <a:pt x="4062" y="7149"/>
                  <a:pt x="4062" y="7149"/>
                  <a:pt x="4062" y="7149"/>
                </a:cubicBezTo>
                <a:cubicBezTo>
                  <a:pt x="4085" y="7151"/>
                  <a:pt x="4085" y="7151"/>
                  <a:pt x="4085" y="7151"/>
                </a:cubicBezTo>
                <a:cubicBezTo>
                  <a:pt x="4079" y="7141"/>
                  <a:pt x="4079" y="7141"/>
                  <a:pt x="4079" y="7141"/>
                </a:cubicBezTo>
                <a:cubicBezTo>
                  <a:pt x="4085" y="7137"/>
                  <a:pt x="4085" y="7137"/>
                  <a:pt x="4085" y="7137"/>
                </a:cubicBezTo>
                <a:cubicBezTo>
                  <a:pt x="4092" y="7147"/>
                  <a:pt x="4092" y="7147"/>
                  <a:pt x="4092" y="7147"/>
                </a:cubicBezTo>
                <a:cubicBezTo>
                  <a:pt x="4123" y="7147"/>
                  <a:pt x="4123" y="7147"/>
                  <a:pt x="4123" y="7147"/>
                </a:cubicBezTo>
                <a:cubicBezTo>
                  <a:pt x="4133" y="7159"/>
                  <a:pt x="4133" y="7159"/>
                  <a:pt x="4133" y="7159"/>
                </a:cubicBezTo>
                <a:cubicBezTo>
                  <a:pt x="4146" y="7159"/>
                  <a:pt x="4146" y="7159"/>
                  <a:pt x="4146" y="7159"/>
                </a:cubicBezTo>
                <a:cubicBezTo>
                  <a:pt x="4126" y="7138"/>
                  <a:pt x="4126" y="7138"/>
                  <a:pt x="4126" y="7138"/>
                </a:cubicBezTo>
                <a:lnTo>
                  <a:pt x="4098" y="7134"/>
                </a:lnTo>
                <a:close/>
                <a:moveTo>
                  <a:pt x="3867" y="6985"/>
                </a:moveTo>
                <a:cubicBezTo>
                  <a:pt x="3867" y="6985"/>
                  <a:pt x="3841" y="6972"/>
                  <a:pt x="3838" y="6984"/>
                </a:cubicBezTo>
                <a:cubicBezTo>
                  <a:pt x="3835" y="6996"/>
                  <a:pt x="3831" y="7011"/>
                  <a:pt x="3835" y="7011"/>
                </a:cubicBezTo>
                <a:cubicBezTo>
                  <a:pt x="3840" y="7011"/>
                  <a:pt x="3857" y="7004"/>
                  <a:pt x="3857" y="7004"/>
                </a:cubicBezTo>
                <a:cubicBezTo>
                  <a:pt x="3859" y="7020"/>
                  <a:pt x="3859" y="7020"/>
                  <a:pt x="3859" y="7020"/>
                </a:cubicBezTo>
                <a:cubicBezTo>
                  <a:pt x="3880" y="7010"/>
                  <a:pt x="3880" y="7010"/>
                  <a:pt x="3880" y="7010"/>
                </a:cubicBezTo>
                <a:cubicBezTo>
                  <a:pt x="3869" y="7000"/>
                  <a:pt x="3869" y="7000"/>
                  <a:pt x="3869" y="7000"/>
                </a:cubicBezTo>
                <a:cubicBezTo>
                  <a:pt x="3873" y="6988"/>
                  <a:pt x="3873" y="6988"/>
                  <a:pt x="3873" y="6988"/>
                </a:cubicBezTo>
                <a:lnTo>
                  <a:pt x="3867" y="6985"/>
                </a:lnTo>
                <a:close/>
                <a:moveTo>
                  <a:pt x="3994" y="7061"/>
                </a:moveTo>
                <a:cubicBezTo>
                  <a:pt x="3986" y="7072"/>
                  <a:pt x="3986" y="7072"/>
                  <a:pt x="3986" y="7072"/>
                </a:cubicBezTo>
                <a:cubicBezTo>
                  <a:pt x="3990" y="7092"/>
                  <a:pt x="3990" y="7092"/>
                  <a:pt x="3990" y="7092"/>
                </a:cubicBezTo>
                <a:cubicBezTo>
                  <a:pt x="4006" y="7086"/>
                  <a:pt x="4006" y="7086"/>
                  <a:pt x="4006" y="7086"/>
                </a:cubicBezTo>
                <a:lnTo>
                  <a:pt x="3994" y="7061"/>
                </a:lnTo>
                <a:close/>
                <a:moveTo>
                  <a:pt x="3997" y="7104"/>
                </a:moveTo>
                <a:cubicBezTo>
                  <a:pt x="3955" y="7099"/>
                  <a:pt x="3955" y="7099"/>
                  <a:pt x="3955" y="7099"/>
                </a:cubicBezTo>
                <a:cubicBezTo>
                  <a:pt x="3960" y="7111"/>
                  <a:pt x="3960" y="7111"/>
                  <a:pt x="3960" y="7111"/>
                </a:cubicBezTo>
                <a:cubicBezTo>
                  <a:pt x="3987" y="7110"/>
                  <a:pt x="3987" y="7110"/>
                  <a:pt x="3987" y="7110"/>
                </a:cubicBezTo>
                <a:cubicBezTo>
                  <a:pt x="3997" y="7124"/>
                  <a:pt x="3997" y="7124"/>
                  <a:pt x="3997" y="7124"/>
                </a:cubicBezTo>
                <a:cubicBezTo>
                  <a:pt x="4035" y="7140"/>
                  <a:pt x="4035" y="7140"/>
                  <a:pt x="4035" y="7140"/>
                </a:cubicBezTo>
                <a:cubicBezTo>
                  <a:pt x="4012" y="7120"/>
                  <a:pt x="4012" y="7120"/>
                  <a:pt x="4012" y="7120"/>
                </a:cubicBezTo>
                <a:lnTo>
                  <a:pt x="3997" y="7104"/>
                </a:lnTo>
                <a:close/>
                <a:moveTo>
                  <a:pt x="3975" y="7091"/>
                </a:moveTo>
                <a:cubicBezTo>
                  <a:pt x="3973" y="7079"/>
                  <a:pt x="3973" y="7079"/>
                  <a:pt x="3973" y="7079"/>
                </a:cubicBezTo>
                <a:cubicBezTo>
                  <a:pt x="3939" y="7071"/>
                  <a:pt x="3939" y="7071"/>
                  <a:pt x="3939" y="7071"/>
                </a:cubicBezTo>
                <a:cubicBezTo>
                  <a:pt x="3931" y="7082"/>
                  <a:pt x="3931" y="7082"/>
                  <a:pt x="3931" y="7082"/>
                </a:cubicBezTo>
                <a:cubicBezTo>
                  <a:pt x="3932" y="7095"/>
                  <a:pt x="3932" y="7095"/>
                  <a:pt x="3932" y="7095"/>
                </a:cubicBezTo>
                <a:cubicBezTo>
                  <a:pt x="3955" y="7086"/>
                  <a:pt x="3955" y="7086"/>
                  <a:pt x="3955" y="7086"/>
                </a:cubicBezTo>
                <a:lnTo>
                  <a:pt x="3975" y="7091"/>
                </a:lnTo>
                <a:close/>
                <a:moveTo>
                  <a:pt x="4085" y="7040"/>
                </a:moveTo>
                <a:cubicBezTo>
                  <a:pt x="4062" y="7040"/>
                  <a:pt x="4062" y="7040"/>
                  <a:pt x="4062" y="7040"/>
                </a:cubicBezTo>
                <a:cubicBezTo>
                  <a:pt x="4066" y="7029"/>
                  <a:pt x="4066" y="7029"/>
                  <a:pt x="4066" y="7029"/>
                </a:cubicBezTo>
                <a:cubicBezTo>
                  <a:pt x="4040" y="7003"/>
                  <a:pt x="4040" y="7003"/>
                  <a:pt x="4040" y="7003"/>
                </a:cubicBezTo>
                <a:cubicBezTo>
                  <a:pt x="4019" y="7009"/>
                  <a:pt x="4019" y="7009"/>
                  <a:pt x="4019" y="7009"/>
                </a:cubicBezTo>
                <a:cubicBezTo>
                  <a:pt x="4010" y="7001"/>
                  <a:pt x="4010" y="7001"/>
                  <a:pt x="4010" y="7001"/>
                </a:cubicBezTo>
                <a:cubicBezTo>
                  <a:pt x="4003" y="7013"/>
                  <a:pt x="4003" y="7013"/>
                  <a:pt x="4003" y="7013"/>
                </a:cubicBezTo>
                <a:cubicBezTo>
                  <a:pt x="3990" y="7016"/>
                  <a:pt x="3990" y="7016"/>
                  <a:pt x="3990" y="7016"/>
                </a:cubicBezTo>
                <a:cubicBezTo>
                  <a:pt x="3991" y="7027"/>
                  <a:pt x="3991" y="7027"/>
                  <a:pt x="3991" y="7027"/>
                </a:cubicBezTo>
                <a:cubicBezTo>
                  <a:pt x="3980" y="7029"/>
                  <a:pt x="3980" y="7029"/>
                  <a:pt x="3980" y="7029"/>
                </a:cubicBezTo>
                <a:cubicBezTo>
                  <a:pt x="3981" y="7047"/>
                  <a:pt x="3981" y="7047"/>
                  <a:pt x="3981" y="7047"/>
                </a:cubicBezTo>
                <a:cubicBezTo>
                  <a:pt x="3994" y="7060"/>
                  <a:pt x="4017" y="7037"/>
                  <a:pt x="4017" y="7037"/>
                </a:cubicBezTo>
                <a:cubicBezTo>
                  <a:pt x="4032" y="7043"/>
                  <a:pt x="4032" y="7043"/>
                  <a:pt x="4032" y="7043"/>
                </a:cubicBezTo>
                <a:cubicBezTo>
                  <a:pt x="4032" y="7056"/>
                  <a:pt x="4032" y="7056"/>
                  <a:pt x="4032" y="7056"/>
                </a:cubicBezTo>
                <a:cubicBezTo>
                  <a:pt x="4032" y="7056"/>
                  <a:pt x="4001" y="7071"/>
                  <a:pt x="4012" y="7075"/>
                </a:cubicBezTo>
                <a:cubicBezTo>
                  <a:pt x="4022" y="7079"/>
                  <a:pt x="4075" y="7097"/>
                  <a:pt x="4075" y="7097"/>
                </a:cubicBezTo>
                <a:cubicBezTo>
                  <a:pt x="4065" y="7111"/>
                  <a:pt x="4065" y="7111"/>
                  <a:pt x="4065" y="7111"/>
                </a:cubicBezTo>
                <a:cubicBezTo>
                  <a:pt x="4065" y="7111"/>
                  <a:pt x="4062" y="7098"/>
                  <a:pt x="4052" y="7098"/>
                </a:cubicBezTo>
                <a:cubicBezTo>
                  <a:pt x="4042" y="7098"/>
                  <a:pt x="4039" y="7105"/>
                  <a:pt x="4039" y="7105"/>
                </a:cubicBezTo>
                <a:cubicBezTo>
                  <a:pt x="4027" y="7091"/>
                  <a:pt x="4027" y="7091"/>
                  <a:pt x="4027" y="7091"/>
                </a:cubicBezTo>
                <a:cubicBezTo>
                  <a:pt x="4016" y="7095"/>
                  <a:pt x="4016" y="7095"/>
                  <a:pt x="4016" y="7095"/>
                </a:cubicBezTo>
                <a:cubicBezTo>
                  <a:pt x="4025" y="7102"/>
                  <a:pt x="4025" y="7102"/>
                  <a:pt x="4025" y="7102"/>
                </a:cubicBezTo>
                <a:cubicBezTo>
                  <a:pt x="4004" y="7099"/>
                  <a:pt x="4004" y="7099"/>
                  <a:pt x="4004" y="7099"/>
                </a:cubicBezTo>
                <a:cubicBezTo>
                  <a:pt x="4004" y="7099"/>
                  <a:pt x="4010" y="7115"/>
                  <a:pt x="4026" y="7115"/>
                </a:cubicBezTo>
                <a:cubicBezTo>
                  <a:pt x="4042" y="7115"/>
                  <a:pt x="4055" y="7115"/>
                  <a:pt x="4055" y="7115"/>
                </a:cubicBezTo>
                <a:cubicBezTo>
                  <a:pt x="4055" y="7115"/>
                  <a:pt x="4071" y="7121"/>
                  <a:pt x="4081" y="7120"/>
                </a:cubicBezTo>
                <a:cubicBezTo>
                  <a:pt x="4091" y="7118"/>
                  <a:pt x="4136" y="7118"/>
                  <a:pt x="4150" y="7118"/>
                </a:cubicBezTo>
                <a:cubicBezTo>
                  <a:pt x="4165" y="7118"/>
                  <a:pt x="4185" y="7131"/>
                  <a:pt x="4185" y="7131"/>
                </a:cubicBezTo>
                <a:cubicBezTo>
                  <a:pt x="4206" y="7120"/>
                  <a:pt x="4206" y="7120"/>
                  <a:pt x="4206" y="7120"/>
                </a:cubicBezTo>
                <a:cubicBezTo>
                  <a:pt x="4218" y="7124"/>
                  <a:pt x="4218" y="7124"/>
                  <a:pt x="4218" y="7124"/>
                </a:cubicBezTo>
                <a:cubicBezTo>
                  <a:pt x="4230" y="7123"/>
                  <a:pt x="4230" y="7123"/>
                  <a:pt x="4230" y="7123"/>
                </a:cubicBezTo>
                <a:cubicBezTo>
                  <a:pt x="4231" y="7107"/>
                  <a:pt x="4231" y="7107"/>
                  <a:pt x="4231" y="7107"/>
                </a:cubicBezTo>
                <a:cubicBezTo>
                  <a:pt x="4231" y="7107"/>
                  <a:pt x="4189" y="7105"/>
                  <a:pt x="4137" y="7079"/>
                </a:cubicBezTo>
                <a:cubicBezTo>
                  <a:pt x="4085" y="7053"/>
                  <a:pt x="4085" y="7040"/>
                  <a:pt x="4085" y="7040"/>
                </a:cubicBezTo>
                <a:close/>
                <a:moveTo>
                  <a:pt x="4118" y="7130"/>
                </a:moveTo>
                <a:cubicBezTo>
                  <a:pt x="4136" y="7140"/>
                  <a:pt x="4136" y="7140"/>
                  <a:pt x="4136" y="7140"/>
                </a:cubicBezTo>
                <a:cubicBezTo>
                  <a:pt x="4172" y="7143"/>
                  <a:pt x="4172" y="7143"/>
                  <a:pt x="4172" y="7143"/>
                </a:cubicBezTo>
                <a:cubicBezTo>
                  <a:pt x="4153" y="7125"/>
                  <a:pt x="4153" y="7125"/>
                  <a:pt x="4153" y="7125"/>
                </a:cubicBezTo>
                <a:lnTo>
                  <a:pt x="4118" y="7130"/>
                </a:lnTo>
                <a:close/>
                <a:moveTo>
                  <a:pt x="4293" y="4234"/>
                </a:moveTo>
                <a:cubicBezTo>
                  <a:pt x="4290" y="4248"/>
                  <a:pt x="4290" y="4248"/>
                  <a:pt x="4290" y="4248"/>
                </a:cubicBezTo>
                <a:cubicBezTo>
                  <a:pt x="4280" y="4271"/>
                  <a:pt x="4280" y="4271"/>
                  <a:pt x="4280" y="4271"/>
                </a:cubicBezTo>
                <a:cubicBezTo>
                  <a:pt x="4300" y="4259"/>
                  <a:pt x="4300" y="4259"/>
                  <a:pt x="4300" y="4259"/>
                </a:cubicBezTo>
                <a:cubicBezTo>
                  <a:pt x="4300" y="4259"/>
                  <a:pt x="4322" y="4229"/>
                  <a:pt x="4314" y="4224"/>
                </a:cubicBezTo>
                <a:cubicBezTo>
                  <a:pt x="4305" y="4218"/>
                  <a:pt x="4293" y="4234"/>
                  <a:pt x="4293" y="4234"/>
                </a:cubicBezTo>
                <a:close/>
                <a:moveTo>
                  <a:pt x="3623" y="6528"/>
                </a:moveTo>
                <a:cubicBezTo>
                  <a:pt x="3625" y="6496"/>
                  <a:pt x="3625" y="6496"/>
                  <a:pt x="3625" y="6496"/>
                </a:cubicBezTo>
                <a:cubicBezTo>
                  <a:pt x="3604" y="6476"/>
                  <a:pt x="3604" y="6476"/>
                  <a:pt x="3604" y="6476"/>
                </a:cubicBezTo>
                <a:cubicBezTo>
                  <a:pt x="3614" y="6466"/>
                  <a:pt x="3614" y="6466"/>
                  <a:pt x="3614" y="6466"/>
                </a:cubicBezTo>
                <a:cubicBezTo>
                  <a:pt x="3600" y="6450"/>
                  <a:pt x="3600" y="6450"/>
                  <a:pt x="3600" y="6450"/>
                </a:cubicBezTo>
                <a:cubicBezTo>
                  <a:pt x="3577" y="6441"/>
                  <a:pt x="3577" y="6441"/>
                  <a:pt x="3577" y="6441"/>
                </a:cubicBezTo>
                <a:cubicBezTo>
                  <a:pt x="3577" y="6441"/>
                  <a:pt x="3574" y="6477"/>
                  <a:pt x="3583" y="6480"/>
                </a:cubicBezTo>
                <a:cubicBezTo>
                  <a:pt x="3591" y="6483"/>
                  <a:pt x="3597" y="6503"/>
                  <a:pt x="3597" y="6503"/>
                </a:cubicBezTo>
                <a:cubicBezTo>
                  <a:pt x="3593" y="6516"/>
                  <a:pt x="3593" y="6516"/>
                  <a:pt x="3593" y="6516"/>
                </a:cubicBezTo>
                <a:lnTo>
                  <a:pt x="3623" y="6528"/>
                </a:lnTo>
                <a:close/>
                <a:moveTo>
                  <a:pt x="3672" y="6600"/>
                </a:moveTo>
                <a:cubicBezTo>
                  <a:pt x="3672" y="6600"/>
                  <a:pt x="3704" y="6581"/>
                  <a:pt x="3682" y="6577"/>
                </a:cubicBezTo>
                <a:cubicBezTo>
                  <a:pt x="3661" y="6572"/>
                  <a:pt x="3659" y="6600"/>
                  <a:pt x="3672" y="6600"/>
                </a:cubicBezTo>
                <a:close/>
                <a:moveTo>
                  <a:pt x="5098" y="4575"/>
                </a:moveTo>
                <a:cubicBezTo>
                  <a:pt x="5098" y="4558"/>
                  <a:pt x="5082" y="4534"/>
                  <a:pt x="5081" y="4523"/>
                </a:cubicBezTo>
                <a:cubicBezTo>
                  <a:pt x="5080" y="4512"/>
                  <a:pt x="5080" y="4500"/>
                  <a:pt x="5080" y="4491"/>
                </a:cubicBezTo>
                <a:cubicBezTo>
                  <a:pt x="5080" y="4482"/>
                  <a:pt x="5062" y="4466"/>
                  <a:pt x="5062" y="4466"/>
                </a:cubicBezTo>
                <a:cubicBezTo>
                  <a:pt x="5041" y="4462"/>
                  <a:pt x="5041" y="4462"/>
                  <a:pt x="5041" y="4462"/>
                </a:cubicBezTo>
                <a:cubicBezTo>
                  <a:pt x="5007" y="4467"/>
                  <a:pt x="5007" y="4467"/>
                  <a:pt x="5007" y="4467"/>
                </a:cubicBezTo>
                <a:cubicBezTo>
                  <a:pt x="4996" y="4457"/>
                  <a:pt x="4996" y="4457"/>
                  <a:pt x="4996" y="4457"/>
                </a:cubicBezTo>
                <a:cubicBezTo>
                  <a:pt x="4983" y="4456"/>
                  <a:pt x="4983" y="4456"/>
                  <a:pt x="4983" y="4456"/>
                </a:cubicBezTo>
                <a:cubicBezTo>
                  <a:pt x="4971" y="4441"/>
                  <a:pt x="4971" y="4441"/>
                  <a:pt x="4971" y="4441"/>
                </a:cubicBezTo>
                <a:cubicBezTo>
                  <a:pt x="4956" y="4440"/>
                  <a:pt x="4956" y="4440"/>
                  <a:pt x="4956" y="4440"/>
                </a:cubicBezTo>
                <a:cubicBezTo>
                  <a:pt x="4956" y="4440"/>
                  <a:pt x="4938" y="4420"/>
                  <a:pt x="4921" y="4399"/>
                </a:cubicBezTo>
                <a:cubicBezTo>
                  <a:pt x="4904" y="4378"/>
                  <a:pt x="4855" y="4347"/>
                  <a:pt x="4839" y="4346"/>
                </a:cubicBezTo>
                <a:cubicBezTo>
                  <a:pt x="4823" y="4345"/>
                  <a:pt x="4790" y="4347"/>
                  <a:pt x="4790" y="4347"/>
                </a:cubicBezTo>
                <a:cubicBezTo>
                  <a:pt x="4790" y="4357"/>
                  <a:pt x="4790" y="4357"/>
                  <a:pt x="4790" y="4357"/>
                </a:cubicBezTo>
                <a:cubicBezTo>
                  <a:pt x="4790" y="4357"/>
                  <a:pt x="4775" y="4347"/>
                  <a:pt x="4768" y="4344"/>
                </a:cubicBezTo>
                <a:cubicBezTo>
                  <a:pt x="4761" y="4341"/>
                  <a:pt x="4735" y="4340"/>
                  <a:pt x="4735" y="4340"/>
                </a:cubicBezTo>
                <a:cubicBezTo>
                  <a:pt x="4735" y="4340"/>
                  <a:pt x="4707" y="4323"/>
                  <a:pt x="4688" y="4320"/>
                </a:cubicBezTo>
                <a:cubicBezTo>
                  <a:pt x="4669" y="4317"/>
                  <a:pt x="4649" y="4350"/>
                  <a:pt x="4649" y="4350"/>
                </a:cubicBezTo>
                <a:cubicBezTo>
                  <a:pt x="4638" y="4337"/>
                  <a:pt x="4638" y="4337"/>
                  <a:pt x="4638" y="4337"/>
                </a:cubicBezTo>
                <a:cubicBezTo>
                  <a:pt x="4638" y="4359"/>
                  <a:pt x="4638" y="4359"/>
                  <a:pt x="4638" y="4359"/>
                </a:cubicBezTo>
                <a:cubicBezTo>
                  <a:pt x="4618" y="4374"/>
                  <a:pt x="4618" y="4374"/>
                  <a:pt x="4618" y="4374"/>
                </a:cubicBezTo>
                <a:cubicBezTo>
                  <a:pt x="4629" y="4330"/>
                  <a:pt x="4629" y="4330"/>
                  <a:pt x="4629" y="4330"/>
                </a:cubicBezTo>
                <a:cubicBezTo>
                  <a:pt x="4629" y="4330"/>
                  <a:pt x="4647" y="4320"/>
                  <a:pt x="4640" y="4310"/>
                </a:cubicBezTo>
                <a:cubicBezTo>
                  <a:pt x="4633" y="4300"/>
                  <a:pt x="4620" y="4319"/>
                  <a:pt x="4620" y="4319"/>
                </a:cubicBezTo>
                <a:cubicBezTo>
                  <a:pt x="4629" y="4297"/>
                  <a:pt x="4629" y="4297"/>
                  <a:pt x="4629" y="4297"/>
                </a:cubicBezTo>
                <a:cubicBezTo>
                  <a:pt x="4629" y="4297"/>
                  <a:pt x="4620" y="4296"/>
                  <a:pt x="4621" y="4289"/>
                </a:cubicBezTo>
                <a:cubicBezTo>
                  <a:pt x="4622" y="4282"/>
                  <a:pt x="4601" y="4273"/>
                  <a:pt x="4601" y="4273"/>
                </a:cubicBezTo>
                <a:cubicBezTo>
                  <a:pt x="4593" y="4285"/>
                  <a:pt x="4593" y="4285"/>
                  <a:pt x="4593" y="4285"/>
                </a:cubicBezTo>
                <a:cubicBezTo>
                  <a:pt x="4593" y="4285"/>
                  <a:pt x="4580" y="4268"/>
                  <a:pt x="4570" y="4258"/>
                </a:cubicBezTo>
                <a:cubicBezTo>
                  <a:pt x="4560" y="4248"/>
                  <a:pt x="4533" y="4250"/>
                  <a:pt x="4529" y="4246"/>
                </a:cubicBezTo>
                <a:cubicBezTo>
                  <a:pt x="4525" y="4242"/>
                  <a:pt x="4501" y="4224"/>
                  <a:pt x="4501" y="4224"/>
                </a:cubicBezTo>
                <a:cubicBezTo>
                  <a:pt x="4495" y="4232"/>
                  <a:pt x="4495" y="4232"/>
                  <a:pt x="4495" y="4232"/>
                </a:cubicBezTo>
                <a:cubicBezTo>
                  <a:pt x="4495" y="4232"/>
                  <a:pt x="4474" y="4231"/>
                  <a:pt x="4464" y="4230"/>
                </a:cubicBezTo>
                <a:cubicBezTo>
                  <a:pt x="4454" y="4229"/>
                  <a:pt x="4446" y="4264"/>
                  <a:pt x="4446" y="4264"/>
                </a:cubicBezTo>
                <a:cubicBezTo>
                  <a:pt x="4453" y="4276"/>
                  <a:pt x="4453" y="4276"/>
                  <a:pt x="4453" y="4276"/>
                </a:cubicBezTo>
                <a:cubicBezTo>
                  <a:pt x="4453" y="4276"/>
                  <a:pt x="4439" y="4277"/>
                  <a:pt x="4431" y="4277"/>
                </a:cubicBezTo>
                <a:cubicBezTo>
                  <a:pt x="4423" y="4277"/>
                  <a:pt x="4411" y="4299"/>
                  <a:pt x="4411" y="4299"/>
                </a:cubicBezTo>
                <a:cubicBezTo>
                  <a:pt x="4411" y="4299"/>
                  <a:pt x="4404" y="4332"/>
                  <a:pt x="4397" y="4331"/>
                </a:cubicBezTo>
                <a:cubicBezTo>
                  <a:pt x="4390" y="4330"/>
                  <a:pt x="4406" y="4305"/>
                  <a:pt x="4403" y="4294"/>
                </a:cubicBezTo>
                <a:cubicBezTo>
                  <a:pt x="4400" y="4283"/>
                  <a:pt x="4380" y="4304"/>
                  <a:pt x="4380" y="4304"/>
                </a:cubicBezTo>
                <a:cubicBezTo>
                  <a:pt x="4373" y="4298"/>
                  <a:pt x="4373" y="4298"/>
                  <a:pt x="4373" y="4298"/>
                </a:cubicBezTo>
                <a:cubicBezTo>
                  <a:pt x="4373" y="4298"/>
                  <a:pt x="4352" y="4303"/>
                  <a:pt x="4341" y="4296"/>
                </a:cubicBezTo>
                <a:cubicBezTo>
                  <a:pt x="4330" y="4289"/>
                  <a:pt x="4332" y="4279"/>
                  <a:pt x="4332" y="4266"/>
                </a:cubicBezTo>
                <a:cubicBezTo>
                  <a:pt x="4332" y="4253"/>
                  <a:pt x="4327" y="4245"/>
                  <a:pt x="4327" y="4245"/>
                </a:cubicBezTo>
                <a:cubicBezTo>
                  <a:pt x="4320" y="4238"/>
                  <a:pt x="4305" y="4264"/>
                  <a:pt x="4305" y="4264"/>
                </a:cubicBezTo>
                <a:cubicBezTo>
                  <a:pt x="4305" y="4264"/>
                  <a:pt x="4284" y="4279"/>
                  <a:pt x="4272" y="4281"/>
                </a:cubicBezTo>
                <a:cubicBezTo>
                  <a:pt x="4260" y="4283"/>
                  <a:pt x="4246" y="4276"/>
                  <a:pt x="4246" y="4276"/>
                </a:cubicBezTo>
                <a:cubicBezTo>
                  <a:pt x="4272" y="4268"/>
                  <a:pt x="4272" y="4268"/>
                  <a:pt x="4272" y="4268"/>
                </a:cubicBezTo>
                <a:cubicBezTo>
                  <a:pt x="4272" y="4268"/>
                  <a:pt x="4282" y="4256"/>
                  <a:pt x="4285" y="4251"/>
                </a:cubicBezTo>
                <a:cubicBezTo>
                  <a:pt x="4288" y="4246"/>
                  <a:pt x="4287" y="4234"/>
                  <a:pt x="4287" y="4234"/>
                </a:cubicBezTo>
                <a:cubicBezTo>
                  <a:pt x="4287" y="4234"/>
                  <a:pt x="4296" y="4228"/>
                  <a:pt x="4300" y="4216"/>
                </a:cubicBezTo>
                <a:cubicBezTo>
                  <a:pt x="4304" y="4204"/>
                  <a:pt x="4328" y="4185"/>
                  <a:pt x="4338" y="4178"/>
                </a:cubicBezTo>
                <a:cubicBezTo>
                  <a:pt x="4348" y="4171"/>
                  <a:pt x="4350" y="4162"/>
                  <a:pt x="4354" y="4153"/>
                </a:cubicBezTo>
                <a:cubicBezTo>
                  <a:pt x="4358" y="4144"/>
                  <a:pt x="4379" y="4131"/>
                  <a:pt x="4379" y="4131"/>
                </a:cubicBezTo>
                <a:cubicBezTo>
                  <a:pt x="4366" y="4129"/>
                  <a:pt x="4366" y="4129"/>
                  <a:pt x="4366" y="4129"/>
                </a:cubicBezTo>
                <a:cubicBezTo>
                  <a:pt x="4366" y="4129"/>
                  <a:pt x="4378" y="4123"/>
                  <a:pt x="4378" y="4107"/>
                </a:cubicBezTo>
                <a:cubicBezTo>
                  <a:pt x="4378" y="4091"/>
                  <a:pt x="4351" y="4100"/>
                  <a:pt x="4341" y="4089"/>
                </a:cubicBezTo>
                <a:cubicBezTo>
                  <a:pt x="4331" y="4078"/>
                  <a:pt x="4331" y="4055"/>
                  <a:pt x="4327" y="4018"/>
                </a:cubicBezTo>
                <a:cubicBezTo>
                  <a:pt x="4323" y="3981"/>
                  <a:pt x="4315" y="3963"/>
                  <a:pt x="4306" y="3960"/>
                </a:cubicBezTo>
                <a:cubicBezTo>
                  <a:pt x="4297" y="3957"/>
                  <a:pt x="4303" y="3976"/>
                  <a:pt x="4303" y="3980"/>
                </a:cubicBezTo>
                <a:cubicBezTo>
                  <a:pt x="4303" y="3984"/>
                  <a:pt x="4293" y="3979"/>
                  <a:pt x="4291" y="3974"/>
                </a:cubicBezTo>
                <a:cubicBezTo>
                  <a:pt x="4289" y="3969"/>
                  <a:pt x="4277" y="3937"/>
                  <a:pt x="4277" y="3937"/>
                </a:cubicBezTo>
                <a:cubicBezTo>
                  <a:pt x="4258" y="3930"/>
                  <a:pt x="4258" y="3930"/>
                  <a:pt x="4258" y="3930"/>
                </a:cubicBezTo>
                <a:cubicBezTo>
                  <a:pt x="4242" y="3897"/>
                  <a:pt x="4242" y="3897"/>
                  <a:pt x="4242" y="3897"/>
                </a:cubicBezTo>
                <a:cubicBezTo>
                  <a:pt x="4219" y="3897"/>
                  <a:pt x="4219" y="3897"/>
                  <a:pt x="4219" y="3897"/>
                </a:cubicBezTo>
                <a:cubicBezTo>
                  <a:pt x="4219" y="3897"/>
                  <a:pt x="4196" y="3889"/>
                  <a:pt x="4188" y="3881"/>
                </a:cubicBezTo>
                <a:cubicBezTo>
                  <a:pt x="4187" y="3880"/>
                  <a:pt x="4186" y="3880"/>
                  <a:pt x="4186" y="3879"/>
                </a:cubicBezTo>
                <a:cubicBezTo>
                  <a:pt x="4179" y="3870"/>
                  <a:pt x="4132" y="3870"/>
                  <a:pt x="4132" y="3870"/>
                </a:cubicBezTo>
                <a:cubicBezTo>
                  <a:pt x="4128" y="3879"/>
                  <a:pt x="4128" y="3879"/>
                  <a:pt x="4128" y="3879"/>
                </a:cubicBezTo>
                <a:cubicBezTo>
                  <a:pt x="4098" y="3874"/>
                  <a:pt x="4098" y="3874"/>
                  <a:pt x="4098" y="3874"/>
                </a:cubicBezTo>
                <a:cubicBezTo>
                  <a:pt x="4097" y="3885"/>
                  <a:pt x="4097" y="3885"/>
                  <a:pt x="4097" y="3885"/>
                </a:cubicBezTo>
                <a:cubicBezTo>
                  <a:pt x="4058" y="3871"/>
                  <a:pt x="4058" y="3871"/>
                  <a:pt x="4058" y="3871"/>
                </a:cubicBezTo>
                <a:cubicBezTo>
                  <a:pt x="4039" y="3877"/>
                  <a:pt x="4039" y="3877"/>
                  <a:pt x="4039" y="3877"/>
                </a:cubicBezTo>
                <a:cubicBezTo>
                  <a:pt x="4039" y="3877"/>
                  <a:pt x="4039" y="3866"/>
                  <a:pt x="4036" y="3858"/>
                </a:cubicBezTo>
                <a:cubicBezTo>
                  <a:pt x="4033" y="3850"/>
                  <a:pt x="4018" y="3858"/>
                  <a:pt x="4018" y="3858"/>
                </a:cubicBezTo>
                <a:cubicBezTo>
                  <a:pt x="4016" y="3843"/>
                  <a:pt x="4016" y="3843"/>
                  <a:pt x="4016" y="3843"/>
                </a:cubicBezTo>
                <a:cubicBezTo>
                  <a:pt x="4016" y="3843"/>
                  <a:pt x="3999" y="3828"/>
                  <a:pt x="3986" y="3826"/>
                </a:cubicBezTo>
                <a:cubicBezTo>
                  <a:pt x="3973" y="3824"/>
                  <a:pt x="3966" y="3850"/>
                  <a:pt x="3966" y="3850"/>
                </a:cubicBezTo>
                <a:cubicBezTo>
                  <a:pt x="3966" y="3850"/>
                  <a:pt x="3975" y="3810"/>
                  <a:pt x="3977" y="3802"/>
                </a:cubicBezTo>
                <a:cubicBezTo>
                  <a:pt x="3979" y="3794"/>
                  <a:pt x="3965" y="3771"/>
                  <a:pt x="3959" y="3763"/>
                </a:cubicBezTo>
                <a:cubicBezTo>
                  <a:pt x="3953" y="3755"/>
                  <a:pt x="3916" y="3741"/>
                  <a:pt x="3916" y="3741"/>
                </a:cubicBezTo>
                <a:cubicBezTo>
                  <a:pt x="3916" y="3741"/>
                  <a:pt x="3908" y="3731"/>
                  <a:pt x="3904" y="3725"/>
                </a:cubicBezTo>
                <a:cubicBezTo>
                  <a:pt x="3900" y="3719"/>
                  <a:pt x="3885" y="3736"/>
                  <a:pt x="3885" y="3736"/>
                </a:cubicBezTo>
                <a:cubicBezTo>
                  <a:pt x="3885" y="3736"/>
                  <a:pt x="3875" y="3732"/>
                  <a:pt x="3869" y="3729"/>
                </a:cubicBezTo>
                <a:cubicBezTo>
                  <a:pt x="3863" y="3726"/>
                  <a:pt x="3849" y="3743"/>
                  <a:pt x="3849" y="3743"/>
                </a:cubicBezTo>
                <a:cubicBezTo>
                  <a:pt x="3827" y="3729"/>
                  <a:pt x="3827" y="3729"/>
                  <a:pt x="3827" y="3729"/>
                </a:cubicBezTo>
                <a:cubicBezTo>
                  <a:pt x="3827" y="3729"/>
                  <a:pt x="3853" y="3729"/>
                  <a:pt x="3857" y="3722"/>
                </a:cubicBezTo>
                <a:cubicBezTo>
                  <a:pt x="3861" y="3715"/>
                  <a:pt x="3860" y="3702"/>
                  <a:pt x="3860" y="3702"/>
                </a:cubicBezTo>
                <a:cubicBezTo>
                  <a:pt x="3860" y="3702"/>
                  <a:pt x="3870" y="3701"/>
                  <a:pt x="3872" y="3688"/>
                </a:cubicBezTo>
                <a:cubicBezTo>
                  <a:pt x="3874" y="3675"/>
                  <a:pt x="3846" y="3678"/>
                  <a:pt x="3846" y="3678"/>
                </a:cubicBezTo>
                <a:cubicBezTo>
                  <a:pt x="3846" y="3678"/>
                  <a:pt x="3842" y="3664"/>
                  <a:pt x="3835" y="3663"/>
                </a:cubicBezTo>
                <a:cubicBezTo>
                  <a:pt x="3828" y="3662"/>
                  <a:pt x="3830" y="3678"/>
                  <a:pt x="3830" y="3678"/>
                </a:cubicBezTo>
                <a:cubicBezTo>
                  <a:pt x="3830" y="3678"/>
                  <a:pt x="3824" y="3669"/>
                  <a:pt x="3824" y="3663"/>
                </a:cubicBezTo>
                <a:cubicBezTo>
                  <a:pt x="3824" y="3657"/>
                  <a:pt x="3810" y="3658"/>
                  <a:pt x="3810" y="3658"/>
                </a:cubicBezTo>
                <a:cubicBezTo>
                  <a:pt x="3806" y="3678"/>
                  <a:pt x="3806" y="3678"/>
                  <a:pt x="3806" y="3678"/>
                </a:cubicBezTo>
                <a:cubicBezTo>
                  <a:pt x="3806" y="3678"/>
                  <a:pt x="3798" y="3670"/>
                  <a:pt x="3796" y="3664"/>
                </a:cubicBezTo>
                <a:cubicBezTo>
                  <a:pt x="3794" y="3658"/>
                  <a:pt x="3793" y="3644"/>
                  <a:pt x="3793" y="3644"/>
                </a:cubicBezTo>
                <a:cubicBezTo>
                  <a:pt x="3772" y="3652"/>
                  <a:pt x="3772" y="3652"/>
                  <a:pt x="3772" y="3652"/>
                </a:cubicBezTo>
                <a:cubicBezTo>
                  <a:pt x="3772" y="3652"/>
                  <a:pt x="3788" y="3643"/>
                  <a:pt x="3788" y="3638"/>
                </a:cubicBezTo>
                <a:cubicBezTo>
                  <a:pt x="3788" y="3633"/>
                  <a:pt x="3775" y="3633"/>
                  <a:pt x="3775" y="3628"/>
                </a:cubicBezTo>
                <a:cubicBezTo>
                  <a:pt x="3775" y="3623"/>
                  <a:pt x="3817" y="3623"/>
                  <a:pt x="3821" y="3617"/>
                </a:cubicBezTo>
                <a:cubicBezTo>
                  <a:pt x="3825" y="3611"/>
                  <a:pt x="3731" y="3619"/>
                  <a:pt x="3731" y="3619"/>
                </a:cubicBezTo>
                <a:cubicBezTo>
                  <a:pt x="3740" y="3629"/>
                  <a:pt x="3740" y="3629"/>
                  <a:pt x="3740" y="3629"/>
                </a:cubicBezTo>
                <a:cubicBezTo>
                  <a:pt x="3740" y="3629"/>
                  <a:pt x="3718" y="3631"/>
                  <a:pt x="3709" y="3634"/>
                </a:cubicBezTo>
                <a:cubicBezTo>
                  <a:pt x="3700" y="3637"/>
                  <a:pt x="3676" y="3654"/>
                  <a:pt x="3676" y="3654"/>
                </a:cubicBezTo>
                <a:cubicBezTo>
                  <a:pt x="3652" y="3655"/>
                  <a:pt x="3620" y="3623"/>
                  <a:pt x="3620" y="3623"/>
                </a:cubicBezTo>
                <a:cubicBezTo>
                  <a:pt x="3620" y="3623"/>
                  <a:pt x="3539" y="3628"/>
                  <a:pt x="3529" y="3627"/>
                </a:cubicBezTo>
                <a:cubicBezTo>
                  <a:pt x="3519" y="3626"/>
                  <a:pt x="3516" y="3617"/>
                  <a:pt x="3516" y="3603"/>
                </a:cubicBezTo>
                <a:cubicBezTo>
                  <a:pt x="3516" y="3589"/>
                  <a:pt x="3510" y="3579"/>
                  <a:pt x="3484" y="3574"/>
                </a:cubicBezTo>
                <a:cubicBezTo>
                  <a:pt x="3458" y="3569"/>
                  <a:pt x="3421" y="3591"/>
                  <a:pt x="3421" y="3591"/>
                </a:cubicBezTo>
                <a:cubicBezTo>
                  <a:pt x="3421" y="3591"/>
                  <a:pt x="3394" y="3597"/>
                  <a:pt x="3378" y="3611"/>
                </a:cubicBezTo>
                <a:cubicBezTo>
                  <a:pt x="3362" y="3625"/>
                  <a:pt x="3385" y="3651"/>
                  <a:pt x="3387" y="3671"/>
                </a:cubicBezTo>
                <a:cubicBezTo>
                  <a:pt x="3389" y="3691"/>
                  <a:pt x="3362" y="3707"/>
                  <a:pt x="3362" y="3707"/>
                </a:cubicBezTo>
                <a:cubicBezTo>
                  <a:pt x="3363" y="3689"/>
                  <a:pt x="3363" y="3689"/>
                  <a:pt x="3363" y="3689"/>
                </a:cubicBezTo>
                <a:cubicBezTo>
                  <a:pt x="3363" y="3689"/>
                  <a:pt x="3345" y="3684"/>
                  <a:pt x="3339" y="3674"/>
                </a:cubicBezTo>
                <a:cubicBezTo>
                  <a:pt x="3333" y="3664"/>
                  <a:pt x="3349" y="3646"/>
                  <a:pt x="3356" y="3637"/>
                </a:cubicBezTo>
                <a:cubicBezTo>
                  <a:pt x="3363" y="3628"/>
                  <a:pt x="3362" y="3612"/>
                  <a:pt x="3362" y="3600"/>
                </a:cubicBezTo>
                <a:cubicBezTo>
                  <a:pt x="3362" y="3588"/>
                  <a:pt x="3351" y="3573"/>
                  <a:pt x="3351" y="3573"/>
                </a:cubicBezTo>
                <a:cubicBezTo>
                  <a:pt x="3351" y="3573"/>
                  <a:pt x="3368" y="3563"/>
                  <a:pt x="3373" y="3562"/>
                </a:cubicBezTo>
                <a:cubicBezTo>
                  <a:pt x="3378" y="3561"/>
                  <a:pt x="3393" y="3557"/>
                  <a:pt x="3394" y="3536"/>
                </a:cubicBezTo>
                <a:cubicBezTo>
                  <a:pt x="3395" y="3515"/>
                  <a:pt x="3353" y="3531"/>
                  <a:pt x="3347" y="3532"/>
                </a:cubicBezTo>
                <a:cubicBezTo>
                  <a:pt x="3341" y="3533"/>
                  <a:pt x="3341" y="3553"/>
                  <a:pt x="3334" y="3560"/>
                </a:cubicBezTo>
                <a:cubicBezTo>
                  <a:pt x="3327" y="3567"/>
                  <a:pt x="3316" y="3560"/>
                  <a:pt x="3309" y="3561"/>
                </a:cubicBezTo>
                <a:cubicBezTo>
                  <a:pt x="3302" y="3562"/>
                  <a:pt x="3288" y="3585"/>
                  <a:pt x="3288" y="3585"/>
                </a:cubicBezTo>
                <a:cubicBezTo>
                  <a:pt x="3263" y="3589"/>
                  <a:pt x="3263" y="3589"/>
                  <a:pt x="3263" y="3589"/>
                </a:cubicBezTo>
                <a:cubicBezTo>
                  <a:pt x="3263" y="3589"/>
                  <a:pt x="3257" y="3580"/>
                  <a:pt x="3250" y="3584"/>
                </a:cubicBezTo>
                <a:cubicBezTo>
                  <a:pt x="3243" y="3589"/>
                  <a:pt x="3243" y="3601"/>
                  <a:pt x="3243" y="3601"/>
                </a:cubicBezTo>
                <a:cubicBezTo>
                  <a:pt x="3243" y="3601"/>
                  <a:pt x="3238" y="3615"/>
                  <a:pt x="3231" y="3616"/>
                </a:cubicBezTo>
                <a:cubicBezTo>
                  <a:pt x="3224" y="3618"/>
                  <a:pt x="3232" y="3607"/>
                  <a:pt x="3232" y="3607"/>
                </a:cubicBezTo>
                <a:cubicBezTo>
                  <a:pt x="3232" y="3607"/>
                  <a:pt x="3226" y="3602"/>
                  <a:pt x="3222" y="3602"/>
                </a:cubicBezTo>
                <a:cubicBezTo>
                  <a:pt x="3219" y="3602"/>
                  <a:pt x="3204" y="3606"/>
                  <a:pt x="3199" y="3609"/>
                </a:cubicBezTo>
                <a:cubicBezTo>
                  <a:pt x="3194" y="3613"/>
                  <a:pt x="3179" y="3627"/>
                  <a:pt x="3175" y="3634"/>
                </a:cubicBezTo>
                <a:cubicBezTo>
                  <a:pt x="3172" y="3641"/>
                  <a:pt x="3180" y="3650"/>
                  <a:pt x="3180" y="3650"/>
                </a:cubicBezTo>
                <a:cubicBezTo>
                  <a:pt x="3169" y="3670"/>
                  <a:pt x="3169" y="3670"/>
                  <a:pt x="3169" y="3670"/>
                </a:cubicBezTo>
                <a:cubicBezTo>
                  <a:pt x="3176" y="3686"/>
                  <a:pt x="3176" y="3686"/>
                  <a:pt x="3176" y="3686"/>
                </a:cubicBezTo>
                <a:cubicBezTo>
                  <a:pt x="3176" y="3686"/>
                  <a:pt x="3160" y="3687"/>
                  <a:pt x="3154" y="3690"/>
                </a:cubicBezTo>
                <a:cubicBezTo>
                  <a:pt x="3148" y="3692"/>
                  <a:pt x="3142" y="3706"/>
                  <a:pt x="3139" y="3713"/>
                </a:cubicBezTo>
                <a:cubicBezTo>
                  <a:pt x="3135" y="3720"/>
                  <a:pt x="3121" y="3722"/>
                  <a:pt x="3121" y="3722"/>
                </a:cubicBezTo>
                <a:cubicBezTo>
                  <a:pt x="3107" y="3728"/>
                  <a:pt x="3107" y="3728"/>
                  <a:pt x="3107" y="3728"/>
                </a:cubicBezTo>
                <a:cubicBezTo>
                  <a:pt x="3115" y="3744"/>
                  <a:pt x="3115" y="3744"/>
                  <a:pt x="3115" y="3744"/>
                </a:cubicBezTo>
                <a:cubicBezTo>
                  <a:pt x="3115" y="3744"/>
                  <a:pt x="3118" y="3767"/>
                  <a:pt x="3110" y="3769"/>
                </a:cubicBezTo>
                <a:cubicBezTo>
                  <a:pt x="3102" y="3771"/>
                  <a:pt x="3108" y="3761"/>
                  <a:pt x="3107" y="3751"/>
                </a:cubicBezTo>
                <a:cubicBezTo>
                  <a:pt x="3105" y="3742"/>
                  <a:pt x="3085" y="3730"/>
                  <a:pt x="3085" y="3730"/>
                </a:cubicBezTo>
                <a:cubicBezTo>
                  <a:pt x="3085" y="3730"/>
                  <a:pt x="3085" y="3730"/>
                  <a:pt x="3085" y="3731"/>
                </a:cubicBezTo>
                <a:cubicBezTo>
                  <a:pt x="3085" y="3731"/>
                  <a:pt x="3085" y="3731"/>
                  <a:pt x="3085" y="3731"/>
                </a:cubicBezTo>
                <a:cubicBezTo>
                  <a:pt x="3070" y="3719"/>
                  <a:pt x="3070" y="3719"/>
                  <a:pt x="3070" y="3719"/>
                </a:cubicBezTo>
                <a:cubicBezTo>
                  <a:pt x="3070" y="3719"/>
                  <a:pt x="3066" y="3697"/>
                  <a:pt x="3051" y="3691"/>
                </a:cubicBezTo>
                <a:cubicBezTo>
                  <a:pt x="3036" y="3685"/>
                  <a:pt x="3011" y="3686"/>
                  <a:pt x="3011" y="3686"/>
                </a:cubicBezTo>
                <a:cubicBezTo>
                  <a:pt x="3010" y="3677"/>
                  <a:pt x="3010" y="3677"/>
                  <a:pt x="3010" y="3677"/>
                </a:cubicBezTo>
                <a:cubicBezTo>
                  <a:pt x="3010" y="3677"/>
                  <a:pt x="2984" y="3673"/>
                  <a:pt x="2978" y="3680"/>
                </a:cubicBezTo>
                <a:cubicBezTo>
                  <a:pt x="2972" y="3687"/>
                  <a:pt x="2959" y="3700"/>
                  <a:pt x="2959" y="3700"/>
                </a:cubicBezTo>
                <a:cubicBezTo>
                  <a:pt x="2959" y="3700"/>
                  <a:pt x="2949" y="3691"/>
                  <a:pt x="2941" y="3698"/>
                </a:cubicBezTo>
                <a:cubicBezTo>
                  <a:pt x="2933" y="3705"/>
                  <a:pt x="2919" y="3723"/>
                  <a:pt x="2909" y="3723"/>
                </a:cubicBezTo>
                <a:cubicBezTo>
                  <a:pt x="2899" y="3723"/>
                  <a:pt x="2890" y="3716"/>
                  <a:pt x="2890" y="3716"/>
                </a:cubicBezTo>
                <a:cubicBezTo>
                  <a:pt x="2880" y="3705"/>
                  <a:pt x="2880" y="3705"/>
                  <a:pt x="2880" y="3705"/>
                </a:cubicBezTo>
                <a:cubicBezTo>
                  <a:pt x="2874" y="3712"/>
                  <a:pt x="2874" y="3712"/>
                  <a:pt x="2874" y="3712"/>
                </a:cubicBezTo>
                <a:cubicBezTo>
                  <a:pt x="2874" y="3712"/>
                  <a:pt x="2860" y="3717"/>
                  <a:pt x="2855" y="3708"/>
                </a:cubicBezTo>
                <a:cubicBezTo>
                  <a:pt x="2850" y="3699"/>
                  <a:pt x="2857" y="3689"/>
                  <a:pt x="2850" y="3683"/>
                </a:cubicBezTo>
                <a:cubicBezTo>
                  <a:pt x="2848" y="3681"/>
                  <a:pt x="2845" y="3680"/>
                  <a:pt x="2842" y="3678"/>
                </a:cubicBezTo>
                <a:cubicBezTo>
                  <a:pt x="2834" y="3673"/>
                  <a:pt x="2823" y="3666"/>
                  <a:pt x="2820" y="3657"/>
                </a:cubicBezTo>
                <a:cubicBezTo>
                  <a:pt x="2816" y="3644"/>
                  <a:pt x="2804" y="3630"/>
                  <a:pt x="2804" y="3630"/>
                </a:cubicBezTo>
                <a:cubicBezTo>
                  <a:pt x="2802" y="3615"/>
                  <a:pt x="2802" y="3615"/>
                  <a:pt x="2802" y="3615"/>
                </a:cubicBezTo>
                <a:cubicBezTo>
                  <a:pt x="2802" y="3615"/>
                  <a:pt x="2802" y="3615"/>
                  <a:pt x="2802" y="3614"/>
                </a:cubicBezTo>
                <a:cubicBezTo>
                  <a:pt x="2802" y="3614"/>
                  <a:pt x="2802" y="3614"/>
                  <a:pt x="2802" y="3614"/>
                </a:cubicBezTo>
                <a:cubicBezTo>
                  <a:pt x="2799" y="3612"/>
                  <a:pt x="2789" y="3599"/>
                  <a:pt x="2789" y="3586"/>
                </a:cubicBezTo>
                <a:cubicBezTo>
                  <a:pt x="2789" y="3571"/>
                  <a:pt x="2801" y="3575"/>
                  <a:pt x="2801" y="3566"/>
                </a:cubicBezTo>
                <a:cubicBezTo>
                  <a:pt x="2801" y="3557"/>
                  <a:pt x="2796" y="3545"/>
                  <a:pt x="2796" y="3545"/>
                </a:cubicBezTo>
                <a:cubicBezTo>
                  <a:pt x="2800" y="3513"/>
                  <a:pt x="2800" y="3513"/>
                  <a:pt x="2800" y="3513"/>
                </a:cubicBezTo>
                <a:cubicBezTo>
                  <a:pt x="2810" y="3525"/>
                  <a:pt x="2810" y="3525"/>
                  <a:pt x="2810" y="3525"/>
                </a:cubicBezTo>
                <a:cubicBezTo>
                  <a:pt x="2813" y="3468"/>
                  <a:pt x="2813" y="3468"/>
                  <a:pt x="2813" y="3468"/>
                </a:cubicBezTo>
                <a:cubicBezTo>
                  <a:pt x="2813" y="3468"/>
                  <a:pt x="2819" y="3447"/>
                  <a:pt x="2828" y="3438"/>
                </a:cubicBezTo>
                <a:cubicBezTo>
                  <a:pt x="2837" y="3429"/>
                  <a:pt x="2839" y="3414"/>
                  <a:pt x="2837" y="3409"/>
                </a:cubicBezTo>
                <a:cubicBezTo>
                  <a:pt x="2835" y="3404"/>
                  <a:pt x="2829" y="3399"/>
                  <a:pt x="2830" y="3395"/>
                </a:cubicBezTo>
                <a:cubicBezTo>
                  <a:pt x="2831" y="3391"/>
                  <a:pt x="2845" y="3392"/>
                  <a:pt x="2843" y="3385"/>
                </a:cubicBezTo>
                <a:cubicBezTo>
                  <a:pt x="2841" y="3378"/>
                  <a:pt x="2832" y="3371"/>
                  <a:pt x="2832" y="3371"/>
                </a:cubicBezTo>
                <a:cubicBezTo>
                  <a:pt x="2817" y="3365"/>
                  <a:pt x="2817" y="3365"/>
                  <a:pt x="2817" y="3365"/>
                </a:cubicBezTo>
                <a:cubicBezTo>
                  <a:pt x="2817" y="3365"/>
                  <a:pt x="2806" y="3357"/>
                  <a:pt x="2797" y="3348"/>
                </a:cubicBezTo>
                <a:cubicBezTo>
                  <a:pt x="2788" y="3339"/>
                  <a:pt x="2779" y="3343"/>
                  <a:pt x="2779" y="3343"/>
                </a:cubicBezTo>
                <a:cubicBezTo>
                  <a:pt x="2779" y="3343"/>
                  <a:pt x="2775" y="3331"/>
                  <a:pt x="2763" y="3331"/>
                </a:cubicBezTo>
                <a:cubicBezTo>
                  <a:pt x="2751" y="3331"/>
                  <a:pt x="2741" y="3339"/>
                  <a:pt x="2741" y="3339"/>
                </a:cubicBezTo>
                <a:cubicBezTo>
                  <a:pt x="2741" y="3339"/>
                  <a:pt x="2727" y="3330"/>
                  <a:pt x="2720" y="3330"/>
                </a:cubicBezTo>
                <a:cubicBezTo>
                  <a:pt x="2713" y="3330"/>
                  <a:pt x="2697" y="3348"/>
                  <a:pt x="2697" y="3348"/>
                </a:cubicBezTo>
                <a:cubicBezTo>
                  <a:pt x="2674" y="3347"/>
                  <a:pt x="2674" y="3347"/>
                  <a:pt x="2674" y="3347"/>
                </a:cubicBezTo>
                <a:cubicBezTo>
                  <a:pt x="2674" y="3347"/>
                  <a:pt x="2661" y="3341"/>
                  <a:pt x="2658" y="3341"/>
                </a:cubicBezTo>
                <a:cubicBezTo>
                  <a:pt x="2655" y="3341"/>
                  <a:pt x="2638" y="3346"/>
                  <a:pt x="2638" y="3346"/>
                </a:cubicBezTo>
                <a:cubicBezTo>
                  <a:pt x="2638" y="3346"/>
                  <a:pt x="2633" y="3332"/>
                  <a:pt x="2630" y="3332"/>
                </a:cubicBezTo>
                <a:cubicBezTo>
                  <a:pt x="2627" y="3332"/>
                  <a:pt x="2608" y="3345"/>
                  <a:pt x="2608" y="3345"/>
                </a:cubicBezTo>
                <a:cubicBezTo>
                  <a:pt x="2599" y="3336"/>
                  <a:pt x="2599" y="3336"/>
                  <a:pt x="2599" y="3336"/>
                </a:cubicBezTo>
                <a:cubicBezTo>
                  <a:pt x="2588" y="3343"/>
                  <a:pt x="2588" y="3343"/>
                  <a:pt x="2588" y="3343"/>
                </a:cubicBezTo>
                <a:cubicBezTo>
                  <a:pt x="2579" y="3338"/>
                  <a:pt x="2579" y="3338"/>
                  <a:pt x="2579" y="3338"/>
                </a:cubicBezTo>
                <a:cubicBezTo>
                  <a:pt x="2589" y="3312"/>
                  <a:pt x="2589" y="3312"/>
                  <a:pt x="2589" y="3312"/>
                </a:cubicBezTo>
                <a:cubicBezTo>
                  <a:pt x="2600" y="3316"/>
                  <a:pt x="2600" y="3316"/>
                  <a:pt x="2600" y="3316"/>
                </a:cubicBezTo>
                <a:cubicBezTo>
                  <a:pt x="2600" y="3316"/>
                  <a:pt x="2616" y="3302"/>
                  <a:pt x="2616" y="3291"/>
                </a:cubicBezTo>
                <a:cubicBezTo>
                  <a:pt x="2616" y="3280"/>
                  <a:pt x="2612" y="3268"/>
                  <a:pt x="2616" y="3258"/>
                </a:cubicBezTo>
                <a:cubicBezTo>
                  <a:pt x="2620" y="3248"/>
                  <a:pt x="2633" y="3225"/>
                  <a:pt x="2633" y="3220"/>
                </a:cubicBezTo>
                <a:cubicBezTo>
                  <a:pt x="2633" y="3215"/>
                  <a:pt x="2615" y="3209"/>
                  <a:pt x="2615" y="3209"/>
                </a:cubicBezTo>
                <a:cubicBezTo>
                  <a:pt x="2626" y="3199"/>
                  <a:pt x="2626" y="3199"/>
                  <a:pt x="2626" y="3199"/>
                </a:cubicBezTo>
                <a:cubicBezTo>
                  <a:pt x="2640" y="3183"/>
                  <a:pt x="2640" y="3183"/>
                  <a:pt x="2640" y="3183"/>
                </a:cubicBezTo>
                <a:cubicBezTo>
                  <a:pt x="2640" y="3183"/>
                  <a:pt x="2634" y="3202"/>
                  <a:pt x="2638" y="3205"/>
                </a:cubicBezTo>
                <a:cubicBezTo>
                  <a:pt x="2642" y="3208"/>
                  <a:pt x="2649" y="3208"/>
                  <a:pt x="2649" y="3208"/>
                </a:cubicBezTo>
                <a:cubicBezTo>
                  <a:pt x="2664" y="3163"/>
                  <a:pt x="2664" y="3163"/>
                  <a:pt x="2664" y="3163"/>
                </a:cubicBezTo>
                <a:cubicBezTo>
                  <a:pt x="2658" y="3155"/>
                  <a:pt x="2658" y="3155"/>
                  <a:pt x="2658" y="3155"/>
                </a:cubicBezTo>
                <a:cubicBezTo>
                  <a:pt x="2671" y="3151"/>
                  <a:pt x="2671" y="3151"/>
                  <a:pt x="2671" y="3151"/>
                </a:cubicBezTo>
                <a:cubicBezTo>
                  <a:pt x="2672" y="3143"/>
                  <a:pt x="2672" y="3143"/>
                  <a:pt x="2672" y="3143"/>
                </a:cubicBezTo>
                <a:cubicBezTo>
                  <a:pt x="2660" y="3139"/>
                  <a:pt x="2660" y="3139"/>
                  <a:pt x="2660" y="3139"/>
                </a:cubicBezTo>
                <a:cubicBezTo>
                  <a:pt x="2672" y="3126"/>
                  <a:pt x="2672" y="3126"/>
                  <a:pt x="2672" y="3126"/>
                </a:cubicBezTo>
                <a:cubicBezTo>
                  <a:pt x="2676" y="3110"/>
                  <a:pt x="2676" y="3110"/>
                  <a:pt x="2676" y="3110"/>
                </a:cubicBezTo>
                <a:cubicBezTo>
                  <a:pt x="2676" y="3110"/>
                  <a:pt x="2706" y="3079"/>
                  <a:pt x="2710" y="3070"/>
                </a:cubicBezTo>
                <a:cubicBezTo>
                  <a:pt x="2714" y="3061"/>
                  <a:pt x="2723" y="3038"/>
                  <a:pt x="2712" y="3035"/>
                </a:cubicBezTo>
                <a:cubicBezTo>
                  <a:pt x="2701" y="3032"/>
                  <a:pt x="2679" y="3039"/>
                  <a:pt x="2679" y="3039"/>
                </a:cubicBezTo>
                <a:cubicBezTo>
                  <a:pt x="2679" y="3039"/>
                  <a:pt x="2655" y="3032"/>
                  <a:pt x="2648" y="3032"/>
                </a:cubicBezTo>
                <a:cubicBezTo>
                  <a:pt x="2641" y="3032"/>
                  <a:pt x="2613" y="3040"/>
                  <a:pt x="2599" y="3044"/>
                </a:cubicBezTo>
                <a:cubicBezTo>
                  <a:pt x="2585" y="3048"/>
                  <a:pt x="2560" y="3044"/>
                  <a:pt x="2554" y="3050"/>
                </a:cubicBezTo>
                <a:cubicBezTo>
                  <a:pt x="2548" y="3056"/>
                  <a:pt x="2537" y="3077"/>
                  <a:pt x="2536" y="3093"/>
                </a:cubicBezTo>
                <a:cubicBezTo>
                  <a:pt x="2535" y="3109"/>
                  <a:pt x="2535" y="3124"/>
                  <a:pt x="2535" y="3124"/>
                </a:cubicBezTo>
                <a:cubicBezTo>
                  <a:pt x="2525" y="3128"/>
                  <a:pt x="2525" y="3128"/>
                  <a:pt x="2525" y="3128"/>
                </a:cubicBezTo>
                <a:cubicBezTo>
                  <a:pt x="2525" y="3128"/>
                  <a:pt x="2525" y="3148"/>
                  <a:pt x="2519" y="3154"/>
                </a:cubicBezTo>
                <a:cubicBezTo>
                  <a:pt x="2513" y="3160"/>
                  <a:pt x="2492" y="3166"/>
                  <a:pt x="2487" y="3175"/>
                </a:cubicBezTo>
                <a:cubicBezTo>
                  <a:pt x="2482" y="3184"/>
                  <a:pt x="2485" y="3203"/>
                  <a:pt x="2472" y="3204"/>
                </a:cubicBezTo>
                <a:cubicBezTo>
                  <a:pt x="2459" y="3205"/>
                  <a:pt x="2466" y="3187"/>
                  <a:pt x="2450" y="3187"/>
                </a:cubicBezTo>
                <a:cubicBezTo>
                  <a:pt x="2434" y="3187"/>
                  <a:pt x="2408" y="3199"/>
                  <a:pt x="2388" y="3199"/>
                </a:cubicBezTo>
                <a:cubicBezTo>
                  <a:pt x="2368" y="3199"/>
                  <a:pt x="2340" y="3222"/>
                  <a:pt x="2331" y="3218"/>
                </a:cubicBezTo>
                <a:cubicBezTo>
                  <a:pt x="2322" y="3214"/>
                  <a:pt x="2323" y="3193"/>
                  <a:pt x="2312" y="3191"/>
                </a:cubicBezTo>
                <a:cubicBezTo>
                  <a:pt x="2301" y="3189"/>
                  <a:pt x="2273" y="3186"/>
                  <a:pt x="2273" y="3186"/>
                </a:cubicBezTo>
                <a:cubicBezTo>
                  <a:pt x="2273" y="3186"/>
                  <a:pt x="2271" y="3169"/>
                  <a:pt x="2266" y="3162"/>
                </a:cubicBezTo>
                <a:cubicBezTo>
                  <a:pt x="2261" y="3155"/>
                  <a:pt x="2253" y="3146"/>
                  <a:pt x="2253" y="3146"/>
                </a:cubicBezTo>
                <a:cubicBezTo>
                  <a:pt x="2253" y="3123"/>
                  <a:pt x="2253" y="3123"/>
                  <a:pt x="2253" y="3123"/>
                </a:cubicBezTo>
                <a:cubicBezTo>
                  <a:pt x="2227" y="3082"/>
                  <a:pt x="2227" y="3082"/>
                  <a:pt x="2227" y="3082"/>
                </a:cubicBezTo>
                <a:cubicBezTo>
                  <a:pt x="2226" y="3054"/>
                  <a:pt x="2226" y="3054"/>
                  <a:pt x="2226" y="3054"/>
                </a:cubicBezTo>
                <a:cubicBezTo>
                  <a:pt x="2215" y="3034"/>
                  <a:pt x="2215" y="3034"/>
                  <a:pt x="2215" y="3034"/>
                </a:cubicBezTo>
                <a:cubicBezTo>
                  <a:pt x="2212" y="2977"/>
                  <a:pt x="2212" y="2977"/>
                  <a:pt x="2212" y="2977"/>
                </a:cubicBezTo>
                <a:cubicBezTo>
                  <a:pt x="2212" y="2977"/>
                  <a:pt x="2228" y="2956"/>
                  <a:pt x="2228" y="2945"/>
                </a:cubicBezTo>
                <a:cubicBezTo>
                  <a:pt x="2228" y="2934"/>
                  <a:pt x="2230" y="2904"/>
                  <a:pt x="2230" y="2904"/>
                </a:cubicBezTo>
                <a:cubicBezTo>
                  <a:pt x="2228" y="2877"/>
                  <a:pt x="2228" y="2877"/>
                  <a:pt x="2228" y="2877"/>
                </a:cubicBezTo>
                <a:cubicBezTo>
                  <a:pt x="2244" y="2872"/>
                  <a:pt x="2244" y="2872"/>
                  <a:pt x="2244" y="2872"/>
                </a:cubicBezTo>
                <a:cubicBezTo>
                  <a:pt x="2244" y="2872"/>
                  <a:pt x="2243" y="2832"/>
                  <a:pt x="2251" y="2830"/>
                </a:cubicBezTo>
                <a:cubicBezTo>
                  <a:pt x="2259" y="2828"/>
                  <a:pt x="2267" y="2839"/>
                  <a:pt x="2269" y="2830"/>
                </a:cubicBezTo>
                <a:cubicBezTo>
                  <a:pt x="2271" y="2821"/>
                  <a:pt x="2282" y="2802"/>
                  <a:pt x="2282" y="2802"/>
                </a:cubicBezTo>
                <a:cubicBezTo>
                  <a:pt x="2272" y="2752"/>
                  <a:pt x="2272" y="2752"/>
                  <a:pt x="2272" y="2752"/>
                </a:cubicBezTo>
                <a:cubicBezTo>
                  <a:pt x="2284" y="2741"/>
                  <a:pt x="2284" y="2741"/>
                  <a:pt x="2284" y="2741"/>
                </a:cubicBezTo>
                <a:cubicBezTo>
                  <a:pt x="2271" y="2732"/>
                  <a:pt x="2271" y="2732"/>
                  <a:pt x="2271" y="2732"/>
                </a:cubicBezTo>
                <a:cubicBezTo>
                  <a:pt x="2271" y="2719"/>
                  <a:pt x="2271" y="2719"/>
                  <a:pt x="2271" y="2719"/>
                </a:cubicBezTo>
                <a:cubicBezTo>
                  <a:pt x="2271" y="2719"/>
                  <a:pt x="2289" y="2731"/>
                  <a:pt x="2292" y="2719"/>
                </a:cubicBezTo>
                <a:cubicBezTo>
                  <a:pt x="2295" y="2707"/>
                  <a:pt x="2292" y="2698"/>
                  <a:pt x="2292" y="2698"/>
                </a:cubicBezTo>
                <a:cubicBezTo>
                  <a:pt x="2308" y="2696"/>
                  <a:pt x="2308" y="2696"/>
                  <a:pt x="2308" y="2696"/>
                </a:cubicBezTo>
                <a:cubicBezTo>
                  <a:pt x="2313" y="2678"/>
                  <a:pt x="2313" y="2678"/>
                  <a:pt x="2313" y="2678"/>
                </a:cubicBezTo>
                <a:cubicBezTo>
                  <a:pt x="2323" y="2683"/>
                  <a:pt x="2323" y="2683"/>
                  <a:pt x="2323" y="2683"/>
                </a:cubicBezTo>
                <a:cubicBezTo>
                  <a:pt x="2336" y="2676"/>
                  <a:pt x="2336" y="2676"/>
                  <a:pt x="2336" y="2676"/>
                </a:cubicBezTo>
                <a:cubicBezTo>
                  <a:pt x="2331" y="2660"/>
                  <a:pt x="2331" y="2660"/>
                  <a:pt x="2331" y="2660"/>
                </a:cubicBezTo>
                <a:cubicBezTo>
                  <a:pt x="2341" y="2667"/>
                  <a:pt x="2341" y="2667"/>
                  <a:pt x="2341" y="2667"/>
                </a:cubicBezTo>
                <a:cubicBezTo>
                  <a:pt x="2341" y="2667"/>
                  <a:pt x="2345" y="2645"/>
                  <a:pt x="2351" y="2649"/>
                </a:cubicBezTo>
                <a:cubicBezTo>
                  <a:pt x="2357" y="2653"/>
                  <a:pt x="2358" y="2664"/>
                  <a:pt x="2364" y="2661"/>
                </a:cubicBezTo>
                <a:cubicBezTo>
                  <a:pt x="2370" y="2658"/>
                  <a:pt x="2398" y="2650"/>
                  <a:pt x="2406" y="2642"/>
                </a:cubicBezTo>
                <a:cubicBezTo>
                  <a:pt x="2414" y="2634"/>
                  <a:pt x="2428" y="2615"/>
                  <a:pt x="2428" y="2615"/>
                </a:cubicBezTo>
                <a:cubicBezTo>
                  <a:pt x="2428" y="2615"/>
                  <a:pt x="2420" y="2592"/>
                  <a:pt x="2430" y="2591"/>
                </a:cubicBezTo>
                <a:cubicBezTo>
                  <a:pt x="2440" y="2590"/>
                  <a:pt x="2451" y="2614"/>
                  <a:pt x="2463" y="2607"/>
                </a:cubicBezTo>
                <a:cubicBezTo>
                  <a:pt x="2475" y="2600"/>
                  <a:pt x="2479" y="2572"/>
                  <a:pt x="2485" y="2579"/>
                </a:cubicBezTo>
                <a:cubicBezTo>
                  <a:pt x="2491" y="2586"/>
                  <a:pt x="2494" y="2592"/>
                  <a:pt x="2499" y="2592"/>
                </a:cubicBezTo>
                <a:cubicBezTo>
                  <a:pt x="2504" y="2592"/>
                  <a:pt x="2515" y="2576"/>
                  <a:pt x="2515" y="2576"/>
                </a:cubicBezTo>
                <a:cubicBezTo>
                  <a:pt x="2515" y="2576"/>
                  <a:pt x="2534" y="2607"/>
                  <a:pt x="2548" y="2605"/>
                </a:cubicBezTo>
                <a:cubicBezTo>
                  <a:pt x="2562" y="2603"/>
                  <a:pt x="2564" y="2572"/>
                  <a:pt x="2580" y="2588"/>
                </a:cubicBezTo>
                <a:cubicBezTo>
                  <a:pt x="2596" y="2604"/>
                  <a:pt x="2588" y="2622"/>
                  <a:pt x="2598" y="2622"/>
                </a:cubicBezTo>
                <a:cubicBezTo>
                  <a:pt x="2608" y="2622"/>
                  <a:pt x="2624" y="2629"/>
                  <a:pt x="2624" y="2629"/>
                </a:cubicBezTo>
                <a:cubicBezTo>
                  <a:pt x="2624" y="2629"/>
                  <a:pt x="2623" y="2613"/>
                  <a:pt x="2630" y="2618"/>
                </a:cubicBezTo>
                <a:cubicBezTo>
                  <a:pt x="2637" y="2623"/>
                  <a:pt x="2645" y="2642"/>
                  <a:pt x="2650" y="2630"/>
                </a:cubicBezTo>
                <a:cubicBezTo>
                  <a:pt x="2655" y="2618"/>
                  <a:pt x="2648" y="2603"/>
                  <a:pt x="2648" y="2603"/>
                </a:cubicBezTo>
                <a:cubicBezTo>
                  <a:pt x="2662" y="2608"/>
                  <a:pt x="2662" y="2608"/>
                  <a:pt x="2662" y="2608"/>
                </a:cubicBezTo>
                <a:cubicBezTo>
                  <a:pt x="2667" y="2619"/>
                  <a:pt x="2667" y="2619"/>
                  <a:pt x="2667" y="2619"/>
                </a:cubicBezTo>
                <a:cubicBezTo>
                  <a:pt x="2677" y="2622"/>
                  <a:pt x="2677" y="2622"/>
                  <a:pt x="2677" y="2622"/>
                </a:cubicBezTo>
                <a:cubicBezTo>
                  <a:pt x="2677" y="2631"/>
                  <a:pt x="2677" y="2631"/>
                  <a:pt x="2677" y="2631"/>
                </a:cubicBezTo>
                <a:cubicBezTo>
                  <a:pt x="2677" y="2631"/>
                  <a:pt x="2701" y="2638"/>
                  <a:pt x="2696" y="2626"/>
                </a:cubicBezTo>
                <a:cubicBezTo>
                  <a:pt x="2691" y="2614"/>
                  <a:pt x="2677" y="2609"/>
                  <a:pt x="2677" y="2609"/>
                </a:cubicBezTo>
                <a:cubicBezTo>
                  <a:pt x="2671" y="2599"/>
                  <a:pt x="2671" y="2599"/>
                  <a:pt x="2671" y="2599"/>
                </a:cubicBezTo>
                <a:cubicBezTo>
                  <a:pt x="2671" y="2599"/>
                  <a:pt x="2691" y="2596"/>
                  <a:pt x="2689" y="2588"/>
                </a:cubicBezTo>
                <a:cubicBezTo>
                  <a:pt x="2687" y="2580"/>
                  <a:pt x="2685" y="2578"/>
                  <a:pt x="2676" y="2579"/>
                </a:cubicBezTo>
                <a:cubicBezTo>
                  <a:pt x="2667" y="2580"/>
                  <a:pt x="2640" y="2583"/>
                  <a:pt x="2649" y="2569"/>
                </a:cubicBezTo>
                <a:cubicBezTo>
                  <a:pt x="2658" y="2555"/>
                  <a:pt x="2667" y="2566"/>
                  <a:pt x="2678" y="2569"/>
                </a:cubicBezTo>
                <a:cubicBezTo>
                  <a:pt x="2689" y="2572"/>
                  <a:pt x="2697" y="2570"/>
                  <a:pt x="2707" y="2563"/>
                </a:cubicBezTo>
                <a:cubicBezTo>
                  <a:pt x="2717" y="2556"/>
                  <a:pt x="2728" y="2556"/>
                  <a:pt x="2728" y="2556"/>
                </a:cubicBezTo>
                <a:cubicBezTo>
                  <a:pt x="2729" y="2560"/>
                  <a:pt x="2729" y="2560"/>
                  <a:pt x="2729" y="2560"/>
                </a:cubicBezTo>
                <a:cubicBezTo>
                  <a:pt x="2729" y="2560"/>
                  <a:pt x="2759" y="2560"/>
                  <a:pt x="2759" y="2553"/>
                </a:cubicBezTo>
                <a:cubicBezTo>
                  <a:pt x="2759" y="2546"/>
                  <a:pt x="2765" y="2531"/>
                  <a:pt x="2768" y="2536"/>
                </a:cubicBezTo>
                <a:cubicBezTo>
                  <a:pt x="2771" y="2541"/>
                  <a:pt x="2771" y="2563"/>
                  <a:pt x="2771" y="2563"/>
                </a:cubicBezTo>
                <a:cubicBezTo>
                  <a:pt x="2771" y="2563"/>
                  <a:pt x="2804" y="2551"/>
                  <a:pt x="2813" y="2552"/>
                </a:cubicBezTo>
                <a:cubicBezTo>
                  <a:pt x="2822" y="2553"/>
                  <a:pt x="2829" y="2563"/>
                  <a:pt x="2829" y="2563"/>
                </a:cubicBezTo>
                <a:cubicBezTo>
                  <a:pt x="2829" y="2563"/>
                  <a:pt x="2826" y="2547"/>
                  <a:pt x="2836" y="2551"/>
                </a:cubicBezTo>
                <a:cubicBezTo>
                  <a:pt x="2846" y="2555"/>
                  <a:pt x="2846" y="2569"/>
                  <a:pt x="2846" y="2569"/>
                </a:cubicBezTo>
                <a:cubicBezTo>
                  <a:pt x="2866" y="2564"/>
                  <a:pt x="2866" y="2564"/>
                  <a:pt x="2866" y="2564"/>
                </a:cubicBezTo>
                <a:cubicBezTo>
                  <a:pt x="2862" y="2572"/>
                  <a:pt x="2862" y="2572"/>
                  <a:pt x="2862" y="2572"/>
                </a:cubicBezTo>
                <a:cubicBezTo>
                  <a:pt x="2862" y="2572"/>
                  <a:pt x="2863" y="2604"/>
                  <a:pt x="2881" y="2600"/>
                </a:cubicBezTo>
                <a:cubicBezTo>
                  <a:pt x="2899" y="2596"/>
                  <a:pt x="2912" y="2570"/>
                  <a:pt x="2930" y="2574"/>
                </a:cubicBezTo>
                <a:cubicBezTo>
                  <a:pt x="2948" y="2578"/>
                  <a:pt x="2949" y="2612"/>
                  <a:pt x="2958" y="2618"/>
                </a:cubicBezTo>
                <a:cubicBezTo>
                  <a:pt x="2967" y="2624"/>
                  <a:pt x="2985" y="2624"/>
                  <a:pt x="2985" y="2624"/>
                </a:cubicBezTo>
                <a:cubicBezTo>
                  <a:pt x="2982" y="2650"/>
                  <a:pt x="2982" y="2650"/>
                  <a:pt x="2982" y="2650"/>
                </a:cubicBezTo>
                <a:cubicBezTo>
                  <a:pt x="2982" y="2650"/>
                  <a:pt x="2963" y="2678"/>
                  <a:pt x="2965" y="2686"/>
                </a:cubicBezTo>
                <a:cubicBezTo>
                  <a:pt x="2967" y="2694"/>
                  <a:pt x="2977" y="2695"/>
                  <a:pt x="2977" y="2695"/>
                </a:cubicBezTo>
                <a:cubicBezTo>
                  <a:pt x="2982" y="2705"/>
                  <a:pt x="2982" y="2705"/>
                  <a:pt x="2982" y="2705"/>
                </a:cubicBezTo>
                <a:cubicBezTo>
                  <a:pt x="2963" y="2718"/>
                  <a:pt x="2963" y="2718"/>
                  <a:pt x="2963" y="2718"/>
                </a:cubicBezTo>
                <a:cubicBezTo>
                  <a:pt x="2976" y="2751"/>
                  <a:pt x="2976" y="2751"/>
                  <a:pt x="2976" y="2751"/>
                </a:cubicBezTo>
                <a:cubicBezTo>
                  <a:pt x="2976" y="2751"/>
                  <a:pt x="2991" y="2732"/>
                  <a:pt x="2992" y="2738"/>
                </a:cubicBezTo>
                <a:cubicBezTo>
                  <a:pt x="2993" y="2744"/>
                  <a:pt x="2981" y="2769"/>
                  <a:pt x="2981" y="2769"/>
                </a:cubicBezTo>
                <a:cubicBezTo>
                  <a:pt x="2991" y="2766"/>
                  <a:pt x="2991" y="2766"/>
                  <a:pt x="2991" y="2766"/>
                </a:cubicBezTo>
                <a:cubicBezTo>
                  <a:pt x="2994" y="2798"/>
                  <a:pt x="2994" y="2798"/>
                  <a:pt x="2994" y="2798"/>
                </a:cubicBezTo>
                <a:cubicBezTo>
                  <a:pt x="2994" y="2798"/>
                  <a:pt x="3011" y="2798"/>
                  <a:pt x="3011" y="2804"/>
                </a:cubicBezTo>
                <a:cubicBezTo>
                  <a:pt x="3011" y="2810"/>
                  <a:pt x="3008" y="2826"/>
                  <a:pt x="3008" y="2826"/>
                </a:cubicBezTo>
                <a:cubicBezTo>
                  <a:pt x="3023" y="2843"/>
                  <a:pt x="3023" y="2843"/>
                  <a:pt x="3023" y="2843"/>
                </a:cubicBezTo>
                <a:cubicBezTo>
                  <a:pt x="3023" y="2843"/>
                  <a:pt x="3047" y="2837"/>
                  <a:pt x="3049" y="2830"/>
                </a:cubicBezTo>
                <a:cubicBezTo>
                  <a:pt x="3051" y="2823"/>
                  <a:pt x="3053" y="2810"/>
                  <a:pt x="3053" y="2810"/>
                </a:cubicBezTo>
                <a:cubicBezTo>
                  <a:pt x="3065" y="2810"/>
                  <a:pt x="3065" y="2810"/>
                  <a:pt x="3065" y="2810"/>
                </a:cubicBezTo>
                <a:cubicBezTo>
                  <a:pt x="3065" y="2810"/>
                  <a:pt x="3064" y="2789"/>
                  <a:pt x="3071" y="2779"/>
                </a:cubicBezTo>
                <a:cubicBezTo>
                  <a:pt x="3078" y="2769"/>
                  <a:pt x="3082" y="2752"/>
                  <a:pt x="3079" y="2742"/>
                </a:cubicBezTo>
                <a:cubicBezTo>
                  <a:pt x="3076" y="2732"/>
                  <a:pt x="3066" y="2699"/>
                  <a:pt x="3066" y="2690"/>
                </a:cubicBezTo>
                <a:cubicBezTo>
                  <a:pt x="3066" y="2681"/>
                  <a:pt x="3072" y="2667"/>
                  <a:pt x="3072" y="2651"/>
                </a:cubicBezTo>
                <a:cubicBezTo>
                  <a:pt x="3072" y="2635"/>
                  <a:pt x="3052" y="2609"/>
                  <a:pt x="3056" y="2595"/>
                </a:cubicBezTo>
                <a:cubicBezTo>
                  <a:pt x="3060" y="2581"/>
                  <a:pt x="3052" y="2541"/>
                  <a:pt x="3064" y="2526"/>
                </a:cubicBezTo>
                <a:cubicBezTo>
                  <a:pt x="3076" y="2511"/>
                  <a:pt x="3084" y="2487"/>
                  <a:pt x="3084" y="2487"/>
                </a:cubicBezTo>
                <a:cubicBezTo>
                  <a:pt x="3094" y="2481"/>
                  <a:pt x="3094" y="2481"/>
                  <a:pt x="3094" y="2481"/>
                </a:cubicBezTo>
                <a:cubicBezTo>
                  <a:pt x="3107" y="2468"/>
                  <a:pt x="3107" y="2468"/>
                  <a:pt x="3107" y="2468"/>
                </a:cubicBezTo>
                <a:cubicBezTo>
                  <a:pt x="3113" y="2452"/>
                  <a:pt x="3113" y="2452"/>
                  <a:pt x="3113" y="2452"/>
                </a:cubicBezTo>
                <a:cubicBezTo>
                  <a:pt x="3122" y="2458"/>
                  <a:pt x="3122" y="2458"/>
                  <a:pt x="3122" y="2458"/>
                </a:cubicBezTo>
                <a:cubicBezTo>
                  <a:pt x="3125" y="2444"/>
                  <a:pt x="3125" y="2444"/>
                  <a:pt x="3125" y="2444"/>
                </a:cubicBezTo>
                <a:cubicBezTo>
                  <a:pt x="3125" y="2444"/>
                  <a:pt x="3155" y="2448"/>
                  <a:pt x="3160" y="2442"/>
                </a:cubicBezTo>
                <a:cubicBezTo>
                  <a:pt x="3165" y="2436"/>
                  <a:pt x="3161" y="2425"/>
                  <a:pt x="3161" y="2425"/>
                </a:cubicBezTo>
                <a:cubicBezTo>
                  <a:pt x="3174" y="2426"/>
                  <a:pt x="3174" y="2426"/>
                  <a:pt x="3174" y="2426"/>
                </a:cubicBezTo>
                <a:cubicBezTo>
                  <a:pt x="3178" y="2420"/>
                  <a:pt x="3178" y="2420"/>
                  <a:pt x="3178" y="2420"/>
                </a:cubicBezTo>
                <a:cubicBezTo>
                  <a:pt x="3189" y="2419"/>
                  <a:pt x="3189" y="2419"/>
                  <a:pt x="3189" y="2419"/>
                </a:cubicBezTo>
                <a:cubicBezTo>
                  <a:pt x="3206" y="2398"/>
                  <a:pt x="3206" y="2398"/>
                  <a:pt x="3206" y="2398"/>
                </a:cubicBezTo>
                <a:cubicBezTo>
                  <a:pt x="3206" y="2398"/>
                  <a:pt x="3210" y="2378"/>
                  <a:pt x="3229" y="2373"/>
                </a:cubicBezTo>
                <a:cubicBezTo>
                  <a:pt x="3248" y="2368"/>
                  <a:pt x="3259" y="2379"/>
                  <a:pt x="3268" y="2370"/>
                </a:cubicBezTo>
                <a:cubicBezTo>
                  <a:pt x="3277" y="2361"/>
                  <a:pt x="3283" y="2344"/>
                  <a:pt x="3283" y="2344"/>
                </a:cubicBezTo>
                <a:cubicBezTo>
                  <a:pt x="3293" y="2346"/>
                  <a:pt x="3293" y="2346"/>
                  <a:pt x="3293" y="2346"/>
                </a:cubicBezTo>
                <a:cubicBezTo>
                  <a:pt x="3298" y="2331"/>
                  <a:pt x="3298" y="2331"/>
                  <a:pt x="3298" y="2331"/>
                </a:cubicBezTo>
                <a:cubicBezTo>
                  <a:pt x="3352" y="2328"/>
                  <a:pt x="3352" y="2328"/>
                  <a:pt x="3352" y="2328"/>
                </a:cubicBezTo>
                <a:cubicBezTo>
                  <a:pt x="3355" y="2312"/>
                  <a:pt x="3355" y="2312"/>
                  <a:pt x="3355" y="2312"/>
                </a:cubicBezTo>
                <a:cubicBezTo>
                  <a:pt x="3330" y="2314"/>
                  <a:pt x="3330" y="2314"/>
                  <a:pt x="3330" y="2314"/>
                </a:cubicBezTo>
                <a:cubicBezTo>
                  <a:pt x="3330" y="2314"/>
                  <a:pt x="3344" y="2309"/>
                  <a:pt x="3343" y="2302"/>
                </a:cubicBezTo>
                <a:cubicBezTo>
                  <a:pt x="3342" y="2295"/>
                  <a:pt x="3332" y="2288"/>
                  <a:pt x="3332" y="2288"/>
                </a:cubicBezTo>
                <a:cubicBezTo>
                  <a:pt x="3355" y="2284"/>
                  <a:pt x="3355" y="2284"/>
                  <a:pt x="3355" y="2284"/>
                </a:cubicBezTo>
                <a:cubicBezTo>
                  <a:pt x="3371" y="2290"/>
                  <a:pt x="3371" y="2290"/>
                  <a:pt x="3371" y="2290"/>
                </a:cubicBezTo>
                <a:cubicBezTo>
                  <a:pt x="3394" y="2266"/>
                  <a:pt x="3394" y="2266"/>
                  <a:pt x="3394" y="2266"/>
                </a:cubicBezTo>
                <a:cubicBezTo>
                  <a:pt x="3357" y="2265"/>
                  <a:pt x="3357" y="2265"/>
                  <a:pt x="3357" y="2265"/>
                </a:cubicBezTo>
                <a:cubicBezTo>
                  <a:pt x="3355" y="2248"/>
                  <a:pt x="3355" y="2248"/>
                  <a:pt x="3355" y="2248"/>
                </a:cubicBezTo>
                <a:cubicBezTo>
                  <a:pt x="3364" y="2257"/>
                  <a:pt x="3364" y="2257"/>
                  <a:pt x="3364" y="2257"/>
                </a:cubicBezTo>
                <a:cubicBezTo>
                  <a:pt x="3394" y="2246"/>
                  <a:pt x="3394" y="2246"/>
                  <a:pt x="3394" y="2246"/>
                </a:cubicBezTo>
                <a:cubicBezTo>
                  <a:pt x="3397" y="2207"/>
                  <a:pt x="3397" y="2207"/>
                  <a:pt x="3397" y="2207"/>
                </a:cubicBezTo>
                <a:cubicBezTo>
                  <a:pt x="3378" y="2215"/>
                  <a:pt x="3378" y="2215"/>
                  <a:pt x="3378" y="2215"/>
                </a:cubicBezTo>
                <a:cubicBezTo>
                  <a:pt x="3374" y="2197"/>
                  <a:pt x="3374" y="2197"/>
                  <a:pt x="3374" y="2197"/>
                </a:cubicBezTo>
                <a:cubicBezTo>
                  <a:pt x="3358" y="2186"/>
                  <a:pt x="3358" y="2186"/>
                  <a:pt x="3358" y="2186"/>
                </a:cubicBezTo>
                <a:cubicBezTo>
                  <a:pt x="3387" y="2201"/>
                  <a:pt x="3387" y="2201"/>
                  <a:pt x="3387" y="2201"/>
                </a:cubicBezTo>
                <a:cubicBezTo>
                  <a:pt x="3394" y="2195"/>
                  <a:pt x="3394" y="2195"/>
                  <a:pt x="3394" y="2195"/>
                </a:cubicBezTo>
                <a:cubicBezTo>
                  <a:pt x="3381" y="2185"/>
                  <a:pt x="3381" y="2185"/>
                  <a:pt x="3381" y="2185"/>
                </a:cubicBezTo>
                <a:cubicBezTo>
                  <a:pt x="3399" y="2185"/>
                  <a:pt x="3399" y="2185"/>
                  <a:pt x="3399" y="2185"/>
                </a:cubicBezTo>
                <a:cubicBezTo>
                  <a:pt x="3399" y="2185"/>
                  <a:pt x="3377" y="2156"/>
                  <a:pt x="3377" y="2149"/>
                </a:cubicBezTo>
                <a:cubicBezTo>
                  <a:pt x="3377" y="2142"/>
                  <a:pt x="3382" y="2139"/>
                  <a:pt x="3382" y="2139"/>
                </a:cubicBezTo>
                <a:cubicBezTo>
                  <a:pt x="3382" y="2139"/>
                  <a:pt x="3365" y="2128"/>
                  <a:pt x="3367" y="2125"/>
                </a:cubicBezTo>
                <a:cubicBezTo>
                  <a:pt x="3369" y="2122"/>
                  <a:pt x="3388" y="2110"/>
                  <a:pt x="3388" y="2110"/>
                </a:cubicBezTo>
                <a:cubicBezTo>
                  <a:pt x="3383" y="2128"/>
                  <a:pt x="3383" y="2128"/>
                  <a:pt x="3383" y="2128"/>
                </a:cubicBezTo>
                <a:cubicBezTo>
                  <a:pt x="3404" y="2145"/>
                  <a:pt x="3404" y="2145"/>
                  <a:pt x="3404" y="2145"/>
                </a:cubicBezTo>
                <a:cubicBezTo>
                  <a:pt x="3404" y="2145"/>
                  <a:pt x="3412" y="2121"/>
                  <a:pt x="3412" y="2108"/>
                </a:cubicBezTo>
                <a:cubicBezTo>
                  <a:pt x="3412" y="2095"/>
                  <a:pt x="3450" y="2064"/>
                  <a:pt x="3449" y="2072"/>
                </a:cubicBezTo>
                <a:cubicBezTo>
                  <a:pt x="3448" y="2080"/>
                  <a:pt x="3425" y="2113"/>
                  <a:pt x="3425" y="2113"/>
                </a:cubicBezTo>
                <a:cubicBezTo>
                  <a:pt x="3419" y="2135"/>
                  <a:pt x="3419" y="2135"/>
                  <a:pt x="3419" y="2135"/>
                </a:cubicBezTo>
                <a:cubicBezTo>
                  <a:pt x="3432" y="2136"/>
                  <a:pt x="3432" y="2136"/>
                  <a:pt x="3432" y="2136"/>
                </a:cubicBezTo>
                <a:cubicBezTo>
                  <a:pt x="3432" y="2136"/>
                  <a:pt x="3429" y="2158"/>
                  <a:pt x="3424" y="2162"/>
                </a:cubicBezTo>
                <a:cubicBezTo>
                  <a:pt x="3419" y="2166"/>
                  <a:pt x="3401" y="2200"/>
                  <a:pt x="3408" y="2200"/>
                </a:cubicBezTo>
                <a:cubicBezTo>
                  <a:pt x="3415" y="2200"/>
                  <a:pt x="3425" y="2176"/>
                  <a:pt x="3431" y="2171"/>
                </a:cubicBezTo>
                <a:cubicBezTo>
                  <a:pt x="3437" y="2166"/>
                  <a:pt x="3467" y="2150"/>
                  <a:pt x="3469" y="2137"/>
                </a:cubicBezTo>
                <a:cubicBezTo>
                  <a:pt x="3471" y="2124"/>
                  <a:pt x="3467" y="2103"/>
                  <a:pt x="3467" y="2092"/>
                </a:cubicBezTo>
                <a:cubicBezTo>
                  <a:pt x="3467" y="2081"/>
                  <a:pt x="3471" y="2055"/>
                  <a:pt x="3478" y="2052"/>
                </a:cubicBezTo>
                <a:cubicBezTo>
                  <a:pt x="3485" y="2049"/>
                  <a:pt x="3480" y="2054"/>
                  <a:pt x="3477" y="2067"/>
                </a:cubicBezTo>
                <a:cubicBezTo>
                  <a:pt x="3474" y="2080"/>
                  <a:pt x="3486" y="2084"/>
                  <a:pt x="3486" y="2084"/>
                </a:cubicBezTo>
                <a:cubicBezTo>
                  <a:pt x="3486" y="2084"/>
                  <a:pt x="3480" y="2109"/>
                  <a:pt x="3483" y="2109"/>
                </a:cubicBezTo>
                <a:cubicBezTo>
                  <a:pt x="3486" y="2109"/>
                  <a:pt x="3517" y="2070"/>
                  <a:pt x="3527" y="2060"/>
                </a:cubicBezTo>
                <a:cubicBezTo>
                  <a:pt x="3537" y="2050"/>
                  <a:pt x="3559" y="2034"/>
                  <a:pt x="3556" y="2030"/>
                </a:cubicBezTo>
                <a:cubicBezTo>
                  <a:pt x="3553" y="2026"/>
                  <a:pt x="3544" y="2029"/>
                  <a:pt x="3544" y="2019"/>
                </a:cubicBezTo>
                <a:cubicBezTo>
                  <a:pt x="3544" y="2009"/>
                  <a:pt x="3562" y="2014"/>
                  <a:pt x="3582" y="2014"/>
                </a:cubicBezTo>
                <a:cubicBezTo>
                  <a:pt x="3602" y="2014"/>
                  <a:pt x="3648" y="1992"/>
                  <a:pt x="3648" y="1992"/>
                </a:cubicBezTo>
                <a:cubicBezTo>
                  <a:pt x="3635" y="1986"/>
                  <a:pt x="3635" y="1986"/>
                  <a:pt x="3635" y="1986"/>
                </a:cubicBezTo>
                <a:cubicBezTo>
                  <a:pt x="3635" y="1986"/>
                  <a:pt x="3611" y="1997"/>
                  <a:pt x="3599" y="1998"/>
                </a:cubicBezTo>
                <a:cubicBezTo>
                  <a:pt x="3587" y="1999"/>
                  <a:pt x="3567" y="2007"/>
                  <a:pt x="3570" y="1994"/>
                </a:cubicBezTo>
                <a:cubicBezTo>
                  <a:pt x="3573" y="1981"/>
                  <a:pt x="3608" y="1978"/>
                  <a:pt x="3608" y="1978"/>
                </a:cubicBezTo>
                <a:cubicBezTo>
                  <a:pt x="3668" y="1977"/>
                  <a:pt x="3668" y="1977"/>
                  <a:pt x="3668" y="1977"/>
                </a:cubicBezTo>
                <a:cubicBezTo>
                  <a:pt x="3697" y="1950"/>
                  <a:pt x="3697" y="1950"/>
                  <a:pt x="3697" y="1950"/>
                </a:cubicBezTo>
                <a:cubicBezTo>
                  <a:pt x="3703" y="1960"/>
                  <a:pt x="3703" y="1960"/>
                  <a:pt x="3703" y="1960"/>
                </a:cubicBezTo>
                <a:cubicBezTo>
                  <a:pt x="3721" y="1951"/>
                  <a:pt x="3721" y="1951"/>
                  <a:pt x="3721" y="1951"/>
                </a:cubicBezTo>
                <a:cubicBezTo>
                  <a:pt x="3719" y="1974"/>
                  <a:pt x="3719" y="1974"/>
                  <a:pt x="3719" y="1974"/>
                </a:cubicBezTo>
                <a:cubicBezTo>
                  <a:pt x="3739" y="1961"/>
                  <a:pt x="3739" y="1961"/>
                  <a:pt x="3739" y="1961"/>
                </a:cubicBezTo>
                <a:cubicBezTo>
                  <a:pt x="3755" y="1957"/>
                  <a:pt x="3755" y="1957"/>
                  <a:pt x="3755" y="1957"/>
                </a:cubicBezTo>
                <a:cubicBezTo>
                  <a:pt x="3760" y="1935"/>
                  <a:pt x="3760" y="1935"/>
                  <a:pt x="3760" y="1935"/>
                </a:cubicBezTo>
                <a:cubicBezTo>
                  <a:pt x="3751" y="1927"/>
                  <a:pt x="3751" y="1927"/>
                  <a:pt x="3751" y="1927"/>
                </a:cubicBezTo>
                <a:cubicBezTo>
                  <a:pt x="3749" y="1946"/>
                  <a:pt x="3749" y="1946"/>
                  <a:pt x="3749" y="1946"/>
                </a:cubicBezTo>
                <a:cubicBezTo>
                  <a:pt x="3733" y="1949"/>
                  <a:pt x="3733" y="1949"/>
                  <a:pt x="3733" y="1949"/>
                </a:cubicBezTo>
                <a:cubicBezTo>
                  <a:pt x="3733" y="1930"/>
                  <a:pt x="3733" y="1930"/>
                  <a:pt x="3733" y="1930"/>
                </a:cubicBezTo>
                <a:cubicBezTo>
                  <a:pt x="3720" y="1916"/>
                  <a:pt x="3720" y="1916"/>
                  <a:pt x="3720" y="1916"/>
                </a:cubicBezTo>
                <a:cubicBezTo>
                  <a:pt x="3736" y="1908"/>
                  <a:pt x="3736" y="1908"/>
                  <a:pt x="3736" y="1908"/>
                </a:cubicBezTo>
                <a:cubicBezTo>
                  <a:pt x="3740" y="1885"/>
                  <a:pt x="3740" y="1885"/>
                  <a:pt x="3740" y="1885"/>
                </a:cubicBezTo>
                <a:cubicBezTo>
                  <a:pt x="3740" y="1885"/>
                  <a:pt x="3755" y="1868"/>
                  <a:pt x="3765" y="1863"/>
                </a:cubicBezTo>
                <a:cubicBezTo>
                  <a:pt x="3775" y="1858"/>
                  <a:pt x="3780" y="1840"/>
                  <a:pt x="3780" y="1840"/>
                </a:cubicBezTo>
                <a:cubicBezTo>
                  <a:pt x="3799" y="1845"/>
                  <a:pt x="3799" y="1845"/>
                  <a:pt x="3799" y="1845"/>
                </a:cubicBezTo>
                <a:cubicBezTo>
                  <a:pt x="3809" y="1830"/>
                  <a:pt x="3809" y="1830"/>
                  <a:pt x="3809" y="1830"/>
                </a:cubicBezTo>
                <a:cubicBezTo>
                  <a:pt x="3809" y="1830"/>
                  <a:pt x="3812" y="1841"/>
                  <a:pt x="3821" y="1835"/>
                </a:cubicBezTo>
                <a:cubicBezTo>
                  <a:pt x="3830" y="1829"/>
                  <a:pt x="3857" y="1805"/>
                  <a:pt x="3857" y="1805"/>
                </a:cubicBezTo>
                <a:cubicBezTo>
                  <a:pt x="3858" y="1823"/>
                  <a:pt x="3858" y="1823"/>
                  <a:pt x="3858" y="1823"/>
                </a:cubicBezTo>
                <a:cubicBezTo>
                  <a:pt x="3858" y="1823"/>
                  <a:pt x="3889" y="1804"/>
                  <a:pt x="3898" y="1799"/>
                </a:cubicBezTo>
                <a:cubicBezTo>
                  <a:pt x="3907" y="1794"/>
                  <a:pt x="3939" y="1793"/>
                  <a:pt x="3939" y="1793"/>
                </a:cubicBezTo>
                <a:cubicBezTo>
                  <a:pt x="3939" y="1771"/>
                  <a:pt x="3939" y="1771"/>
                  <a:pt x="3939" y="1771"/>
                </a:cubicBezTo>
                <a:cubicBezTo>
                  <a:pt x="3939" y="1771"/>
                  <a:pt x="3940" y="1771"/>
                  <a:pt x="3940" y="1772"/>
                </a:cubicBezTo>
                <a:cubicBezTo>
                  <a:pt x="3944" y="1774"/>
                  <a:pt x="3954" y="1778"/>
                  <a:pt x="3966" y="1773"/>
                </a:cubicBezTo>
                <a:cubicBezTo>
                  <a:pt x="3981" y="1767"/>
                  <a:pt x="3993" y="1751"/>
                  <a:pt x="3993" y="1751"/>
                </a:cubicBezTo>
                <a:cubicBezTo>
                  <a:pt x="3999" y="1765"/>
                  <a:pt x="3999" y="1765"/>
                  <a:pt x="3999" y="1765"/>
                </a:cubicBezTo>
                <a:cubicBezTo>
                  <a:pt x="3999" y="1765"/>
                  <a:pt x="4031" y="1751"/>
                  <a:pt x="4036" y="1747"/>
                </a:cubicBezTo>
                <a:cubicBezTo>
                  <a:pt x="4041" y="1743"/>
                  <a:pt x="4062" y="1737"/>
                  <a:pt x="4062" y="1737"/>
                </a:cubicBezTo>
                <a:cubicBezTo>
                  <a:pt x="4072" y="1738"/>
                  <a:pt x="4072" y="1738"/>
                  <a:pt x="4072" y="1738"/>
                </a:cubicBezTo>
                <a:cubicBezTo>
                  <a:pt x="4043" y="1761"/>
                  <a:pt x="4043" y="1761"/>
                  <a:pt x="4043" y="1761"/>
                </a:cubicBezTo>
                <a:cubicBezTo>
                  <a:pt x="4104" y="1755"/>
                  <a:pt x="4104" y="1755"/>
                  <a:pt x="4104" y="1755"/>
                </a:cubicBezTo>
                <a:cubicBezTo>
                  <a:pt x="4104" y="1755"/>
                  <a:pt x="4075" y="1758"/>
                  <a:pt x="4074" y="1764"/>
                </a:cubicBezTo>
                <a:cubicBezTo>
                  <a:pt x="4073" y="1770"/>
                  <a:pt x="4069" y="1777"/>
                  <a:pt x="4069" y="1777"/>
                </a:cubicBezTo>
                <a:cubicBezTo>
                  <a:pt x="4069" y="1777"/>
                  <a:pt x="4050" y="1766"/>
                  <a:pt x="4043" y="1769"/>
                </a:cubicBezTo>
                <a:cubicBezTo>
                  <a:pt x="4036" y="1772"/>
                  <a:pt x="3968" y="1806"/>
                  <a:pt x="3965" y="1814"/>
                </a:cubicBezTo>
                <a:cubicBezTo>
                  <a:pt x="3962" y="1822"/>
                  <a:pt x="3956" y="1846"/>
                  <a:pt x="3961" y="1847"/>
                </a:cubicBezTo>
                <a:cubicBezTo>
                  <a:pt x="3966" y="1848"/>
                  <a:pt x="3973" y="1842"/>
                  <a:pt x="3973" y="1842"/>
                </a:cubicBezTo>
                <a:cubicBezTo>
                  <a:pt x="3973" y="1842"/>
                  <a:pt x="3971" y="1858"/>
                  <a:pt x="3980" y="1856"/>
                </a:cubicBezTo>
                <a:cubicBezTo>
                  <a:pt x="3989" y="1854"/>
                  <a:pt x="3995" y="1841"/>
                  <a:pt x="3995" y="1841"/>
                </a:cubicBezTo>
                <a:cubicBezTo>
                  <a:pt x="3995" y="1841"/>
                  <a:pt x="4021" y="1838"/>
                  <a:pt x="4035" y="1826"/>
                </a:cubicBezTo>
                <a:cubicBezTo>
                  <a:pt x="4049" y="1814"/>
                  <a:pt x="4064" y="1793"/>
                  <a:pt x="4064" y="1793"/>
                </a:cubicBezTo>
                <a:cubicBezTo>
                  <a:pt x="4064" y="1793"/>
                  <a:pt x="4064" y="1809"/>
                  <a:pt x="4078" y="1806"/>
                </a:cubicBezTo>
                <a:cubicBezTo>
                  <a:pt x="4092" y="1803"/>
                  <a:pt x="4126" y="1788"/>
                  <a:pt x="4137" y="1785"/>
                </a:cubicBezTo>
                <a:cubicBezTo>
                  <a:pt x="4148" y="1782"/>
                  <a:pt x="4200" y="1769"/>
                  <a:pt x="4200" y="1769"/>
                </a:cubicBezTo>
                <a:cubicBezTo>
                  <a:pt x="4191" y="1759"/>
                  <a:pt x="4191" y="1759"/>
                  <a:pt x="4191" y="1759"/>
                </a:cubicBezTo>
                <a:cubicBezTo>
                  <a:pt x="4195" y="1746"/>
                  <a:pt x="4195" y="1746"/>
                  <a:pt x="4195" y="1746"/>
                </a:cubicBezTo>
                <a:cubicBezTo>
                  <a:pt x="4174" y="1750"/>
                  <a:pt x="4174" y="1750"/>
                  <a:pt x="4174" y="1750"/>
                </a:cubicBezTo>
                <a:cubicBezTo>
                  <a:pt x="4173" y="1734"/>
                  <a:pt x="4173" y="1734"/>
                  <a:pt x="4173" y="1734"/>
                </a:cubicBezTo>
                <a:cubicBezTo>
                  <a:pt x="4173" y="1734"/>
                  <a:pt x="4149" y="1748"/>
                  <a:pt x="4143" y="1747"/>
                </a:cubicBezTo>
                <a:cubicBezTo>
                  <a:pt x="4137" y="1746"/>
                  <a:pt x="4139" y="1737"/>
                  <a:pt x="4139" y="1737"/>
                </a:cubicBezTo>
                <a:cubicBezTo>
                  <a:pt x="4139" y="1737"/>
                  <a:pt x="4107" y="1740"/>
                  <a:pt x="4101" y="1735"/>
                </a:cubicBezTo>
                <a:cubicBezTo>
                  <a:pt x="4095" y="1730"/>
                  <a:pt x="4087" y="1720"/>
                  <a:pt x="4096" y="1720"/>
                </a:cubicBezTo>
                <a:cubicBezTo>
                  <a:pt x="4105" y="1720"/>
                  <a:pt x="4092" y="1707"/>
                  <a:pt x="4081" y="1710"/>
                </a:cubicBezTo>
                <a:cubicBezTo>
                  <a:pt x="4070" y="1713"/>
                  <a:pt x="4066" y="1694"/>
                  <a:pt x="4066" y="1689"/>
                </a:cubicBezTo>
                <a:cubicBezTo>
                  <a:pt x="4066" y="1684"/>
                  <a:pt x="4078" y="1671"/>
                  <a:pt x="4078" y="1671"/>
                </a:cubicBezTo>
                <a:cubicBezTo>
                  <a:pt x="4062" y="1670"/>
                  <a:pt x="4062" y="1670"/>
                  <a:pt x="4062" y="1670"/>
                </a:cubicBezTo>
                <a:cubicBezTo>
                  <a:pt x="4062" y="1670"/>
                  <a:pt x="4081" y="1655"/>
                  <a:pt x="4088" y="1647"/>
                </a:cubicBezTo>
                <a:cubicBezTo>
                  <a:pt x="4095" y="1639"/>
                  <a:pt x="4114" y="1620"/>
                  <a:pt x="4114" y="1620"/>
                </a:cubicBezTo>
                <a:cubicBezTo>
                  <a:pt x="4104" y="1617"/>
                  <a:pt x="4104" y="1617"/>
                  <a:pt x="4104" y="1617"/>
                </a:cubicBezTo>
                <a:cubicBezTo>
                  <a:pt x="4090" y="1635"/>
                  <a:pt x="4090" y="1635"/>
                  <a:pt x="4090" y="1635"/>
                </a:cubicBezTo>
                <a:cubicBezTo>
                  <a:pt x="4075" y="1627"/>
                  <a:pt x="4075" y="1627"/>
                  <a:pt x="4075" y="1627"/>
                </a:cubicBezTo>
                <a:cubicBezTo>
                  <a:pt x="4056" y="1641"/>
                  <a:pt x="4056" y="1641"/>
                  <a:pt x="4056" y="1641"/>
                </a:cubicBezTo>
                <a:cubicBezTo>
                  <a:pt x="4053" y="1628"/>
                  <a:pt x="4053" y="1628"/>
                  <a:pt x="4053" y="1628"/>
                </a:cubicBezTo>
                <a:cubicBezTo>
                  <a:pt x="4034" y="1621"/>
                  <a:pt x="4034" y="1621"/>
                  <a:pt x="4034" y="1621"/>
                </a:cubicBezTo>
                <a:cubicBezTo>
                  <a:pt x="4019" y="1623"/>
                  <a:pt x="4019" y="1623"/>
                  <a:pt x="4019" y="1623"/>
                </a:cubicBezTo>
                <a:cubicBezTo>
                  <a:pt x="4056" y="1610"/>
                  <a:pt x="4056" y="1610"/>
                  <a:pt x="4056" y="1610"/>
                </a:cubicBezTo>
                <a:cubicBezTo>
                  <a:pt x="4056" y="1610"/>
                  <a:pt x="4063" y="1620"/>
                  <a:pt x="4073" y="1619"/>
                </a:cubicBezTo>
                <a:cubicBezTo>
                  <a:pt x="4083" y="1618"/>
                  <a:pt x="4106" y="1600"/>
                  <a:pt x="4106" y="1600"/>
                </a:cubicBezTo>
                <a:cubicBezTo>
                  <a:pt x="4106" y="1600"/>
                  <a:pt x="4132" y="1605"/>
                  <a:pt x="4133" y="1598"/>
                </a:cubicBezTo>
                <a:cubicBezTo>
                  <a:pt x="4134" y="1591"/>
                  <a:pt x="4126" y="1580"/>
                  <a:pt x="4126" y="1580"/>
                </a:cubicBezTo>
                <a:cubicBezTo>
                  <a:pt x="4142" y="1579"/>
                  <a:pt x="4142" y="1579"/>
                  <a:pt x="4142" y="1579"/>
                </a:cubicBezTo>
                <a:cubicBezTo>
                  <a:pt x="4142" y="1579"/>
                  <a:pt x="4133" y="1556"/>
                  <a:pt x="4091" y="1556"/>
                </a:cubicBezTo>
                <a:cubicBezTo>
                  <a:pt x="4049" y="1556"/>
                  <a:pt x="3999" y="1577"/>
                  <a:pt x="3976" y="1582"/>
                </a:cubicBezTo>
                <a:cubicBezTo>
                  <a:pt x="3953" y="1587"/>
                  <a:pt x="3916" y="1610"/>
                  <a:pt x="3909" y="1616"/>
                </a:cubicBezTo>
                <a:cubicBezTo>
                  <a:pt x="3902" y="1622"/>
                  <a:pt x="3860" y="1655"/>
                  <a:pt x="3850" y="1663"/>
                </a:cubicBezTo>
                <a:cubicBezTo>
                  <a:pt x="3840" y="1671"/>
                  <a:pt x="3804" y="1676"/>
                  <a:pt x="3804" y="1676"/>
                </a:cubicBezTo>
                <a:cubicBezTo>
                  <a:pt x="3804" y="1676"/>
                  <a:pt x="3854" y="1648"/>
                  <a:pt x="3863" y="1639"/>
                </a:cubicBezTo>
                <a:cubicBezTo>
                  <a:pt x="3872" y="1630"/>
                  <a:pt x="3885" y="1616"/>
                  <a:pt x="3885" y="1616"/>
                </a:cubicBezTo>
                <a:cubicBezTo>
                  <a:pt x="3870" y="1607"/>
                  <a:pt x="3870" y="1607"/>
                  <a:pt x="3870" y="1607"/>
                </a:cubicBezTo>
                <a:cubicBezTo>
                  <a:pt x="3870" y="1607"/>
                  <a:pt x="3891" y="1615"/>
                  <a:pt x="3896" y="1610"/>
                </a:cubicBezTo>
                <a:cubicBezTo>
                  <a:pt x="3901" y="1605"/>
                  <a:pt x="3951" y="1572"/>
                  <a:pt x="3963" y="1563"/>
                </a:cubicBezTo>
                <a:cubicBezTo>
                  <a:pt x="3975" y="1554"/>
                  <a:pt x="4013" y="1548"/>
                  <a:pt x="4017" y="1550"/>
                </a:cubicBezTo>
                <a:cubicBezTo>
                  <a:pt x="4021" y="1552"/>
                  <a:pt x="4043" y="1514"/>
                  <a:pt x="4073" y="1509"/>
                </a:cubicBezTo>
                <a:cubicBezTo>
                  <a:pt x="4103" y="1504"/>
                  <a:pt x="4179" y="1500"/>
                  <a:pt x="4195" y="1500"/>
                </a:cubicBezTo>
                <a:cubicBezTo>
                  <a:pt x="4211" y="1500"/>
                  <a:pt x="4270" y="1517"/>
                  <a:pt x="4280" y="1515"/>
                </a:cubicBezTo>
                <a:cubicBezTo>
                  <a:pt x="4290" y="1513"/>
                  <a:pt x="4311" y="1502"/>
                  <a:pt x="4321" y="1501"/>
                </a:cubicBezTo>
                <a:cubicBezTo>
                  <a:pt x="4331" y="1500"/>
                  <a:pt x="4362" y="1495"/>
                  <a:pt x="4374" y="1486"/>
                </a:cubicBezTo>
                <a:cubicBezTo>
                  <a:pt x="4386" y="1477"/>
                  <a:pt x="4412" y="1452"/>
                  <a:pt x="4422" y="1450"/>
                </a:cubicBezTo>
                <a:cubicBezTo>
                  <a:pt x="4432" y="1448"/>
                  <a:pt x="4449" y="1449"/>
                  <a:pt x="4449" y="1449"/>
                </a:cubicBezTo>
                <a:cubicBezTo>
                  <a:pt x="4449" y="1449"/>
                  <a:pt x="4462" y="1437"/>
                  <a:pt x="4472" y="1437"/>
                </a:cubicBezTo>
                <a:cubicBezTo>
                  <a:pt x="4482" y="1437"/>
                  <a:pt x="4483" y="1442"/>
                  <a:pt x="4500" y="1434"/>
                </a:cubicBezTo>
                <a:cubicBezTo>
                  <a:pt x="4500" y="1434"/>
                  <a:pt x="4565" y="1417"/>
                  <a:pt x="4559" y="1407"/>
                </a:cubicBezTo>
                <a:cubicBezTo>
                  <a:pt x="4553" y="1397"/>
                  <a:pt x="4534" y="1384"/>
                  <a:pt x="4534" y="1384"/>
                </a:cubicBezTo>
                <a:cubicBezTo>
                  <a:pt x="4534" y="1384"/>
                  <a:pt x="4558" y="1386"/>
                  <a:pt x="4558" y="1377"/>
                </a:cubicBezTo>
                <a:cubicBezTo>
                  <a:pt x="4558" y="1368"/>
                  <a:pt x="4554" y="1356"/>
                  <a:pt x="4554" y="1356"/>
                </a:cubicBezTo>
                <a:cubicBezTo>
                  <a:pt x="4554" y="1356"/>
                  <a:pt x="4582" y="1360"/>
                  <a:pt x="4576" y="1344"/>
                </a:cubicBezTo>
                <a:cubicBezTo>
                  <a:pt x="4570" y="1328"/>
                  <a:pt x="4547" y="1317"/>
                  <a:pt x="4540" y="1325"/>
                </a:cubicBezTo>
                <a:cubicBezTo>
                  <a:pt x="4533" y="1333"/>
                  <a:pt x="4534" y="1348"/>
                  <a:pt x="4519" y="1337"/>
                </a:cubicBezTo>
                <a:cubicBezTo>
                  <a:pt x="4504" y="1326"/>
                  <a:pt x="4528" y="1319"/>
                  <a:pt x="4528" y="1319"/>
                </a:cubicBezTo>
                <a:cubicBezTo>
                  <a:pt x="4525" y="1302"/>
                  <a:pt x="4525" y="1302"/>
                  <a:pt x="4525" y="1302"/>
                </a:cubicBezTo>
                <a:cubicBezTo>
                  <a:pt x="4505" y="1301"/>
                  <a:pt x="4505" y="1301"/>
                  <a:pt x="4505" y="1301"/>
                </a:cubicBezTo>
                <a:cubicBezTo>
                  <a:pt x="4505" y="1301"/>
                  <a:pt x="4459" y="1321"/>
                  <a:pt x="4456" y="1325"/>
                </a:cubicBezTo>
                <a:cubicBezTo>
                  <a:pt x="4453" y="1329"/>
                  <a:pt x="4417" y="1333"/>
                  <a:pt x="4417" y="1333"/>
                </a:cubicBezTo>
                <a:cubicBezTo>
                  <a:pt x="4396" y="1347"/>
                  <a:pt x="4396" y="1347"/>
                  <a:pt x="4396" y="1347"/>
                </a:cubicBezTo>
                <a:cubicBezTo>
                  <a:pt x="4404" y="1332"/>
                  <a:pt x="4404" y="1332"/>
                  <a:pt x="4404" y="1332"/>
                </a:cubicBezTo>
                <a:cubicBezTo>
                  <a:pt x="4389" y="1321"/>
                  <a:pt x="4389" y="1321"/>
                  <a:pt x="4389" y="1321"/>
                </a:cubicBezTo>
                <a:cubicBezTo>
                  <a:pt x="4412" y="1326"/>
                  <a:pt x="4412" y="1326"/>
                  <a:pt x="4412" y="1326"/>
                </a:cubicBezTo>
                <a:cubicBezTo>
                  <a:pt x="4422" y="1318"/>
                  <a:pt x="4422" y="1318"/>
                  <a:pt x="4422" y="1318"/>
                </a:cubicBezTo>
                <a:cubicBezTo>
                  <a:pt x="4440" y="1317"/>
                  <a:pt x="4440" y="1317"/>
                  <a:pt x="4440" y="1317"/>
                </a:cubicBezTo>
                <a:cubicBezTo>
                  <a:pt x="4442" y="1304"/>
                  <a:pt x="4442" y="1304"/>
                  <a:pt x="4442" y="1304"/>
                </a:cubicBezTo>
                <a:cubicBezTo>
                  <a:pt x="4442" y="1304"/>
                  <a:pt x="4463" y="1307"/>
                  <a:pt x="4475" y="1302"/>
                </a:cubicBezTo>
                <a:cubicBezTo>
                  <a:pt x="4487" y="1297"/>
                  <a:pt x="4504" y="1288"/>
                  <a:pt x="4504" y="1288"/>
                </a:cubicBezTo>
                <a:cubicBezTo>
                  <a:pt x="4504" y="1288"/>
                  <a:pt x="4552" y="1293"/>
                  <a:pt x="4551" y="1288"/>
                </a:cubicBezTo>
                <a:cubicBezTo>
                  <a:pt x="4550" y="1283"/>
                  <a:pt x="4532" y="1275"/>
                  <a:pt x="4532" y="1275"/>
                </a:cubicBezTo>
                <a:cubicBezTo>
                  <a:pt x="4531" y="1259"/>
                  <a:pt x="4531" y="1259"/>
                  <a:pt x="4531" y="1259"/>
                </a:cubicBezTo>
                <a:cubicBezTo>
                  <a:pt x="4531" y="1259"/>
                  <a:pt x="4503" y="1268"/>
                  <a:pt x="4497" y="1267"/>
                </a:cubicBezTo>
                <a:cubicBezTo>
                  <a:pt x="4491" y="1266"/>
                  <a:pt x="4489" y="1254"/>
                  <a:pt x="4489" y="1254"/>
                </a:cubicBezTo>
                <a:cubicBezTo>
                  <a:pt x="4449" y="1266"/>
                  <a:pt x="4449" y="1266"/>
                  <a:pt x="4449" y="1266"/>
                </a:cubicBezTo>
                <a:cubicBezTo>
                  <a:pt x="4451" y="1246"/>
                  <a:pt x="4451" y="1246"/>
                  <a:pt x="4451" y="1246"/>
                </a:cubicBezTo>
                <a:cubicBezTo>
                  <a:pt x="4422" y="1256"/>
                  <a:pt x="4422" y="1256"/>
                  <a:pt x="4422" y="1256"/>
                </a:cubicBezTo>
                <a:cubicBezTo>
                  <a:pt x="4422" y="1256"/>
                  <a:pt x="4453" y="1221"/>
                  <a:pt x="4445" y="1217"/>
                </a:cubicBezTo>
                <a:cubicBezTo>
                  <a:pt x="4437" y="1213"/>
                  <a:pt x="4412" y="1213"/>
                  <a:pt x="4412" y="1213"/>
                </a:cubicBezTo>
                <a:cubicBezTo>
                  <a:pt x="4415" y="1197"/>
                  <a:pt x="4415" y="1197"/>
                  <a:pt x="4415" y="1197"/>
                </a:cubicBezTo>
                <a:cubicBezTo>
                  <a:pt x="4393" y="1197"/>
                  <a:pt x="4393" y="1197"/>
                  <a:pt x="4393" y="1197"/>
                </a:cubicBezTo>
                <a:cubicBezTo>
                  <a:pt x="4402" y="1183"/>
                  <a:pt x="4402" y="1183"/>
                  <a:pt x="4402" y="1183"/>
                </a:cubicBezTo>
                <a:cubicBezTo>
                  <a:pt x="4384" y="1167"/>
                  <a:pt x="4384" y="1167"/>
                  <a:pt x="4384" y="1167"/>
                </a:cubicBezTo>
                <a:cubicBezTo>
                  <a:pt x="4384" y="1167"/>
                  <a:pt x="4414" y="1174"/>
                  <a:pt x="4422" y="1168"/>
                </a:cubicBezTo>
                <a:cubicBezTo>
                  <a:pt x="4430" y="1162"/>
                  <a:pt x="4441" y="1157"/>
                  <a:pt x="4441" y="1157"/>
                </a:cubicBezTo>
                <a:cubicBezTo>
                  <a:pt x="4411" y="1139"/>
                  <a:pt x="4411" y="1139"/>
                  <a:pt x="4411" y="1139"/>
                </a:cubicBezTo>
                <a:cubicBezTo>
                  <a:pt x="4444" y="1120"/>
                  <a:pt x="4444" y="1120"/>
                  <a:pt x="4444" y="1120"/>
                </a:cubicBezTo>
                <a:cubicBezTo>
                  <a:pt x="4411" y="1105"/>
                  <a:pt x="4411" y="1105"/>
                  <a:pt x="4411" y="1105"/>
                </a:cubicBezTo>
                <a:cubicBezTo>
                  <a:pt x="4381" y="1106"/>
                  <a:pt x="4381" y="1106"/>
                  <a:pt x="4381" y="1106"/>
                </a:cubicBezTo>
                <a:cubicBezTo>
                  <a:pt x="4417" y="1093"/>
                  <a:pt x="4417" y="1093"/>
                  <a:pt x="4417" y="1093"/>
                </a:cubicBezTo>
                <a:cubicBezTo>
                  <a:pt x="4392" y="1087"/>
                  <a:pt x="4392" y="1087"/>
                  <a:pt x="4392" y="1087"/>
                </a:cubicBezTo>
                <a:cubicBezTo>
                  <a:pt x="4422" y="1073"/>
                  <a:pt x="4422" y="1073"/>
                  <a:pt x="4422" y="1073"/>
                </a:cubicBezTo>
                <a:cubicBezTo>
                  <a:pt x="4417" y="1057"/>
                  <a:pt x="4417" y="1057"/>
                  <a:pt x="4417" y="1057"/>
                </a:cubicBezTo>
                <a:cubicBezTo>
                  <a:pt x="4395" y="1055"/>
                  <a:pt x="4395" y="1055"/>
                  <a:pt x="4395" y="1055"/>
                </a:cubicBezTo>
                <a:cubicBezTo>
                  <a:pt x="4395" y="1055"/>
                  <a:pt x="4413" y="1045"/>
                  <a:pt x="4405" y="1026"/>
                </a:cubicBezTo>
                <a:cubicBezTo>
                  <a:pt x="4397" y="1007"/>
                  <a:pt x="4389" y="1010"/>
                  <a:pt x="4389" y="1010"/>
                </a:cubicBezTo>
                <a:cubicBezTo>
                  <a:pt x="4398" y="996"/>
                  <a:pt x="4398" y="996"/>
                  <a:pt x="4398" y="996"/>
                </a:cubicBezTo>
                <a:cubicBezTo>
                  <a:pt x="4398" y="996"/>
                  <a:pt x="4374" y="1007"/>
                  <a:pt x="4369" y="1014"/>
                </a:cubicBezTo>
                <a:cubicBezTo>
                  <a:pt x="4364" y="1021"/>
                  <a:pt x="4368" y="1027"/>
                  <a:pt x="4368" y="1027"/>
                </a:cubicBezTo>
                <a:cubicBezTo>
                  <a:pt x="4349" y="1021"/>
                  <a:pt x="4349" y="1021"/>
                  <a:pt x="4349" y="1021"/>
                </a:cubicBezTo>
                <a:cubicBezTo>
                  <a:pt x="4353" y="1043"/>
                  <a:pt x="4353" y="1043"/>
                  <a:pt x="4353" y="1043"/>
                </a:cubicBezTo>
                <a:cubicBezTo>
                  <a:pt x="4335" y="1042"/>
                  <a:pt x="4335" y="1042"/>
                  <a:pt x="4335" y="1042"/>
                </a:cubicBezTo>
                <a:cubicBezTo>
                  <a:pt x="4327" y="1056"/>
                  <a:pt x="4327" y="1056"/>
                  <a:pt x="4327" y="1056"/>
                </a:cubicBezTo>
                <a:cubicBezTo>
                  <a:pt x="4332" y="1062"/>
                  <a:pt x="4332" y="1062"/>
                  <a:pt x="4332" y="1062"/>
                </a:cubicBezTo>
                <a:cubicBezTo>
                  <a:pt x="4316" y="1063"/>
                  <a:pt x="4316" y="1063"/>
                  <a:pt x="4316" y="1063"/>
                </a:cubicBezTo>
                <a:cubicBezTo>
                  <a:pt x="4301" y="1093"/>
                  <a:pt x="4301" y="1093"/>
                  <a:pt x="4301" y="1093"/>
                </a:cubicBezTo>
                <a:cubicBezTo>
                  <a:pt x="4293" y="1093"/>
                  <a:pt x="4293" y="1093"/>
                  <a:pt x="4293" y="1093"/>
                </a:cubicBezTo>
                <a:cubicBezTo>
                  <a:pt x="4303" y="1068"/>
                  <a:pt x="4303" y="1068"/>
                  <a:pt x="4303" y="1068"/>
                </a:cubicBezTo>
                <a:cubicBezTo>
                  <a:pt x="4303" y="1068"/>
                  <a:pt x="4293" y="1053"/>
                  <a:pt x="4284" y="1062"/>
                </a:cubicBezTo>
                <a:cubicBezTo>
                  <a:pt x="4275" y="1071"/>
                  <a:pt x="4263" y="1084"/>
                  <a:pt x="4256" y="1085"/>
                </a:cubicBezTo>
                <a:cubicBezTo>
                  <a:pt x="4249" y="1086"/>
                  <a:pt x="4221" y="1107"/>
                  <a:pt x="4221" y="1107"/>
                </a:cubicBezTo>
                <a:cubicBezTo>
                  <a:pt x="4226" y="1092"/>
                  <a:pt x="4226" y="1092"/>
                  <a:pt x="4226" y="1092"/>
                </a:cubicBezTo>
                <a:cubicBezTo>
                  <a:pt x="4225" y="1081"/>
                  <a:pt x="4225" y="1081"/>
                  <a:pt x="4225" y="1081"/>
                </a:cubicBezTo>
                <a:cubicBezTo>
                  <a:pt x="4200" y="1102"/>
                  <a:pt x="4200" y="1102"/>
                  <a:pt x="4200" y="1102"/>
                </a:cubicBezTo>
                <a:cubicBezTo>
                  <a:pt x="4156" y="1112"/>
                  <a:pt x="4156" y="1112"/>
                  <a:pt x="4156" y="1112"/>
                </a:cubicBezTo>
                <a:cubicBezTo>
                  <a:pt x="4197" y="1098"/>
                  <a:pt x="4197" y="1098"/>
                  <a:pt x="4197" y="1098"/>
                </a:cubicBezTo>
                <a:cubicBezTo>
                  <a:pt x="4197" y="1098"/>
                  <a:pt x="4221" y="1071"/>
                  <a:pt x="4208" y="1065"/>
                </a:cubicBezTo>
                <a:cubicBezTo>
                  <a:pt x="4195" y="1059"/>
                  <a:pt x="4180" y="1065"/>
                  <a:pt x="4180" y="1065"/>
                </a:cubicBezTo>
                <a:cubicBezTo>
                  <a:pt x="4180" y="1065"/>
                  <a:pt x="4147" y="1080"/>
                  <a:pt x="4149" y="1069"/>
                </a:cubicBezTo>
                <a:cubicBezTo>
                  <a:pt x="4151" y="1058"/>
                  <a:pt x="4168" y="1055"/>
                  <a:pt x="4168" y="1055"/>
                </a:cubicBezTo>
                <a:cubicBezTo>
                  <a:pt x="4167" y="1062"/>
                  <a:pt x="4167" y="1062"/>
                  <a:pt x="4167" y="1062"/>
                </a:cubicBezTo>
                <a:cubicBezTo>
                  <a:pt x="4181" y="1057"/>
                  <a:pt x="4181" y="1057"/>
                  <a:pt x="4181" y="1057"/>
                </a:cubicBezTo>
                <a:cubicBezTo>
                  <a:pt x="4178" y="1038"/>
                  <a:pt x="4178" y="1038"/>
                  <a:pt x="4178" y="1038"/>
                </a:cubicBezTo>
                <a:cubicBezTo>
                  <a:pt x="4178" y="1038"/>
                  <a:pt x="4203" y="1024"/>
                  <a:pt x="4194" y="1017"/>
                </a:cubicBezTo>
                <a:cubicBezTo>
                  <a:pt x="4185" y="1010"/>
                  <a:pt x="4158" y="1006"/>
                  <a:pt x="4158" y="1006"/>
                </a:cubicBezTo>
                <a:cubicBezTo>
                  <a:pt x="4158" y="1006"/>
                  <a:pt x="4203" y="1008"/>
                  <a:pt x="4206" y="996"/>
                </a:cubicBezTo>
                <a:cubicBezTo>
                  <a:pt x="4209" y="984"/>
                  <a:pt x="4212" y="981"/>
                  <a:pt x="4218" y="977"/>
                </a:cubicBezTo>
                <a:cubicBezTo>
                  <a:pt x="4224" y="973"/>
                  <a:pt x="4244" y="972"/>
                  <a:pt x="4234" y="963"/>
                </a:cubicBezTo>
                <a:cubicBezTo>
                  <a:pt x="4224" y="954"/>
                  <a:pt x="4214" y="970"/>
                  <a:pt x="4214" y="970"/>
                </a:cubicBezTo>
                <a:cubicBezTo>
                  <a:pt x="4208" y="953"/>
                  <a:pt x="4208" y="953"/>
                  <a:pt x="4208" y="953"/>
                </a:cubicBezTo>
                <a:cubicBezTo>
                  <a:pt x="4208" y="953"/>
                  <a:pt x="4177" y="954"/>
                  <a:pt x="4168" y="954"/>
                </a:cubicBezTo>
                <a:cubicBezTo>
                  <a:pt x="4159" y="954"/>
                  <a:pt x="4157" y="939"/>
                  <a:pt x="4165" y="936"/>
                </a:cubicBezTo>
                <a:cubicBezTo>
                  <a:pt x="4173" y="933"/>
                  <a:pt x="4174" y="926"/>
                  <a:pt x="4167" y="924"/>
                </a:cubicBezTo>
                <a:cubicBezTo>
                  <a:pt x="4160" y="922"/>
                  <a:pt x="4154" y="929"/>
                  <a:pt x="4154" y="929"/>
                </a:cubicBezTo>
                <a:cubicBezTo>
                  <a:pt x="4159" y="913"/>
                  <a:pt x="4159" y="913"/>
                  <a:pt x="4159" y="913"/>
                </a:cubicBezTo>
                <a:cubicBezTo>
                  <a:pt x="4135" y="917"/>
                  <a:pt x="4135" y="917"/>
                  <a:pt x="4135" y="917"/>
                </a:cubicBezTo>
                <a:cubicBezTo>
                  <a:pt x="4135" y="917"/>
                  <a:pt x="4139" y="888"/>
                  <a:pt x="4122" y="888"/>
                </a:cubicBezTo>
                <a:cubicBezTo>
                  <a:pt x="4105" y="888"/>
                  <a:pt x="4077" y="905"/>
                  <a:pt x="4077" y="905"/>
                </a:cubicBezTo>
                <a:cubicBezTo>
                  <a:pt x="4077" y="905"/>
                  <a:pt x="4069" y="894"/>
                  <a:pt x="4061" y="894"/>
                </a:cubicBezTo>
                <a:cubicBezTo>
                  <a:pt x="4053" y="894"/>
                  <a:pt x="4036" y="903"/>
                  <a:pt x="4036" y="903"/>
                </a:cubicBezTo>
                <a:cubicBezTo>
                  <a:pt x="4036" y="903"/>
                  <a:pt x="3990" y="881"/>
                  <a:pt x="3974" y="884"/>
                </a:cubicBezTo>
                <a:cubicBezTo>
                  <a:pt x="3958" y="887"/>
                  <a:pt x="3952" y="899"/>
                  <a:pt x="3952" y="899"/>
                </a:cubicBezTo>
                <a:cubicBezTo>
                  <a:pt x="3952" y="899"/>
                  <a:pt x="3931" y="909"/>
                  <a:pt x="3938" y="917"/>
                </a:cubicBezTo>
                <a:cubicBezTo>
                  <a:pt x="3945" y="925"/>
                  <a:pt x="3958" y="926"/>
                  <a:pt x="3952" y="934"/>
                </a:cubicBezTo>
                <a:cubicBezTo>
                  <a:pt x="3946" y="942"/>
                  <a:pt x="3921" y="958"/>
                  <a:pt x="3921" y="958"/>
                </a:cubicBezTo>
                <a:cubicBezTo>
                  <a:pt x="3903" y="965"/>
                  <a:pt x="3903" y="965"/>
                  <a:pt x="3903" y="965"/>
                </a:cubicBezTo>
                <a:cubicBezTo>
                  <a:pt x="3920" y="974"/>
                  <a:pt x="3920" y="974"/>
                  <a:pt x="3920" y="974"/>
                </a:cubicBezTo>
                <a:cubicBezTo>
                  <a:pt x="3920" y="974"/>
                  <a:pt x="3905" y="981"/>
                  <a:pt x="3904" y="990"/>
                </a:cubicBezTo>
                <a:cubicBezTo>
                  <a:pt x="3903" y="999"/>
                  <a:pt x="3911" y="1006"/>
                  <a:pt x="3903" y="1016"/>
                </a:cubicBezTo>
                <a:cubicBezTo>
                  <a:pt x="3895" y="1026"/>
                  <a:pt x="3888" y="1018"/>
                  <a:pt x="3875" y="1026"/>
                </a:cubicBezTo>
                <a:cubicBezTo>
                  <a:pt x="3862" y="1034"/>
                  <a:pt x="3864" y="1047"/>
                  <a:pt x="3864" y="1047"/>
                </a:cubicBezTo>
                <a:cubicBezTo>
                  <a:pt x="3864" y="1047"/>
                  <a:pt x="3848" y="1050"/>
                  <a:pt x="3842" y="1056"/>
                </a:cubicBezTo>
                <a:cubicBezTo>
                  <a:pt x="3836" y="1062"/>
                  <a:pt x="3816" y="1067"/>
                  <a:pt x="3818" y="1075"/>
                </a:cubicBezTo>
                <a:cubicBezTo>
                  <a:pt x="3820" y="1083"/>
                  <a:pt x="3857" y="1097"/>
                  <a:pt x="3857" y="1106"/>
                </a:cubicBezTo>
                <a:cubicBezTo>
                  <a:pt x="3857" y="1115"/>
                  <a:pt x="3856" y="1180"/>
                  <a:pt x="3821" y="1200"/>
                </a:cubicBezTo>
                <a:cubicBezTo>
                  <a:pt x="3786" y="1220"/>
                  <a:pt x="3741" y="1255"/>
                  <a:pt x="3723" y="1256"/>
                </a:cubicBezTo>
                <a:cubicBezTo>
                  <a:pt x="3705" y="1257"/>
                  <a:pt x="3656" y="1260"/>
                  <a:pt x="3653" y="1269"/>
                </a:cubicBezTo>
                <a:cubicBezTo>
                  <a:pt x="3650" y="1278"/>
                  <a:pt x="3662" y="1306"/>
                  <a:pt x="3662" y="1311"/>
                </a:cubicBezTo>
                <a:cubicBezTo>
                  <a:pt x="3662" y="1316"/>
                  <a:pt x="3641" y="1337"/>
                  <a:pt x="3637" y="1352"/>
                </a:cubicBezTo>
                <a:cubicBezTo>
                  <a:pt x="3633" y="1367"/>
                  <a:pt x="3636" y="1400"/>
                  <a:pt x="3636" y="1400"/>
                </a:cubicBezTo>
                <a:cubicBezTo>
                  <a:pt x="3636" y="1400"/>
                  <a:pt x="3602" y="1417"/>
                  <a:pt x="3601" y="1422"/>
                </a:cubicBezTo>
                <a:cubicBezTo>
                  <a:pt x="3600" y="1427"/>
                  <a:pt x="3599" y="1444"/>
                  <a:pt x="3599" y="1444"/>
                </a:cubicBezTo>
                <a:cubicBezTo>
                  <a:pt x="3586" y="1460"/>
                  <a:pt x="3586" y="1460"/>
                  <a:pt x="3586" y="1460"/>
                </a:cubicBezTo>
                <a:cubicBezTo>
                  <a:pt x="3586" y="1460"/>
                  <a:pt x="3593" y="1436"/>
                  <a:pt x="3582" y="1435"/>
                </a:cubicBezTo>
                <a:cubicBezTo>
                  <a:pt x="3571" y="1434"/>
                  <a:pt x="3549" y="1448"/>
                  <a:pt x="3554" y="1459"/>
                </a:cubicBezTo>
                <a:cubicBezTo>
                  <a:pt x="3559" y="1470"/>
                  <a:pt x="3553" y="1479"/>
                  <a:pt x="3553" y="1479"/>
                </a:cubicBezTo>
                <a:cubicBezTo>
                  <a:pt x="3553" y="1479"/>
                  <a:pt x="3551" y="1459"/>
                  <a:pt x="3545" y="1454"/>
                </a:cubicBezTo>
                <a:cubicBezTo>
                  <a:pt x="3539" y="1449"/>
                  <a:pt x="3501" y="1460"/>
                  <a:pt x="3501" y="1460"/>
                </a:cubicBezTo>
                <a:cubicBezTo>
                  <a:pt x="3501" y="1460"/>
                  <a:pt x="3537" y="1439"/>
                  <a:pt x="3533" y="1426"/>
                </a:cubicBezTo>
                <a:cubicBezTo>
                  <a:pt x="3529" y="1413"/>
                  <a:pt x="3493" y="1402"/>
                  <a:pt x="3493" y="1402"/>
                </a:cubicBezTo>
                <a:cubicBezTo>
                  <a:pt x="3493" y="1402"/>
                  <a:pt x="3510" y="1399"/>
                  <a:pt x="3510" y="1392"/>
                </a:cubicBezTo>
                <a:cubicBezTo>
                  <a:pt x="3510" y="1385"/>
                  <a:pt x="3498" y="1359"/>
                  <a:pt x="3498" y="1359"/>
                </a:cubicBezTo>
                <a:cubicBezTo>
                  <a:pt x="3520" y="1344"/>
                  <a:pt x="3520" y="1344"/>
                  <a:pt x="3520" y="1344"/>
                </a:cubicBezTo>
                <a:cubicBezTo>
                  <a:pt x="3519" y="1329"/>
                  <a:pt x="3519" y="1329"/>
                  <a:pt x="3519" y="1329"/>
                </a:cubicBezTo>
                <a:cubicBezTo>
                  <a:pt x="3536" y="1318"/>
                  <a:pt x="3536" y="1318"/>
                  <a:pt x="3536" y="1318"/>
                </a:cubicBezTo>
                <a:cubicBezTo>
                  <a:pt x="3535" y="1293"/>
                  <a:pt x="3535" y="1293"/>
                  <a:pt x="3535" y="1293"/>
                </a:cubicBezTo>
                <a:cubicBezTo>
                  <a:pt x="3535" y="1293"/>
                  <a:pt x="3584" y="1266"/>
                  <a:pt x="3560" y="1254"/>
                </a:cubicBezTo>
                <a:cubicBezTo>
                  <a:pt x="3536" y="1242"/>
                  <a:pt x="3464" y="1246"/>
                  <a:pt x="3464" y="1246"/>
                </a:cubicBezTo>
                <a:cubicBezTo>
                  <a:pt x="3440" y="1254"/>
                  <a:pt x="3440" y="1254"/>
                  <a:pt x="3440" y="1254"/>
                </a:cubicBezTo>
                <a:cubicBezTo>
                  <a:pt x="3440" y="1254"/>
                  <a:pt x="3458" y="1233"/>
                  <a:pt x="3448" y="1228"/>
                </a:cubicBezTo>
                <a:cubicBezTo>
                  <a:pt x="3438" y="1223"/>
                  <a:pt x="3390" y="1213"/>
                  <a:pt x="3390" y="1213"/>
                </a:cubicBezTo>
                <a:cubicBezTo>
                  <a:pt x="3390" y="1213"/>
                  <a:pt x="3395" y="1191"/>
                  <a:pt x="3376" y="1177"/>
                </a:cubicBezTo>
                <a:cubicBezTo>
                  <a:pt x="3357" y="1163"/>
                  <a:pt x="3332" y="1162"/>
                  <a:pt x="3332" y="1162"/>
                </a:cubicBezTo>
                <a:cubicBezTo>
                  <a:pt x="3332" y="1162"/>
                  <a:pt x="3333" y="1150"/>
                  <a:pt x="3305" y="1149"/>
                </a:cubicBezTo>
                <a:cubicBezTo>
                  <a:pt x="3277" y="1148"/>
                  <a:pt x="3208" y="1160"/>
                  <a:pt x="3208" y="1160"/>
                </a:cubicBezTo>
                <a:cubicBezTo>
                  <a:pt x="3208" y="1160"/>
                  <a:pt x="3241" y="1150"/>
                  <a:pt x="3242" y="1138"/>
                </a:cubicBezTo>
                <a:cubicBezTo>
                  <a:pt x="3243" y="1126"/>
                  <a:pt x="3261" y="1074"/>
                  <a:pt x="3261" y="1074"/>
                </a:cubicBezTo>
                <a:cubicBezTo>
                  <a:pt x="3261" y="1074"/>
                  <a:pt x="3231" y="1068"/>
                  <a:pt x="3228" y="1070"/>
                </a:cubicBezTo>
                <a:cubicBezTo>
                  <a:pt x="3225" y="1072"/>
                  <a:pt x="3202" y="1088"/>
                  <a:pt x="3202" y="1088"/>
                </a:cubicBezTo>
                <a:cubicBezTo>
                  <a:pt x="3212" y="1069"/>
                  <a:pt x="3212" y="1069"/>
                  <a:pt x="3212" y="1069"/>
                </a:cubicBezTo>
                <a:cubicBezTo>
                  <a:pt x="3208" y="1054"/>
                  <a:pt x="3208" y="1054"/>
                  <a:pt x="3208" y="1054"/>
                </a:cubicBezTo>
                <a:cubicBezTo>
                  <a:pt x="3208" y="1054"/>
                  <a:pt x="3234" y="1032"/>
                  <a:pt x="3246" y="1011"/>
                </a:cubicBezTo>
                <a:cubicBezTo>
                  <a:pt x="3258" y="990"/>
                  <a:pt x="3326" y="953"/>
                  <a:pt x="3326" y="953"/>
                </a:cubicBezTo>
                <a:cubicBezTo>
                  <a:pt x="3320" y="942"/>
                  <a:pt x="3320" y="942"/>
                  <a:pt x="3320" y="942"/>
                </a:cubicBezTo>
                <a:cubicBezTo>
                  <a:pt x="3363" y="928"/>
                  <a:pt x="3363" y="928"/>
                  <a:pt x="3363" y="928"/>
                </a:cubicBezTo>
                <a:cubicBezTo>
                  <a:pt x="3364" y="917"/>
                  <a:pt x="3364" y="917"/>
                  <a:pt x="3364" y="917"/>
                </a:cubicBezTo>
                <a:cubicBezTo>
                  <a:pt x="3391" y="913"/>
                  <a:pt x="3391" y="913"/>
                  <a:pt x="3391" y="913"/>
                </a:cubicBezTo>
                <a:cubicBezTo>
                  <a:pt x="3393" y="900"/>
                  <a:pt x="3393" y="900"/>
                  <a:pt x="3393" y="900"/>
                </a:cubicBezTo>
                <a:cubicBezTo>
                  <a:pt x="3414" y="897"/>
                  <a:pt x="3414" y="897"/>
                  <a:pt x="3414" y="897"/>
                </a:cubicBezTo>
                <a:cubicBezTo>
                  <a:pt x="3448" y="870"/>
                  <a:pt x="3448" y="870"/>
                  <a:pt x="3448" y="870"/>
                </a:cubicBezTo>
                <a:cubicBezTo>
                  <a:pt x="3448" y="870"/>
                  <a:pt x="3522" y="873"/>
                  <a:pt x="3522" y="860"/>
                </a:cubicBezTo>
                <a:cubicBezTo>
                  <a:pt x="3522" y="847"/>
                  <a:pt x="3502" y="832"/>
                  <a:pt x="3502" y="832"/>
                </a:cubicBezTo>
                <a:cubicBezTo>
                  <a:pt x="3462" y="837"/>
                  <a:pt x="3462" y="837"/>
                  <a:pt x="3462" y="837"/>
                </a:cubicBezTo>
                <a:cubicBezTo>
                  <a:pt x="3468" y="827"/>
                  <a:pt x="3468" y="827"/>
                  <a:pt x="3468" y="827"/>
                </a:cubicBezTo>
                <a:cubicBezTo>
                  <a:pt x="3432" y="813"/>
                  <a:pt x="3432" y="813"/>
                  <a:pt x="3432" y="813"/>
                </a:cubicBezTo>
                <a:cubicBezTo>
                  <a:pt x="3448" y="808"/>
                  <a:pt x="3448" y="808"/>
                  <a:pt x="3448" y="808"/>
                </a:cubicBezTo>
                <a:cubicBezTo>
                  <a:pt x="3503" y="824"/>
                  <a:pt x="3503" y="824"/>
                  <a:pt x="3503" y="824"/>
                </a:cubicBezTo>
                <a:cubicBezTo>
                  <a:pt x="3503" y="824"/>
                  <a:pt x="3524" y="846"/>
                  <a:pt x="3543" y="838"/>
                </a:cubicBezTo>
                <a:cubicBezTo>
                  <a:pt x="3562" y="830"/>
                  <a:pt x="3578" y="797"/>
                  <a:pt x="3585" y="802"/>
                </a:cubicBezTo>
                <a:cubicBezTo>
                  <a:pt x="3592" y="807"/>
                  <a:pt x="3613" y="817"/>
                  <a:pt x="3622" y="815"/>
                </a:cubicBezTo>
                <a:cubicBezTo>
                  <a:pt x="3622" y="815"/>
                  <a:pt x="3667" y="796"/>
                  <a:pt x="3685" y="789"/>
                </a:cubicBezTo>
                <a:cubicBezTo>
                  <a:pt x="3703" y="782"/>
                  <a:pt x="3737" y="763"/>
                  <a:pt x="3725" y="760"/>
                </a:cubicBezTo>
                <a:cubicBezTo>
                  <a:pt x="3713" y="757"/>
                  <a:pt x="3657" y="757"/>
                  <a:pt x="3657" y="757"/>
                </a:cubicBezTo>
                <a:cubicBezTo>
                  <a:pt x="3653" y="741"/>
                  <a:pt x="3653" y="741"/>
                  <a:pt x="3653" y="741"/>
                </a:cubicBezTo>
                <a:cubicBezTo>
                  <a:pt x="3597" y="721"/>
                  <a:pt x="3597" y="721"/>
                  <a:pt x="3597" y="721"/>
                </a:cubicBezTo>
                <a:cubicBezTo>
                  <a:pt x="3597" y="721"/>
                  <a:pt x="3653" y="713"/>
                  <a:pt x="3668" y="719"/>
                </a:cubicBezTo>
                <a:cubicBezTo>
                  <a:pt x="3683" y="725"/>
                  <a:pt x="3697" y="751"/>
                  <a:pt x="3712" y="751"/>
                </a:cubicBezTo>
                <a:cubicBezTo>
                  <a:pt x="3727" y="751"/>
                  <a:pt x="3806" y="713"/>
                  <a:pt x="3806" y="713"/>
                </a:cubicBezTo>
                <a:cubicBezTo>
                  <a:pt x="3787" y="705"/>
                  <a:pt x="3787" y="705"/>
                  <a:pt x="3787" y="705"/>
                </a:cubicBezTo>
                <a:cubicBezTo>
                  <a:pt x="3787" y="705"/>
                  <a:pt x="3801" y="693"/>
                  <a:pt x="3819" y="693"/>
                </a:cubicBezTo>
                <a:cubicBezTo>
                  <a:pt x="3837" y="693"/>
                  <a:pt x="3842" y="707"/>
                  <a:pt x="3842" y="707"/>
                </a:cubicBezTo>
                <a:cubicBezTo>
                  <a:pt x="3862" y="714"/>
                  <a:pt x="3862" y="714"/>
                  <a:pt x="3862" y="714"/>
                </a:cubicBezTo>
                <a:cubicBezTo>
                  <a:pt x="3863" y="701"/>
                  <a:pt x="3863" y="701"/>
                  <a:pt x="3863" y="701"/>
                </a:cubicBezTo>
                <a:cubicBezTo>
                  <a:pt x="3863" y="701"/>
                  <a:pt x="3877" y="718"/>
                  <a:pt x="3882" y="709"/>
                </a:cubicBezTo>
                <a:cubicBezTo>
                  <a:pt x="3887" y="700"/>
                  <a:pt x="3870" y="682"/>
                  <a:pt x="3870" y="682"/>
                </a:cubicBezTo>
                <a:cubicBezTo>
                  <a:pt x="3856" y="676"/>
                  <a:pt x="3856" y="676"/>
                  <a:pt x="3856" y="676"/>
                </a:cubicBezTo>
                <a:cubicBezTo>
                  <a:pt x="3883" y="671"/>
                  <a:pt x="3883" y="671"/>
                  <a:pt x="3883" y="671"/>
                </a:cubicBezTo>
                <a:cubicBezTo>
                  <a:pt x="3883" y="671"/>
                  <a:pt x="3897" y="710"/>
                  <a:pt x="3906" y="708"/>
                </a:cubicBezTo>
                <a:cubicBezTo>
                  <a:pt x="3915" y="706"/>
                  <a:pt x="4028" y="673"/>
                  <a:pt x="4014" y="654"/>
                </a:cubicBezTo>
                <a:cubicBezTo>
                  <a:pt x="4000" y="635"/>
                  <a:pt x="3989" y="620"/>
                  <a:pt x="4000" y="613"/>
                </a:cubicBezTo>
                <a:cubicBezTo>
                  <a:pt x="4011" y="606"/>
                  <a:pt x="4061" y="604"/>
                  <a:pt x="4062" y="598"/>
                </a:cubicBezTo>
                <a:cubicBezTo>
                  <a:pt x="4063" y="592"/>
                  <a:pt x="4052" y="566"/>
                  <a:pt x="4052" y="566"/>
                </a:cubicBezTo>
                <a:cubicBezTo>
                  <a:pt x="4040" y="551"/>
                  <a:pt x="4040" y="551"/>
                  <a:pt x="4040" y="551"/>
                </a:cubicBezTo>
                <a:cubicBezTo>
                  <a:pt x="4040" y="551"/>
                  <a:pt x="3978" y="533"/>
                  <a:pt x="3952" y="551"/>
                </a:cubicBezTo>
                <a:cubicBezTo>
                  <a:pt x="3926" y="569"/>
                  <a:pt x="3948" y="581"/>
                  <a:pt x="3948" y="581"/>
                </a:cubicBezTo>
                <a:cubicBezTo>
                  <a:pt x="3924" y="596"/>
                  <a:pt x="3924" y="596"/>
                  <a:pt x="3924" y="596"/>
                </a:cubicBezTo>
                <a:cubicBezTo>
                  <a:pt x="3910" y="596"/>
                  <a:pt x="3910" y="596"/>
                  <a:pt x="3910" y="596"/>
                </a:cubicBezTo>
                <a:cubicBezTo>
                  <a:pt x="3865" y="627"/>
                  <a:pt x="3865" y="627"/>
                  <a:pt x="3865" y="627"/>
                </a:cubicBezTo>
                <a:cubicBezTo>
                  <a:pt x="3848" y="634"/>
                  <a:pt x="3848" y="634"/>
                  <a:pt x="3848" y="634"/>
                </a:cubicBezTo>
                <a:cubicBezTo>
                  <a:pt x="3848" y="634"/>
                  <a:pt x="3836" y="652"/>
                  <a:pt x="3832" y="655"/>
                </a:cubicBezTo>
                <a:cubicBezTo>
                  <a:pt x="3828" y="658"/>
                  <a:pt x="3809" y="659"/>
                  <a:pt x="3809" y="659"/>
                </a:cubicBezTo>
                <a:cubicBezTo>
                  <a:pt x="3786" y="671"/>
                  <a:pt x="3786" y="671"/>
                  <a:pt x="3786" y="671"/>
                </a:cubicBezTo>
                <a:cubicBezTo>
                  <a:pt x="3786" y="671"/>
                  <a:pt x="3775" y="637"/>
                  <a:pt x="3781" y="626"/>
                </a:cubicBezTo>
                <a:cubicBezTo>
                  <a:pt x="3787" y="615"/>
                  <a:pt x="3818" y="620"/>
                  <a:pt x="3823" y="604"/>
                </a:cubicBezTo>
                <a:cubicBezTo>
                  <a:pt x="3828" y="588"/>
                  <a:pt x="3812" y="571"/>
                  <a:pt x="3809" y="571"/>
                </a:cubicBezTo>
                <a:cubicBezTo>
                  <a:pt x="3806" y="571"/>
                  <a:pt x="3753" y="595"/>
                  <a:pt x="3753" y="595"/>
                </a:cubicBezTo>
                <a:cubicBezTo>
                  <a:pt x="3734" y="616"/>
                  <a:pt x="3734" y="616"/>
                  <a:pt x="3734" y="616"/>
                </a:cubicBezTo>
                <a:cubicBezTo>
                  <a:pt x="3728" y="607"/>
                  <a:pt x="3728" y="607"/>
                  <a:pt x="3728" y="607"/>
                </a:cubicBezTo>
                <a:cubicBezTo>
                  <a:pt x="3746" y="589"/>
                  <a:pt x="3746" y="589"/>
                  <a:pt x="3746" y="589"/>
                </a:cubicBezTo>
                <a:cubicBezTo>
                  <a:pt x="3744" y="576"/>
                  <a:pt x="3744" y="576"/>
                  <a:pt x="3744" y="576"/>
                </a:cubicBezTo>
                <a:cubicBezTo>
                  <a:pt x="3774" y="565"/>
                  <a:pt x="3774" y="565"/>
                  <a:pt x="3774" y="565"/>
                </a:cubicBezTo>
                <a:cubicBezTo>
                  <a:pt x="3747" y="560"/>
                  <a:pt x="3747" y="560"/>
                  <a:pt x="3747" y="560"/>
                </a:cubicBezTo>
                <a:cubicBezTo>
                  <a:pt x="3752" y="550"/>
                  <a:pt x="3752" y="550"/>
                  <a:pt x="3752" y="550"/>
                </a:cubicBezTo>
                <a:cubicBezTo>
                  <a:pt x="3720" y="560"/>
                  <a:pt x="3720" y="560"/>
                  <a:pt x="3720" y="560"/>
                </a:cubicBezTo>
                <a:cubicBezTo>
                  <a:pt x="3706" y="552"/>
                  <a:pt x="3706" y="552"/>
                  <a:pt x="3706" y="552"/>
                </a:cubicBezTo>
                <a:cubicBezTo>
                  <a:pt x="3731" y="543"/>
                  <a:pt x="3731" y="543"/>
                  <a:pt x="3731" y="543"/>
                </a:cubicBezTo>
                <a:cubicBezTo>
                  <a:pt x="3732" y="533"/>
                  <a:pt x="3732" y="533"/>
                  <a:pt x="3732" y="533"/>
                </a:cubicBezTo>
                <a:cubicBezTo>
                  <a:pt x="3732" y="533"/>
                  <a:pt x="3768" y="541"/>
                  <a:pt x="3766" y="528"/>
                </a:cubicBezTo>
                <a:cubicBezTo>
                  <a:pt x="3764" y="515"/>
                  <a:pt x="3736" y="518"/>
                  <a:pt x="3748" y="501"/>
                </a:cubicBezTo>
                <a:cubicBezTo>
                  <a:pt x="3760" y="484"/>
                  <a:pt x="3771" y="459"/>
                  <a:pt x="3755" y="458"/>
                </a:cubicBezTo>
                <a:cubicBezTo>
                  <a:pt x="3730" y="448"/>
                  <a:pt x="3730" y="448"/>
                  <a:pt x="3730" y="448"/>
                </a:cubicBezTo>
                <a:cubicBezTo>
                  <a:pt x="3711" y="456"/>
                  <a:pt x="3711" y="456"/>
                  <a:pt x="3711" y="456"/>
                </a:cubicBezTo>
                <a:cubicBezTo>
                  <a:pt x="3711" y="456"/>
                  <a:pt x="3684" y="458"/>
                  <a:pt x="3683" y="462"/>
                </a:cubicBezTo>
                <a:cubicBezTo>
                  <a:pt x="3682" y="466"/>
                  <a:pt x="3690" y="475"/>
                  <a:pt x="3684" y="476"/>
                </a:cubicBezTo>
                <a:cubicBezTo>
                  <a:pt x="3678" y="477"/>
                  <a:pt x="3642" y="470"/>
                  <a:pt x="3634" y="479"/>
                </a:cubicBezTo>
                <a:cubicBezTo>
                  <a:pt x="3626" y="488"/>
                  <a:pt x="3609" y="497"/>
                  <a:pt x="3618" y="501"/>
                </a:cubicBezTo>
                <a:cubicBezTo>
                  <a:pt x="3627" y="505"/>
                  <a:pt x="3638" y="507"/>
                  <a:pt x="3638" y="507"/>
                </a:cubicBezTo>
                <a:cubicBezTo>
                  <a:pt x="3638" y="507"/>
                  <a:pt x="3589" y="520"/>
                  <a:pt x="3591" y="533"/>
                </a:cubicBezTo>
                <a:cubicBezTo>
                  <a:pt x="3593" y="546"/>
                  <a:pt x="3620" y="556"/>
                  <a:pt x="3620" y="556"/>
                </a:cubicBezTo>
                <a:cubicBezTo>
                  <a:pt x="3636" y="549"/>
                  <a:pt x="3636" y="549"/>
                  <a:pt x="3636" y="549"/>
                </a:cubicBezTo>
                <a:cubicBezTo>
                  <a:pt x="3636" y="549"/>
                  <a:pt x="3635" y="570"/>
                  <a:pt x="3641" y="567"/>
                </a:cubicBezTo>
                <a:cubicBezTo>
                  <a:pt x="3647" y="564"/>
                  <a:pt x="3676" y="559"/>
                  <a:pt x="3665" y="567"/>
                </a:cubicBezTo>
                <a:cubicBezTo>
                  <a:pt x="3654" y="575"/>
                  <a:pt x="3645" y="574"/>
                  <a:pt x="3645" y="574"/>
                </a:cubicBezTo>
                <a:cubicBezTo>
                  <a:pt x="3632" y="569"/>
                  <a:pt x="3632" y="569"/>
                  <a:pt x="3632" y="569"/>
                </a:cubicBezTo>
                <a:cubicBezTo>
                  <a:pt x="3630" y="578"/>
                  <a:pt x="3630" y="578"/>
                  <a:pt x="3630" y="578"/>
                </a:cubicBezTo>
                <a:cubicBezTo>
                  <a:pt x="3630" y="578"/>
                  <a:pt x="3594" y="584"/>
                  <a:pt x="3606" y="588"/>
                </a:cubicBezTo>
                <a:cubicBezTo>
                  <a:pt x="3618" y="592"/>
                  <a:pt x="3645" y="572"/>
                  <a:pt x="3639" y="585"/>
                </a:cubicBezTo>
                <a:cubicBezTo>
                  <a:pt x="3633" y="598"/>
                  <a:pt x="3614" y="607"/>
                  <a:pt x="3601" y="611"/>
                </a:cubicBezTo>
                <a:cubicBezTo>
                  <a:pt x="3588" y="615"/>
                  <a:pt x="3568" y="630"/>
                  <a:pt x="3568" y="630"/>
                </a:cubicBezTo>
                <a:cubicBezTo>
                  <a:pt x="3568" y="630"/>
                  <a:pt x="3546" y="618"/>
                  <a:pt x="3542" y="625"/>
                </a:cubicBezTo>
                <a:cubicBezTo>
                  <a:pt x="3538" y="632"/>
                  <a:pt x="3517" y="638"/>
                  <a:pt x="3518" y="648"/>
                </a:cubicBezTo>
                <a:cubicBezTo>
                  <a:pt x="3519" y="658"/>
                  <a:pt x="3512" y="667"/>
                  <a:pt x="3512" y="667"/>
                </a:cubicBezTo>
                <a:cubicBezTo>
                  <a:pt x="3508" y="658"/>
                  <a:pt x="3508" y="658"/>
                  <a:pt x="3508" y="658"/>
                </a:cubicBezTo>
                <a:cubicBezTo>
                  <a:pt x="3508" y="658"/>
                  <a:pt x="3483" y="657"/>
                  <a:pt x="3485" y="651"/>
                </a:cubicBezTo>
                <a:cubicBezTo>
                  <a:pt x="3487" y="645"/>
                  <a:pt x="3529" y="617"/>
                  <a:pt x="3529" y="617"/>
                </a:cubicBezTo>
                <a:cubicBezTo>
                  <a:pt x="3504" y="617"/>
                  <a:pt x="3504" y="617"/>
                  <a:pt x="3504" y="617"/>
                </a:cubicBezTo>
                <a:cubicBezTo>
                  <a:pt x="3504" y="617"/>
                  <a:pt x="3497" y="603"/>
                  <a:pt x="3490" y="603"/>
                </a:cubicBezTo>
                <a:cubicBezTo>
                  <a:pt x="3483" y="603"/>
                  <a:pt x="3467" y="609"/>
                  <a:pt x="3467" y="609"/>
                </a:cubicBezTo>
                <a:cubicBezTo>
                  <a:pt x="3467" y="609"/>
                  <a:pt x="3446" y="602"/>
                  <a:pt x="3443" y="610"/>
                </a:cubicBezTo>
                <a:cubicBezTo>
                  <a:pt x="3440" y="618"/>
                  <a:pt x="3438" y="625"/>
                  <a:pt x="3442" y="626"/>
                </a:cubicBezTo>
                <a:cubicBezTo>
                  <a:pt x="3446" y="627"/>
                  <a:pt x="3475" y="640"/>
                  <a:pt x="3465" y="643"/>
                </a:cubicBezTo>
                <a:cubicBezTo>
                  <a:pt x="3455" y="646"/>
                  <a:pt x="3437" y="631"/>
                  <a:pt x="3437" y="631"/>
                </a:cubicBezTo>
                <a:cubicBezTo>
                  <a:pt x="3423" y="622"/>
                  <a:pt x="3423" y="622"/>
                  <a:pt x="3423" y="622"/>
                </a:cubicBezTo>
                <a:cubicBezTo>
                  <a:pt x="3422" y="642"/>
                  <a:pt x="3422" y="642"/>
                  <a:pt x="3422" y="642"/>
                </a:cubicBezTo>
                <a:cubicBezTo>
                  <a:pt x="3422" y="642"/>
                  <a:pt x="3407" y="651"/>
                  <a:pt x="3398" y="649"/>
                </a:cubicBezTo>
                <a:cubicBezTo>
                  <a:pt x="3389" y="647"/>
                  <a:pt x="3356" y="638"/>
                  <a:pt x="3345" y="638"/>
                </a:cubicBezTo>
                <a:cubicBezTo>
                  <a:pt x="3334" y="638"/>
                  <a:pt x="3312" y="642"/>
                  <a:pt x="3301" y="641"/>
                </a:cubicBezTo>
                <a:cubicBezTo>
                  <a:pt x="3290" y="640"/>
                  <a:pt x="3273" y="623"/>
                  <a:pt x="3273" y="623"/>
                </a:cubicBezTo>
                <a:cubicBezTo>
                  <a:pt x="3234" y="626"/>
                  <a:pt x="3234" y="626"/>
                  <a:pt x="3234" y="626"/>
                </a:cubicBezTo>
                <a:cubicBezTo>
                  <a:pt x="3234" y="626"/>
                  <a:pt x="3219" y="612"/>
                  <a:pt x="3211" y="610"/>
                </a:cubicBezTo>
                <a:cubicBezTo>
                  <a:pt x="3203" y="608"/>
                  <a:pt x="3186" y="608"/>
                  <a:pt x="3174" y="614"/>
                </a:cubicBezTo>
                <a:cubicBezTo>
                  <a:pt x="3162" y="620"/>
                  <a:pt x="3167" y="622"/>
                  <a:pt x="3154" y="622"/>
                </a:cubicBezTo>
                <a:cubicBezTo>
                  <a:pt x="3141" y="622"/>
                  <a:pt x="3113" y="615"/>
                  <a:pt x="3106" y="624"/>
                </a:cubicBezTo>
                <a:cubicBezTo>
                  <a:pt x="3099" y="633"/>
                  <a:pt x="3087" y="659"/>
                  <a:pt x="3087" y="659"/>
                </a:cubicBezTo>
                <a:cubicBezTo>
                  <a:pt x="3079" y="679"/>
                  <a:pt x="3079" y="679"/>
                  <a:pt x="3079" y="679"/>
                </a:cubicBezTo>
                <a:cubicBezTo>
                  <a:pt x="3058" y="681"/>
                  <a:pt x="3058" y="681"/>
                  <a:pt x="3058" y="681"/>
                </a:cubicBezTo>
                <a:cubicBezTo>
                  <a:pt x="3053" y="700"/>
                  <a:pt x="3053" y="700"/>
                  <a:pt x="3053" y="700"/>
                </a:cubicBezTo>
                <a:cubicBezTo>
                  <a:pt x="3038" y="667"/>
                  <a:pt x="3038" y="667"/>
                  <a:pt x="3038" y="667"/>
                </a:cubicBezTo>
                <a:cubicBezTo>
                  <a:pt x="3038" y="667"/>
                  <a:pt x="3080" y="678"/>
                  <a:pt x="3069" y="659"/>
                </a:cubicBezTo>
                <a:cubicBezTo>
                  <a:pt x="3058" y="640"/>
                  <a:pt x="3026" y="638"/>
                  <a:pt x="3026" y="638"/>
                </a:cubicBezTo>
                <a:cubicBezTo>
                  <a:pt x="3028" y="629"/>
                  <a:pt x="3028" y="629"/>
                  <a:pt x="3028" y="629"/>
                </a:cubicBezTo>
                <a:cubicBezTo>
                  <a:pt x="3028" y="629"/>
                  <a:pt x="2959" y="642"/>
                  <a:pt x="2922" y="642"/>
                </a:cubicBezTo>
                <a:cubicBezTo>
                  <a:pt x="2885" y="642"/>
                  <a:pt x="2819" y="638"/>
                  <a:pt x="2832" y="632"/>
                </a:cubicBezTo>
                <a:cubicBezTo>
                  <a:pt x="2845" y="626"/>
                  <a:pt x="2929" y="629"/>
                  <a:pt x="2909" y="607"/>
                </a:cubicBezTo>
                <a:cubicBezTo>
                  <a:pt x="2889" y="585"/>
                  <a:pt x="2870" y="583"/>
                  <a:pt x="2846" y="585"/>
                </a:cubicBezTo>
                <a:cubicBezTo>
                  <a:pt x="2822" y="587"/>
                  <a:pt x="2783" y="573"/>
                  <a:pt x="2777" y="570"/>
                </a:cubicBezTo>
                <a:cubicBezTo>
                  <a:pt x="2771" y="567"/>
                  <a:pt x="2753" y="567"/>
                  <a:pt x="2753" y="567"/>
                </a:cubicBezTo>
                <a:cubicBezTo>
                  <a:pt x="2753" y="567"/>
                  <a:pt x="2705" y="540"/>
                  <a:pt x="2687" y="541"/>
                </a:cubicBezTo>
                <a:cubicBezTo>
                  <a:pt x="2669" y="542"/>
                  <a:pt x="2637" y="567"/>
                  <a:pt x="2637" y="567"/>
                </a:cubicBezTo>
                <a:cubicBezTo>
                  <a:pt x="2601" y="567"/>
                  <a:pt x="2601" y="567"/>
                  <a:pt x="2601" y="567"/>
                </a:cubicBezTo>
                <a:cubicBezTo>
                  <a:pt x="2621" y="555"/>
                  <a:pt x="2621" y="555"/>
                  <a:pt x="2621" y="555"/>
                </a:cubicBezTo>
                <a:cubicBezTo>
                  <a:pt x="2621" y="547"/>
                  <a:pt x="2621" y="547"/>
                  <a:pt x="2621" y="547"/>
                </a:cubicBezTo>
                <a:cubicBezTo>
                  <a:pt x="2638" y="527"/>
                  <a:pt x="2638" y="527"/>
                  <a:pt x="2638" y="527"/>
                </a:cubicBezTo>
                <a:cubicBezTo>
                  <a:pt x="2638" y="527"/>
                  <a:pt x="2599" y="545"/>
                  <a:pt x="2592" y="552"/>
                </a:cubicBezTo>
                <a:cubicBezTo>
                  <a:pt x="2585" y="559"/>
                  <a:pt x="2569" y="581"/>
                  <a:pt x="2554" y="566"/>
                </a:cubicBezTo>
                <a:cubicBezTo>
                  <a:pt x="2539" y="551"/>
                  <a:pt x="2560" y="535"/>
                  <a:pt x="2557" y="524"/>
                </a:cubicBezTo>
                <a:cubicBezTo>
                  <a:pt x="2554" y="513"/>
                  <a:pt x="2531" y="502"/>
                  <a:pt x="2528" y="511"/>
                </a:cubicBezTo>
                <a:cubicBezTo>
                  <a:pt x="2525" y="520"/>
                  <a:pt x="2538" y="526"/>
                  <a:pt x="2538" y="526"/>
                </a:cubicBezTo>
                <a:cubicBezTo>
                  <a:pt x="2538" y="526"/>
                  <a:pt x="2518" y="524"/>
                  <a:pt x="2507" y="528"/>
                </a:cubicBezTo>
                <a:cubicBezTo>
                  <a:pt x="2496" y="532"/>
                  <a:pt x="2480" y="543"/>
                  <a:pt x="2475" y="547"/>
                </a:cubicBezTo>
                <a:cubicBezTo>
                  <a:pt x="2470" y="551"/>
                  <a:pt x="2452" y="546"/>
                  <a:pt x="2452" y="546"/>
                </a:cubicBezTo>
                <a:cubicBezTo>
                  <a:pt x="2452" y="546"/>
                  <a:pt x="2405" y="556"/>
                  <a:pt x="2401" y="557"/>
                </a:cubicBezTo>
                <a:cubicBezTo>
                  <a:pt x="2397" y="558"/>
                  <a:pt x="2372" y="573"/>
                  <a:pt x="2372" y="573"/>
                </a:cubicBezTo>
                <a:cubicBezTo>
                  <a:pt x="2358" y="560"/>
                  <a:pt x="2358" y="560"/>
                  <a:pt x="2358" y="560"/>
                </a:cubicBezTo>
                <a:cubicBezTo>
                  <a:pt x="2358" y="560"/>
                  <a:pt x="2325" y="577"/>
                  <a:pt x="2315" y="578"/>
                </a:cubicBezTo>
                <a:cubicBezTo>
                  <a:pt x="2305" y="579"/>
                  <a:pt x="2287" y="591"/>
                  <a:pt x="2287" y="591"/>
                </a:cubicBezTo>
                <a:cubicBezTo>
                  <a:pt x="2265" y="593"/>
                  <a:pt x="2265" y="593"/>
                  <a:pt x="2265" y="593"/>
                </a:cubicBezTo>
                <a:cubicBezTo>
                  <a:pt x="2265" y="593"/>
                  <a:pt x="2282" y="575"/>
                  <a:pt x="2297" y="572"/>
                </a:cubicBezTo>
                <a:cubicBezTo>
                  <a:pt x="2312" y="569"/>
                  <a:pt x="2346" y="556"/>
                  <a:pt x="2346" y="556"/>
                </a:cubicBezTo>
                <a:cubicBezTo>
                  <a:pt x="2346" y="556"/>
                  <a:pt x="2377" y="559"/>
                  <a:pt x="2388" y="554"/>
                </a:cubicBezTo>
                <a:cubicBezTo>
                  <a:pt x="2399" y="549"/>
                  <a:pt x="2460" y="535"/>
                  <a:pt x="2460" y="535"/>
                </a:cubicBezTo>
                <a:cubicBezTo>
                  <a:pt x="2460" y="535"/>
                  <a:pt x="2472" y="532"/>
                  <a:pt x="2465" y="527"/>
                </a:cubicBezTo>
                <a:cubicBezTo>
                  <a:pt x="2458" y="522"/>
                  <a:pt x="2437" y="529"/>
                  <a:pt x="2437" y="529"/>
                </a:cubicBezTo>
                <a:cubicBezTo>
                  <a:pt x="2437" y="529"/>
                  <a:pt x="2419" y="528"/>
                  <a:pt x="2412" y="530"/>
                </a:cubicBezTo>
                <a:cubicBezTo>
                  <a:pt x="2405" y="532"/>
                  <a:pt x="2398" y="540"/>
                  <a:pt x="2393" y="541"/>
                </a:cubicBezTo>
                <a:cubicBezTo>
                  <a:pt x="2388" y="542"/>
                  <a:pt x="2369" y="542"/>
                  <a:pt x="2369" y="542"/>
                </a:cubicBezTo>
                <a:cubicBezTo>
                  <a:pt x="2354" y="545"/>
                  <a:pt x="2354" y="545"/>
                  <a:pt x="2354" y="545"/>
                </a:cubicBezTo>
                <a:cubicBezTo>
                  <a:pt x="2354" y="545"/>
                  <a:pt x="2337" y="545"/>
                  <a:pt x="2325" y="548"/>
                </a:cubicBezTo>
                <a:cubicBezTo>
                  <a:pt x="2313" y="551"/>
                  <a:pt x="2302" y="563"/>
                  <a:pt x="2302" y="563"/>
                </a:cubicBezTo>
                <a:cubicBezTo>
                  <a:pt x="2288" y="565"/>
                  <a:pt x="2288" y="565"/>
                  <a:pt x="2288" y="565"/>
                </a:cubicBezTo>
                <a:cubicBezTo>
                  <a:pt x="2253" y="578"/>
                  <a:pt x="2253" y="578"/>
                  <a:pt x="2253" y="578"/>
                </a:cubicBezTo>
                <a:cubicBezTo>
                  <a:pt x="2253" y="578"/>
                  <a:pt x="2238" y="581"/>
                  <a:pt x="2235" y="584"/>
                </a:cubicBezTo>
                <a:cubicBezTo>
                  <a:pt x="2232" y="587"/>
                  <a:pt x="2230" y="603"/>
                  <a:pt x="2223" y="599"/>
                </a:cubicBezTo>
                <a:cubicBezTo>
                  <a:pt x="2216" y="595"/>
                  <a:pt x="2215" y="580"/>
                  <a:pt x="2226" y="578"/>
                </a:cubicBezTo>
                <a:cubicBezTo>
                  <a:pt x="2237" y="576"/>
                  <a:pt x="2266" y="566"/>
                  <a:pt x="2275" y="560"/>
                </a:cubicBezTo>
                <a:cubicBezTo>
                  <a:pt x="2284" y="554"/>
                  <a:pt x="2242" y="548"/>
                  <a:pt x="2235" y="557"/>
                </a:cubicBezTo>
                <a:cubicBezTo>
                  <a:pt x="2228" y="566"/>
                  <a:pt x="2201" y="571"/>
                  <a:pt x="2194" y="571"/>
                </a:cubicBezTo>
                <a:cubicBezTo>
                  <a:pt x="2187" y="571"/>
                  <a:pt x="2187" y="598"/>
                  <a:pt x="2187" y="598"/>
                </a:cubicBezTo>
                <a:cubicBezTo>
                  <a:pt x="2171" y="589"/>
                  <a:pt x="2171" y="589"/>
                  <a:pt x="2171" y="589"/>
                </a:cubicBezTo>
                <a:cubicBezTo>
                  <a:pt x="2129" y="583"/>
                  <a:pt x="2129" y="583"/>
                  <a:pt x="2129" y="583"/>
                </a:cubicBezTo>
                <a:cubicBezTo>
                  <a:pt x="2129" y="583"/>
                  <a:pt x="2103" y="571"/>
                  <a:pt x="2105" y="566"/>
                </a:cubicBezTo>
                <a:cubicBezTo>
                  <a:pt x="2107" y="561"/>
                  <a:pt x="2111" y="552"/>
                  <a:pt x="2111" y="552"/>
                </a:cubicBezTo>
                <a:cubicBezTo>
                  <a:pt x="2037" y="553"/>
                  <a:pt x="2037" y="553"/>
                  <a:pt x="2037" y="553"/>
                </a:cubicBezTo>
                <a:cubicBezTo>
                  <a:pt x="2037" y="553"/>
                  <a:pt x="2034" y="530"/>
                  <a:pt x="2008" y="532"/>
                </a:cubicBezTo>
                <a:cubicBezTo>
                  <a:pt x="1982" y="534"/>
                  <a:pt x="1951" y="543"/>
                  <a:pt x="1947" y="543"/>
                </a:cubicBezTo>
                <a:cubicBezTo>
                  <a:pt x="1943" y="543"/>
                  <a:pt x="1916" y="529"/>
                  <a:pt x="1912" y="527"/>
                </a:cubicBezTo>
                <a:cubicBezTo>
                  <a:pt x="1908" y="525"/>
                  <a:pt x="1858" y="526"/>
                  <a:pt x="1858" y="526"/>
                </a:cubicBezTo>
                <a:cubicBezTo>
                  <a:pt x="1858" y="526"/>
                  <a:pt x="1842" y="518"/>
                  <a:pt x="1824" y="516"/>
                </a:cubicBezTo>
                <a:cubicBezTo>
                  <a:pt x="1806" y="514"/>
                  <a:pt x="1735" y="517"/>
                  <a:pt x="1732" y="517"/>
                </a:cubicBezTo>
                <a:cubicBezTo>
                  <a:pt x="1729" y="517"/>
                  <a:pt x="1735" y="503"/>
                  <a:pt x="1735" y="503"/>
                </a:cubicBezTo>
                <a:cubicBezTo>
                  <a:pt x="1735" y="503"/>
                  <a:pt x="1699" y="498"/>
                  <a:pt x="1694" y="497"/>
                </a:cubicBezTo>
                <a:cubicBezTo>
                  <a:pt x="1689" y="496"/>
                  <a:pt x="1656" y="503"/>
                  <a:pt x="1656" y="503"/>
                </a:cubicBezTo>
                <a:cubicBezTo>
                  <a:pt x="1676" y="481"/>
                  <a:pt x="1676" y="481"/>
                  <a:pt x="1676" y="481"/>
                </a:cubicBezTo>
                <a:cubicBezTo>
                  <a:pt x="1621" y="503"/>
                  <a:pt x="1621" y="503"/>
                  <a:pt x="1621" y="503"/>
                </a:cubicBezTo>
                <a:cubicBezTo>
                  <a:pt x="1642" y="481"/>
                  <a:pt x="1642" y="481"/>
                  <a:pt x="1642" y="481"/>
                </a:cubicBezTo>
                <a:cubicBezTo>
                  <a:pt x="1622" y="479"/>
                  <a:pt x="1622" y="479"/>
                  <a:pt x="1622" y="479"/>
                </a:cubicBezTo>
                <a:cubicBezTo>
                  <a:pt x="1622" y="479"/>
                  <a:pt x="1591" y="501"/>
                  <a:pt x="1561" y="501"/>
                </a:cubicBezTo>
                <a:cubicBezTo>
                  <a:pt x="1531" y="501"/>
                  <a:pt x="1485" y="495"/>
                  <a:pt x="1477" y="503"/>
                </a:cubicBezTo>
                <a:cubicBezTo>
                  <a:pt x="1469" y="511"/>
                  <a:pt x="1439" y="518"/>
                  <a:pt x="1439" y="518"/>
                </a:cubicBezTo>
                <a:cubicBezTo>
                  <a:pt x="1439" y="518"/>
                  <a:pt x="1390" y="518"/>
                  <a:pt x="1364" y="521"/>
                </a:cubicBezTo>
                <a:cubicBezTo>
                  <a:pt x="1338" y="524"/>
                  <a:pt x="1277" y="570"/>
                  <a:pt x="1235" y="576"/>
                </a:cubicBezTo>
                <a:cubicBezTo>
                  <a:pt x="1193" y="582"/>
                  <a:pt x="1141" y="586"/>
                  <a:pt x="1141" y="586"/>
                </a:cubicBezTo>
                <a:cubicBezTo>
                  <a:pt x="1141" y="586"/>
                  <a:pt x="1078" y="607"/>
                  <a:pt x="1081" y="612"/>
                </a:cubicBezTo>
                <a:cubicBezTo>
                  <a:pt x="1084" y="617"/>
                  <a:pt x="1105" y="628"/>
                  <a:pt x="1105" y="628"/>
                </a:cubicBezTo>
                <a:cubicBezTo>
                  <a:pt x="1105" y="628"/>
                  <a:pt x="1118" y="651"/>
                  <a:pt x="1112" y="654"/>
                </a:cubicBezTo>
                <a:cubicBezTo>
                  <a:pt x="1106" y="657"/>
                  <a:pt x="1097" y="666"/>
                  <a:pt x="1097" y="666"/>
                </a:cubicBezTo>
                <a:cubicBezTo>
                  <a:pt x="1157" y="667"/>
                  <a:pt x="1157" y="667"/>
                  <a:pt x="1157" y="667"/>
                </a:cubicBezTo>
                <a:cubicBezTo>
                  <a:pt x="1138" y="690"/>
                  <a:pt x="1138" y="690"/>
                  <a:pt x="1138" y="690"/>
                </a:cubicBezTo>
                <a:cubicBezTo>
                  <a:pt x="1182" y="692"/>
                  <a:pt x="1182" y="692"/>
                  <a:pt x="1182" y="692"/>
                </a:cubicBezTo>
                <a:cubicBezTo>
                  <a:pt x="1175" y="704"/>
                  <a:pt x="1175" y="704"/>
                  <a:pt x="1175" y="704"/>
                </a:cubicBezTo>
                <a:cubicBezTo>
                  <a:pt x="1139" y="703"/>
                  <a:pt x="1139" y="703"/>
                  <a:pt x="1139" y="703"/>
                </a:cubicBezTo>
                <a:cubicBezTo>
                  <a:pt x="1132" y="711"/>
                  <a:pt x="1132" y="711"/>
                  <a:pt x="1132" y="711"/>
                </a:cubicBezTo>
                <a:cubicBezTo>
                  <a:pt x="1110" y="711"/>
                  <a:pt x="1110" y="711"/>
                  <a:pt x="1110" y="711"/>
                </a:cubicBezTo>
                <a:cubicBezTo>
                  <a:pt x="1110" y="711"/>
                  <a:pt x="1076" y="717"/>
                  <a:pt x="1051" y="717"/>
                </a:cubicBezTo>
                <a:cubicBezTo>
                  <a:pt x="1026" y="717"/>
                  <a:pt x="1031" y="707"/>
                  <a:pt x="1045" y="702"/>
                </a:cubicBezTo>
                <a:cubicBezTo>
                  <a:pt x="1059" y="697"/>
                  <a:pt x="1017" y="694"/>
                  <a:pt x="1017" y="694"/>
                </a:cubicBezTo>
                <a:cubicBezTo>
                  <a:pt x="1017" y="694"/>
                  <a:pt x="969" y="692"/>
                  <a:pt x="967" y="700"/>
                </a:cubicBezTo>
                <a:cubicBezTo>
                  <a:pt x="965" y="708"/>
                  <a:pt x="969" y="713"/>
                  <a:pt x="969" y="713"/>
                </a:cubicBezTo>
                <a:cubicBezTo>
                  <a:pt x="969" y="713"/>
                  <a:pt x="934" y="715"/>
                  <a:pt x="911" y="718"/>
                </a:cubicBezTo>
                <a:cubicBezTo>
                  <a:pt x="888" y="721"/>
                  <a:pt x="820" y="734"/>
                  <a:pt x="837" y="740"/>
                </a:cubicBezTo>
                <a:cubicBezTo>
                  <a:pt x="854" y="746"/>
                  <a:pt x="877" y="749"/>
                  <a:pt x="877" y="749"/>
                </a:cubicBezTo>
                <a:cubicBezTo>
                  <a:pt x="848" y="759"/>
                  <a:pt x="848" y="759"/>
                  <a:pt x="848" y="759"/>
                </a:cubicBezTo>
                <a:cubicBezTo>
                  <a:pt x="840" y="786"/>
                  <a:pt x="840" y="786"/>
                  <a:pt x="840" y="786"/>
                </a:cubicBezTo>
                <a:cubicBezTo>
                  <a:pt x="840" y="786"/>
                  <a:pt x="864" y="790"/>
                  <a:pt x="880" y="790"/>
                </a:cubicBezTo>
                <a:cubicBezTo>
                  <a:pt x="896" y="790"/>
                  <a:pt x="910" y="787"/>
                  <a:pt x="910" y="787"/>
                </a:cubicBezTo>
                <a:cubicBezTo>
                  <a:pt x="939" y="795"/>
                  <a:pt x="939" y="795"/>
                  <a:pt x="939" y="795"/>
                </a:cubicBezTo>
                <a:cubicBezTo>
                  <a:pt x="948" y="783"/>
                  <a:pt x="948" y="783"/>
                  <a:pt x="948" y="783"/>
                </a:cubicBezTo>
                <a:cubicBezTo>
                  <a:pt x="957" y="794"/>
                  <a:pt x="957" y="794"/>
                  <a:pt x="957" y="794"/>
                </a:cubicBezTo>
                <a:cubicBezTo>
                  <a:pt x="957" y="794"/>
                  <a:pt x="989" y="776"/>
                  <a:pt x="994" y="776"/>
                </a:cubicBezTo>
                <a:cubicBezTo>
                  <a:pt x="999" y="776"/>
                  <a:pt x="1007" y="782"/>
                  <a:pt x="1017" y="778"/>
                </a:cubicBezTo>
                <a:cubicBezTo>
                  <a:pt x="1027" y="774"/>
                  <a:pt x="1045" y="760"/>
                  <a:pt x="1046" y="769"/>
                </a:cubicBezTo>
                <a:cubicBezTo>
                  <a:pt x="1047" y="778"/>
                  <a:pt x="1037" y="790"/>
                  <a:pt x="1037" y="790"/>
                </a:cubicBezTo>
                <a:cubicBezTo>
                  <a:pt x="999" y="791"/>
                  <a:pt x="999" y="791"/>
                  <a:pt x="999" y="791"/>
                </a:cubicBezTo>
                <a:cubicBezTo>
                  <a:pt x="1004" y="812"/>
                  <a:pt x="1004" y="812"/>
                  <a:pt x="1004" y="812"/>
                </a:cubicBezTo>
                <a:cubicBezTo>
                  <a:pt x="1004" y="812"/>
                  <a:pt x="976" y="839"/>
                  <a:pt x="958" y="840"/>
                </a:cubicBezTo>
                <a:cubicBezTo>
                  <a:pt x="940" y="841"/>
                  <a:pt x="920" y="841"/>
                  <a:pt x="920" y="841"/>
                </a:cubicBezTo>
                <a:cubicBezTo>
                  <a:pt x="910" y="829"/>
                  <a:pt x="910" y="829"/>
                  <a:pt x="910" y="829"/>
                </a:cubicBezTo>
                <a:cubicBezTo>
                  <a:pt x="898" y="836"/>
                  <a:pt x="898" y="836"/>
                  <a:pt x="898" y="836"/>
                </a:cubicBezTo>
                <a:cubicBezTo>
                  <a:pt x="898" y="844"/>
                  <a:pt x="898" y="844"/>
                  <a:pt x="898" y="844"/>
                </a:cubicBezTo>
                <a:cubicBezTo>
                  <a:pt x="898" y="844"/>
                  <a:pt x="857" y="868"/>
                  <a:pt x="844" y="860"/>
                </a:cubicBezTo>
                <a:cubicBezTo>
                  <a:pt x="831" y="852"/>
                  <a:pt x="824" y="850"/>
                  <a:pt x="824" y="850"/>
                </a:cubicBezTo>
                <a:cubicBezTo>
                  <a:pt x="762" y="885"/>
                  <a:pt x="762" y="885"/>
                  <a:pt x="762" y="885"/>
                </a:cubicBezTo>
                <a:cubicBezTo>
                  <a:pt x="748" y="897"/>
                  <a:pt x="748" y="897"/>
                  <a:pt x="748" y="897"/>
                </a:cubicBezTo>
                <a:cubicBezTo>
                  <a:pt x="745" y="883"/>
                  <a:pt x="745" y="883"/>
                  <a:pt x="745" y="883"/>
                </a:cubicBezTo>
                <a:cubicBezTo>
                  <a:pt x="745" y="883"/>
                  <a:pt x="720" y="894"/>
                  <a:pt x="706" y="899"/>
                </a:cubicBezTo>
                <a:cubicBezTo>
                  <a:pt x="692" y="904"/>
                  <a:pt x="682" y="919"/>
                  <a:pt x="682" y="919"/>
                </a:cubicBezTo>
                <a:cubicBezTo>
                  <a:pt x="662" y="913"/>
                  <a:pt x="662" y="913"/>
                  <a:pt x="662" y="913"/>
                </a:cubicBezTo>
                <a:cubicBezTo>
                  <a:pt x="662" y="926"/>
                  <a:pt x="662" y="926"/>
                  <a:pt x="662" y="926"/>
                </a:cubicBezTo>
                <a:cubicBezTo>
                  <a:pt x="662" y="926"/>
                  <a:pt x="649" y="920"/>
                  <a:pt x="646" y="926"/>
                </a:cubicBezTo>
                <a:cubicBezTo>
                  <a:pt x="643" y="932"/>
                  <a:pt x="643" y="941"/>
                  <a:pt x="643" y="941"/>
                </a:cubicBezTo>
                <a:cubicBezTo>
                  <a:pt x="636" y="950"/>
                  <a:pt x="636" y="950"/>
                  <a:pt x="636" y="950"/>
                </a:cubicBezTo>
                <a:cubicBezTo>
                  <a:pt x="676" y="936"/>
                  <a:pt x="676" y="936"/>
                  <a:pt x="676" y="936"/>
                </a:cubicBezTo>
                <a:cubicBezTo>
                  <a:pt x="661" y="948"/>
                  <a:pt x="661" y="948"/>
                  <a:pt x="661" y="948"/>
                </a:cubicBezTo>
                <a:cubicBezTo>
                  <a:pt x="661" y="954"/>
                  <a:pt x="661" y="954"/>
                  <a:pt x="661" y="954"/>
                </a:cubicBezTo>
                <a:cubicBezTo>
                  <a:pt x="648" y="962"/>
                  <a:pt x="648" y="962"/>
                  <a:pt x="648" y="962"/>
                </a:cubicBezTo>
                <a:cubicBezTo>
                  <a:pt x="648" y="962"/>
                  <a:pt x="698" y="961"/>
                  <a:pt x="689" y="970"/>
                </a:cubicBezTo>
                <a:cubicBezTo>
                  <a:pt x="680" y="979"/>
                  <a:pt x="658" y="977"/>
                  <a:pt x="658" y="977"/>
                </a:cubicBezTo>
                <a:cubicBezTo>
                  <a:pt x="641" y="981"/>
                  <a:pt x="641" y="981"/>
                  <a:pt x="641" y="981"/>
                </a:cubicBezTo>
                <a:cubicBezTo>
                  <a:pt x="649" y="973"/>
                  <a:pt x="649" y="973"/>
                  <a:pt x="649" y="973"/>
                </a:cubicBezTo>
                <a:cubicBezTo>
                  <a:pt x="640" y="968"/>
                  <a:pt x="640" y="968"/>
                  <a:pt x="640" y="968"/>
                </a:cubicBezTo>
                <a:cubicBezTo>
                  <a:pt x="640" y="968"/>
                  <a:pt x="611" y="979"/>
                  <a:pt x="612" y="982"/>
                </a:cubicBezTo>
                <a:cubicBezTo>
                  <a:pt x="613" y="985"/>
                  <a:pt x="619" y="989"/>
                  <a:pt x="619" y="989"/>
                </a:cubicBezTo>
                <a:cubicBezTo>
                  <a:pt x="619" y="989"/>
                  <a:pt x="608" y="1016"/>
                  <a:pt x="612" y="1017"/>
                </a:cubicBezTo>
                <a:cubicBezTo>
                  <a:pt x="616" y="1018"/>
                  <a:pt x="659" y="1015"/>
                  <a:pt x="659" y="1015"/>
                </a:cubicBezTo>
                <a:cubicBezTo>
                  <a:pt x="691" y="997"/>
                  <a:pt x="691" y="997"/>
                  <a:pt x="691" y="997"/>
                </a:cubicBezTo>
                <a:cubicBezTo>
                  <a:pt x="738" y="978"/>
                  <a:pt x="738" y="978"/>
                  <a:pt x="738" y="978"/>
                </a:cubicBezTo>
                <a:cubicBezTo>
                  <a:pt x="738" y="978"/>
                  <a:pt x="694" y="999"/>
                  <a:pt x="689" y="1007"/>
                </a:cubicBezTo>
                <a:cubicBezTo>
                  <a:pt x="684" y="1015"/>
                  <a:pt x="685" y="1031"/>
                  <a:pt x="678" y="1033"/>
                </a:cubicBezTo>
                <a:cubicBezTo>
                  <a:pt x="671" y="1035"/>
                  <a:pt x="659" y="1028"/>
                  <a:pt x="653" y="1037"/>
                </a:cubicBezTo>
                <a:cubicBezTo>
                  <a:pt x="647" y="1046"/>
                  <a:pt x="643" y="1056"/>
                  <a:pt x="638" y="1061"/>
                </a:cubicBezTo>
                <a:cubicBezTo>
                  <a:pt x="633" y="1066"/>
                  <a:pt x="618" y="1075"/>
                  <a:pt x="618" y="1075"/>
                </a:cubicBezTo>
                <a:cubicBezTo>
                  <a:pt x="654" y="1071"/>
                  <a:pt x="654" y="1071"/>
                  <a:pt x="654" y="1071"/>
                </a:cubicBezTo>
                <a:cubicBezTo>
                  <a:pt x="647" y="1083"/>
                  <a:pt x="647" y="1083"/>
                  <a:pt x="647" y="1083"/>
                </a:cubicBezTo>
                <a:cubicBezTo>
                  <a:pt x="647" y="1083"/>
                  <a:pt x="677" y="1052"/>
                  <a:pt x="694" y="1055"/>
                </a:cubicBezTo>
                <a:cubicBezTo>
                  <a:pt x="711" y="1058"/>
                  <a:pt x="702" y="1063"/>
                  <a:pt x="702" y="1063"/>
                </a:cubicBezTo>
                <a:cubicBezTo>
                  <a:pt x="718" y="1061"/>
                  <a:pt x="718" y="1061"/>
                  <a:pt x="718" y="1061"/>
                </a:cubicBezTo>
                <a:cubicBezTo>
                  <a:pt x="718" y="1061"/>
                  <a:pt x="705" y="1086"/>
                  <a:pt x="719" y="1086"/>
                </a:cubicBezTo>
                <a:cubicBezTo>
                  <a:pt x="733" y="1086"/>
                  <a:pt x="750" y="1064"/>
                  <a:pt x="750" y="1064"/>
                </a:cubicBezTo>
                <a:cubicBezTo>
                  <a:pt x="778" y="1051"/>
                  <a:pt x="778" y="1051"/>
                  <a:pt x="778" y="1051"/>
                </a:cubicBezTo>
                <a:cubicBezTo>
                  <a:pt x="785" y="1059"/>
                  <a:pt x="785" y="1059"/>
                  <a:pt x="785" y="1059"/>
                </a:cubicBezTo>
                <a:cubicBezTo>
                  <a:pt x="765" y="1061"/>
                  <a:pt x="765" y="1061"/>
                  <a:pt x="765" y="1061"/>
                </a:cubicBezTo>
                <a:cubicBezTo>
                  <a:pt x="765" y="1061"/>
                  <a:pt x="751" y="1075"/>
                  <a:pt x="762" y="1075"/>
                </a:cubicBezTo>
                <a:cubicBezTo>
                  <a:pt x="773" y="1075"/>
                  <a:pt x="819" y="1062"/>
                  <a:pt x="819" y="1062"/>
                </a:cubicBezTo>
                <a:cubicBezTo>
                  <a:pt x="847" y="1050"/>
                  <a:pt x="847" y="1050"/>
                  <a:pt x="847" y="1050"/>
                </a:cubicBezTo>
                <a:cubicBezTo>
                  <a:pt x="815" y="1067"/>
                  <a:pt x="815" y="1067"/>
                  <a:pt x="815" y="1067"/>
                </a:cubicBezTo>
                <a:cubicBezTo>
                  <a:pt x="815" y="1077"/>
                  <a:pt x="815" y="1077"/>
                  <a:pt x="815" y="1077"/>
                </a:cubicBezTo>
                <a:cubicBezTo>
                  <a:pt x="815" y="1077"/>
                  <a:pt x="797" y="1078"/>
                  <a:pt x="786" y="1082"/>
                </a:cubicBezTo>
                <a:cubicBezTo>
                  <a:pt x="775" y="1086"/>
                  <a:pt x="767" y="1099"/>
                  <a:pt x="767" y="1099"/>
                </a:cubicBezTo>
                <a:cubicBezTo>
                  <a:pt x="747" y="1101"/>
                  <a:pt x="747" y="1101"/>
                  <a:pt x="747" y="1101"/>
                </a:cubicBezTo>
                <a:cubicBezTo>
                  <a:pt x="723" y="1121"/>
                  <a:pt x="723" y="1121"/>
                  <a:pt x="723" y="1121"/>
                </a:cubicBezTo>
                <a:cubicBezTo>
                  <a:pt x="724" y="1130"/>
                  <a:pt x="724" y="1130"/>
                  <a:pt x="724" y="1130"/>
                </a:cubicBezTo>
                <a:cubicBezTo>
                  <a:pt x="697" y="1133"/>
                  <a:pt x="697" y="1133"/>
                  <a:pt x="697" y="1133"/>
                </a:cubicBezTo>
                <a:cubicBezTo>
                  <a:pt x="697" y="1133"/>
                  <a:pt x="652" y="1142"/>
                  <a:pt x="647" y="1149"/>
                </a:cubicBezTo>
                <a:cubicBezTo>
                  <a:pt x="642" y="1156"/>
                  <a:pt x="645" y="1170"/>
                  <a:pt x="636" y="1170"/>
                </a:cubicBezTo>
                <a:cubicBezTo>
                  <a:pt x="627" y="1170"/>
                  <a:pt x="600" y="1170"/>
                  <a:pt x="584" y="1172"/>
                </a:cubicBezTo>
                <a:cubicBezTo>
                  <a:pt x="568" y="1174"/>
                  <a:pt x="515" y="1213"/>
                  <a:pt x="515" y="1213"/>
                </a:cubicBezTo>
                <a:cubicBezTo>
                  <a:pt x="500" y="1216"/>
                  <a:pt x="500" y="1216"/>
                  <a:pt x="500" y="1216"/>
                </a:cubicBezTo>
                <a:cubicBezTo>
                  <a:pt x="491" y="1226"/>
                  <a:pt x="491" y="1226"/>
                  <a:pt x="491" y="1226"/>
                </a:cubicBezTo>
                <a:cubicBezTo>
                  <a:pt x="490" y="1215"/>
                  <a:pt x="490" y="1215"/>
                  <a:pt x="490" y="1215"/>
                </a:cubicBezTo>
                <a:cubicBezTo>
                  <a:pt x="490" y="1215"/>
                  <a:pt x="458" y="1211"/>
                  <a:pt x="447" y="1217"/>
                </a:cubicBezTo>
                <a:cubicBezTo>
                  <a:pt x="436" y="1223"/>
                  <a:pt x="412" y="1233"/>
                  <a:pt x="412" y="1233"/>
                </a:cubicBezTo>
                <a:cubicBezTo>
                  <a:pt x="403" y="1231"/>
                  <a:pt x="403" y="1231"/>
                  <a:pt x="403" y="1231"/>
                </a:cubicBezTo>
                <a:cubicBezTo>
                  <a:pt x="404" y="1239"/>
                  <a:pt x="404" y="1239"/>
                  <a:pt x="404" y="1239"/>
                </a:cubicBezTo>
                <a:cubicBezTo>
                  <a:pt x="385" y="1242"/>
                  <a:pt x="385" y="1242"/>
                  <a:pt x="385" y="1242"/>
                </a:cubicBezTo>
                <a:cubicBezTo>
                  <a:pt x="378" y="1248"/>
                  <a:pt x="378" y="1248"/>
                  <a:pt x="378" y="1248"/>
                </a:cubicBezTo>
                <a:cubicBezTo>
                  <a:pt x="362" y="1246"/>
                  <a:pt x="362" y="1246"/>
                  <a:pt x="362" y="1246"/>
                </a:cubicBezTo>
                <a:cubicBezTo>
                  <a:pt x="345" y="1261"/>
                  <a:pt x="345" y="1261"/>
                  <a:pt x="345" y="1261"/>
                </a:cubicBezTo>
                <a:cubicBezTo>
                  <a:pt x="350" y="1267"/>
                  <a:pt x="350" y="1267"/>
                  <a:pt x="350" y="1267"/>
                </a:cubicBezTo>
                <a:cubicBezTo>
                  <a:pt x="360" y="1255"/>
                  <a:pt x="360" y="1255"/>
                  <a:pt x="360" y="1255"/>
                </a:cubicBezTo>
                <a:cubicBezTo>
                  <a:pt x="373" y="1262"/>
                  <a:pt x="373" y="1262"/>
                  <a:pt x="373" y="1262"/>
                </a:cubicBezTo>
                <a:cubicBezTo>
                  <a:pt x="387" y="1250"/>
                  <a:pt x="387" y="1250"/>
                  <a:pt x="387" y="1250"/>
                </a:cubicBezTo>
                <a:cubicBezTo>
                  <a:pt x="388" y="1258"/>
                  <a:pt x="388" y="1258"/>
                  <a:pt x="388" y="1258"/>
                </a:cubicBezTo>
                <a:cubicBezTo>
                  <a:pt x="388" y="1258"/>
                  <a:pt x="409" y="1257"/>
                  <a:pt x="417" y="1250"/>
                </a:cubicBezTo>
                <a:cubicBezTo>
                  <a:pt x="425" y="1243"/>
                  <a:pt x="441" y="1229"/>
                  <a:pt x="450" y="1227"/>
                </a:cubicBezTo>
                <a:cubicBezTo>
                  <a:pt x="459" y="1225"/>
                  <a:pt x="451" y="1241"/>
                  <a:pt x="464" y="1241"/>
                </a:cubicBezTo>
                <a:cubicBezTo>
                  <a:pt x="477" y="1241"/>
                  <a:pt x="514" y="1225"/>
                  <a:pt x="514" y="1225"/>
                </a:cubicBezTo>
                <a:cubicBezTo>
                  <a:pt x="536" y="1231"/>
                  <a:pt x="536" y="1231"/>
                  <a:pt x="536" y="1231"/>
                </a:cubicBezTo>
                <a:cubicBezTo>
                  <a:pt x="548" y="1219"/>
                  <a:pt x="548" y="1219"/>
                  <a:pt x="548" y="1219"/>
                </a:cubicBezTo>
                <a:cubicBezTo>
                  <a:pt x="548" y="1219"/>
                  <a:pt x="585" y="1217"/>
                  <a:pt x="596" y="1208"/>
                </a:cubicBezTo>
                <a:cubicBezTo>
                  <a:pt x="607" y="1199"/>
                  <a:pt x="619" y="1185"/>
                  <a:pt x="628" y="1184"/>
                </a:cubicBezTo>
                <a:cubicBezTo>
                  <a:pt x="637" y="1183"/>
                  <a:pt x="649" y="1183"/>
                  <a:pt x="649" y="1183"/>
                </a:cubicBezTo>
                <a:cubicBezTo>
                  <a:pt x="653" y="1176"/>
                  <a:pt x="653" y="1176"/>
                  <a:pt x="653" y="1176"/>
                </a:cubicBezTo>
                <a:cubicBezTo>
                  <a:pt x="677" y="1176"/>
                  <a:pt x="677" y="1176"/>
                  <a:pt x="677" y="1176"/>
                </a:cubicBezTo>
                <a:cubicBezTo>
                  <a:pt x="684" y="1170"/>
                  <a:pt x="684" y="1170"/>
                  <a:pt x="684" y="1170"/>
                </a:cubicBezTo>
                <a:cubicBezTo>
                  <a:pt x="684" y="1170"/>
                  <a:pt x="717" y="1163"/>
                  <a:pt x="732" y="1156"/>
                </a:cubicBezTo>
                <a:cubicBezTo>
                  <a:pt x="747" y="1149"/>
                  <a:pt x="762" y="1135"/>
                  <a:pt x="762" y="1135"/>
                </a:cubicBezTo>
                <a:cubicBezTo>
                  <a:pt x="803" y="1129"/>
                  <a:pt x="803" y="1129"/>
                  <a:pt x="803" y="1129"/>
                </a:cubicBezTo>
                <a:cubicBezTo>
                  <a:pt x="841" y="1107"/>
                  <a:pt x="841" y="1107"/>
                  <a:pt x="841" y="1107"/>
                </a:cubicBezTo>
                <a:cubicBezTo>
                  <a:pt x="841" y="1107"/>
                  <a:pt x="885" y="1106"/>
                  <a:pt x="892" y="1099"/>
                </a:cubicBezTo>
                <a:cubicBezTo>
                  <a:pt x="899" y="1092"/>
                  <a:pt x="912" y="1080"/>
                  <a:pt x="912" y="1080"/>
                </a:cubicBezTo>
                <a:cubicBezTo>
                  <a:pt x="912" y="1080"/>
                  <a:pt x="954" y="1073"/>
                  <a:pt x="958" y="1065"/>
                </a:cubicBezTo>
                <a:cubicBezTo>
                  <a:pt x="962" y="1057"/>
                  <a:pt x="947" y="1057"/>
                  <a:pt x="947" y="1057"/>
                </a:cubicBezTo>
                <a:cubicBezTo>
                  <a:pt x="947" y="1057"/>
                  <a:pt x="970" y="1041"/>
                  <a:pt x="979" y="1036"/>
                </a:cubicBezTo>
                <a:cubicBezTo>
                  <a:pt x="988" y="1031"/>
                  <a:pt x="1015" y="1024"/>
                  <a:pt x="1015" y="1024"/>
                </a:cubicBezTo>
                <a:cubicBezTo>
                  <a:pt x="1066" y="1005"/>
                  <a:pt x="1066" y="1005"/>
                  <a:pt x="1066" y="1005"/>
                </a:cubicBezTo>
                <a:cubicBezTo>
                  <a:pt x="1060" y="992"/>
                  <a:pt x="1060" y="992"/>
                  <a:pt x="1060" y="992"/>
                </a:cubicBezTo>
                <a:cubicBezTo>
                  <a:pt x="1060" y="992"/>
                  <a:pt x="1083" y="998"/>
                  <a:pt x="1090" y="993"/>
                </a:cubicBezTo>
                <a:cubicBezTo>
                  <a:pt x="1097" y="988"/>
                  <a:pt x="1130" y="973"/>
                  <a:pt x="1130" y="973"/>
                </a:cubicBezTo>
                <a:cubicBezTo>
                  <a:pt x="1130" y="973"/>
                  <a:pt x="1188" y="949"/>
                  <a:pt x="1196" y="946"/>
                </a:cubicBezTo>
                <a:cubicBezTo>
                  <a:pt x="1204" y="943"/>
                  <a:pt x="1234" y="964"/>
                  <a:pt x="1234" y="964"/>
                </a:cubicBezTo>
                <a:cubicBezTo>
                  <a:pt x="1210" y="964"/>
                  <a:pt x="1210" y="964"/>
                  <a:pt x="1210" y="964"/>
                </a:cubicBezTo>
                <a:cubicBezTo>
                  <a:pt x="1197" y="956"/>
                  <a:pt x="1197" y="956"/>
                  <a:pt x="1197" y="956"/>
                </a:cubicBezTo>
                <a:cubicBezTo>
                  <a:pt x="1174" y="972"/>
                  <a:pt x="1174" y="972"/>
                  <a:pt x="1174" y="972"/>
                </a:cubicBezTo>
                <a:cubicBezTo>
                  <a:pt x="1151" y="972"/>
                  <a:pt x="1151" y="972"/>
                  <a:pt x="1151" y="972"/>
                </a:cubicBezTo>
                <a:cubicBezTo>
                  <a:pt x="1151" y="972"/>
                  <a:pt x="1128" y="994"/>
                  <a:pt x="1119" y="997"/>
                </a:cubicBezTo>
                <a:cubicBezTo>
                  <a:pt x="1110" y="1000"/>
                  <a:pt x="1071" y="1006"/>
                  <a:pt x="1075" y="1015"/>
                </a:cubicBezTo>
                <a:cubicBezTo>
                  <a:pt x="1079" y="1024"/>
                  <a:pt x="1099" y="1023"/>
                  <a:pt x="1099" y="1023"/>
                </a:cubicBezTo>
                <a:cubicBezTo>
                  <a:pt x="1099" y="1023"/>
                  <a:pt x="1079" y="1031"/>
                  <a:pt x="1075" y="1031"/>
                </a:cubicBezTo>
                <a:cubicBezTo>
                  <a:pt x="1071" y="1031"/>
                  <a:pt x="1042" y="1030"/>
                  <a:pt x="1042" y="1036"/>
                </a:cubicBezTo>
                <a:cubicBezTo>
                  <a:pt x="1042" y="1042"/>
                  <a:pt x="1045" y="1055"/>
                  <a:pt x="1065" y="1047"/>
                </a:cubicBezTo>
                <a:cubicBezTo>
                  <a:pt x="1085" y="1039"/>
                  <a:pt x="1129" y="1015"/>
                  <a:pt x="1147" y="1011"/>
                </a:cubicBezTo>
                <a:cubicBezTo>
                  <a:pt x="1165" y="1007"/>
                  <a:pt x="1197" y="1016"/>
                  <a:pt x="1211" y="1009"/>
                </a:cubicBezTo>
                <a:cubicBezTo>
                  <a:pt x="1225" y="1002"/>
                  <a:pt x="1247" y="981"/>
                  <a:pt x="1247" y="981"/>
                </a:cubicBezTo>
                <a:cubicBezTo>
                  <a:pt x="1245" y="971"/>
                  <a:pt x="1245" y="971"/>
                  <a:pt x="1245" y="971"/>
                </a:cubicBezTo>
                <a:cubicBezTo>
                  <a:pt x="1245" y="971"/>
                  <a:pt x="1299" y="950"/>
                  <a:pt x="1309" y="951"/>
                </a:cubicBezTo>
                <a:cubicBezTo>
                  <a:pt x="1319" y="952"/>
                  <a:pt x="1322" y="962"/>
                  <a:pt x="1322" y="962"/>
                </a:cubicBezTo>
                <a:cubicBezTo>
                  <a:pt x="1364" y="949"/>
                  <a:pt x="1364" y="949"/>
                  <a:pt x="1364" y="949"/>
                </a:cubicBezTo>
                <a:cubicBezTo>
                  <a:pt x="1336" y="971"/>
                  <a:pt x="1336" y="971"/>
                  <a:pt x="1336" y="971"/>
                </a:cubicBezTo>
                <a:cubicBezTo>
                  <a:pt x="1350" y="977"/>
                  <a:pt x="1350" y="977"/>
                  <a:pt x="1350" y="977"/>
                </a:cubicBezTo>
                <a:cubicBezTo>
                  <a:pt x="1350" y="977"/>
                  <a:pt x="1346" y="989"/>
                  <a:pt x="1350" y="989"/>
                </a:cubicBezTo>
                <a:cubicBezTo>
                  <a:pt x="1354" y="989"/>
                  <a:pt x="1395" y="964"/>
                  <a:pt x="1395" y="964"/>
                </a:cubicBezTo>
                <a:cubicBezTo>
                  <a:pt x="1395" y="964"/>
                  <a:pt x="1356" y="994"/>
                  <a:pt x="1367" y="999"/>
                </a:cubicBezTo>
                <a:cubicBezTo>
                  <a:pt x="1378" y="1004"/>
                  <a:pt x="1406" y="1005"/>
                  <a:pt x="1406" y="1005"/>
                </a:cubicBezTo>
                <a:cubicBezTo>
                  <a:pt x="1472" y="1011"/>
                  <a:pt x="1472" y="1011"/>
                  <a:pt x="1472" y="1011"/>
                </a:cubicBezTo>
                <a:cubicBezTo>
                  <a:pt x="1493" y="998"/>
                  <a:pt x="1493" y="998"/>
                  <a:pt x="1493" y="998"/>
                </a:cubicBezTo>
                <a:cubicBezTo>
                  <a:pt x="1493" y="998"/>
                  <a:pt x="1480" y="1020"/>
                  <a:pt x="1491" y="1021"/>
                </a:cubicBezTo>
                <a:cubicBezTo>
                  <a:pt x="1502" y="1022"/>
                  <a:pt x="1534" y="1020"/>
                  <a:pt x="1534" y="1020"/>
                </a:cubicBezTo>
                <a:cubicBezTo>
                  <a:pt x="1556" y="1014"/>
                  <a:pt x="1556" y="1014"/>
                  <a:pt x="1556" y="1014"/>
                </a:cubicBezTo>
                <a:cubicBezTo>
                  <a:pt x="1556" y="1014"/>
                  <a:pt x="1517" y="1028"/>
                  <a:pt x="1520" y="1036"/>
                </a:cubicBezTo>
                <a:cubicBezTo>
                  <a:pt x="1523" y="1044"/>
                  <a:pt x="1541" y="1052"/>
                  <a:pt x="1541" y="1052"/>
                </a:cubicBezTo>
                <a:cubicBezTo>
                  <a:pt x="1541" y="1052"/>
                  <a:pt x="1539" y="1088"/>
                  <a:pt x="1551" y="1088"/>
                </a:cubicBezTo>
                <a:cubicBezTo>
                  <a:pt x="1563" y="1088"/>
                  <a:pt x="1594" y="1085"/>
                  <a:pt x="1594" y="1085"/>
                </a:cubicBezTo>
                <a:cubicBezTo>
                  <a:pt x="1587" y="1064"/>
                  <a:pt x="1587" y="1064"/>
                  <a:pt x="1587" y="1064"/>
                </a:cubicBezTo>
                <a:cubicBezTo>
                  <a:pt x="1601" y="1059"/>
                  <a:pt x="1601" y="1059"/>
                  <a:pt x="1601" y="1059"/>
                </a:cubicBezTo>
                <a:cubicBezTo>
                  <a:pt x="1610" y="1070"/>
                  <a:pt x="1610" y="1070"/>
                  <a:pt x="1610" y="1070"/>
                </a:cubicBezTo>
                <a:cubicBezTo>
                  <a:pt x="1630" y="1064"/>
                  <a:pt x="1630" y="1064"/>
                  <a:pt x="1630" y="1064"/>
                </a:cubicBezTo>
                <a:cubicBezTo>
                  <a:pt x="1630" y="1064"/>
                  <a:pt x="1610" y="1087"/>
                  <a:pt x="1621" y="1091"/>
                </a:cubicBezTo>
                <a:cubicBezTo>
                  <a:pt x="1632" y="1095"/>
                  <a:pt x="1650" y="1065"/>
                  <a:pt x="1650" y="1065"/>
                </a:cubicBezTo>
                <a:cubicBezTo>
                  <a:pt x="1670" y="1036"/>
                  <a:pt x="1670" y="1036"/>
                  <a:pt x="1670" y="1036"/>
                </a:cubicBezTo>
                <a:cubicBezTo>
                  <a:pt x="1652" y="1078"/>
                  <a:pt x="1652" y="1078"/>
                  <a:pt x="1652" y="1078"/>
                </a:cubicBezTo>
                <a:cubicBezTo>
                  <a:pt x="1656" y="1094"/>
                  <a:pt x="1656" y="1094"/>
                  <a:pt x="1656" y="1094"/>
                </a:cubicBezTo>
                <a:cubicBezTo>
                  <a:pt x="1679" y="1086"/>
                  <a:pt x="1679" y="1086"/>
                  <a:pt x="1679" y="1086"/>
                </a:cubicBezTo>
                <a:cubicBezTo>
                  <a:pt x="1664" y="1102"/>
                  <a:pt x="1664" y="1102"/>
                  <a:pt x="1664" y="1102"/>
                </a:cubicBezTo>
                <a:cubicBezTo>
                  <a:pt x="1681" y="1117"/>
                  <a:pt x="1681" y="1117"/>
                  <a:pt x="1681" y="1117"/>
                </a:cubicBezTo>
                <a:cubicBezTo>
                  <a:pt x="1669" y="1114"/>
                  <a:pt x="1669" y="1114"/>
                  <a:pt x="1669" y="1114"/>
                </a:cubicBezTo>
                <a:cubicBezTo>
                  <a:pt x="1667" y="1126"/>
                  <a:pt x="1667" y="1126"/>
                  <a:pt x="1667" y="1126"/>
                </a:cubicBezTo>
                <a:cubicBezTo>
                  <a:pt x="1648" y="1139"/>
                  <a:pt x="1648" y="1139"/>
                  <a:pt x="1648" y="1139"/>
                </a:cubicBezTo>
                <a:cubicBezTo>
                  <a:pt x="1636" y="1149"/>
                  <a:pt x="1636" y="1149"/>
                  <a:pt x="1636" y="1149"/>
                </a:cubicBezTo>
                <a:cubicBezTo>
                  <a:pt x="1657" y="1160"/>
                  <a:pt x="1657" y="1160"/>
                  <a:pt x="1657" y="1160"/>
                </a:cubicBezTo>
                <a:cubicBezTo>
                  <a:pt x="1654" y="1181"/>
                  <a:pt x="1654" y="1181"/>
                  <a:pt x="1654" y="1181"/>
                </a:cubicBezTo>
                <a:cubicBezTo>
                  <a:pt x="1642" y="1193"/>
                  <a:pt x="1642" y="1193"/>
                  <a:pt x="1642" y="1193"/>
                </a:cubicBezTo>
                <a:cubicBezTo>
                  <a:pt x="1654" y="1198"/>
                  <a:pt x="1654" y="1198"/>
                  <a:pt x="1654" y="1198"/>
                </a:cubicBezTo>
                <a:cubicBezTo>
                  <a:pt x="1639" y="1212"/>
                  <a:pt x="1639" y="1212"/>
                  <a:pt x="1639" y="1212"/>
                </a:cubicBezTo>
                <a:cubicBezTo>
                  <a:pt x="1660" y="1212"/>
                  <a:pt x="1660" y="1212"/>
                  <a:pt x="1660" y="1212"/>
                </a:cubicBezTo>
                <a:cubicBezTo>
                  <a:pt x="1685" y="1203"/>
                  <a:pt x="1685" y="1203"/>
                  <a:pt x="1685" y="1203"/>
                </a:cubicBezTo>
                <a:cubicBezTo>
                  <a:pt x="1663" y="1229"/>
                  <a:pt x="1663" y="1229"/>
                  <a:pt x="1663" y="1229"/>
                </a:cubicBezTo>
                <a:cubicBezTo>
                  <a:pt x="1652" y="1239"/>
                  <a:pt x="1652" y="1239"/>
                  <a:pt x="1652" y="1239"/>
                </a:cubicBezTo>
                <a:cubicBezTo>
                  <a:pt x="1667" y="1244"/>
                  <a:pt x="1667" y="1244"/>
                  <a:pt x="1667" y="1244"/>
                </a:cubicBezTo>
                <a:cubicBezTo>
                  <a:pt x="1637" y="1256"/>
                  <a:pt x="1637" y="1256"/>
                  <a:pt x="1637" y="1256"/>
                </a:cubicBezTo>
                <a:cubicBezTo>
                  <a:pt x="1623" y="1264"/>
                  <a:pt x="1623" y="1264"/>
                  <a:pt x="1623" y="1264"/>
                </a:cubicBezTo>
                <a:cubicBezTo>
                  <a:pt x="1637" y="1270"/>
                  <a:pt x="1637" y="1270"/>
                  <a:pt x="1637" y="1270"/>
                </a:cubicBezTo>
                <a:cubicBezTo>
                  <a:pt x="1637" y="1270"/>
                  <a:pt x="1636" y="1273"/>
                  <a:pt x="1634" y="1277"/>
                </a:cubicBezTo>
                <a:cubicBezTo>
                  <a:pt x="1632" y="1282"/>
                  <a:pt x="1631" y="1287"/>
                  <a:pt x="1630" y="1291"/>
                </a:cubicBezTo>
                <a:cubicBezTo>
                  <a:pt x="1629" y="1298"/>
                  <a:pt x="1624" y="1312"/>
                  <a:pt x="1624" y="1312"/>
                </a:cubicBezTo>
                <a:cubicBezTo>
                  <a:pt x="1615" y="1318"/>
                  <a:pt x="1615" y="1318"/>
                  <a:pt x="1615" y="1318"/>
                </a:cubicBezTo>
                <a:cubicBezTo>
                  <a:pt x="1615" y="1318"/>
                  <a:pt x="1624" y="1322"/>
                  <a:pt x="1625" y="1329"/>
                </a:cubicBezTo>
                <a:cubicBezTo>
                  <a:pt x="1626" y="1336"/>
                  <a:pt x="1633" y="1339"/>
                  <a:pt x="1633" y="1339"/>
                </a:cubicBezTo>
                <a:cubicBezTo>
                  <a:pt x="1633" y="1339"/>
                  <a:pt x="1683" y="1300"/>
                  <a:pt x="1683" y="1309"/>
                </a:cubicBezTo>
                <a:cubicBezTo>
                  <a:pt x="1683" y="1318"/>
                  <a:pt x="1667" y="1319"/>
                  <a:pt x="1665" y="1324"/>
                </a:cubicBezTo>
                <a:cubicBezTo>
                  <a:pt x="1663" y="1329"/>
                  <a:pt x="1667" y="1339"/>
                  <a:pt x="1667" y="1339"/>
                </a:cubicBezTo>
                <a:cubicBezTo>
                  <a:pt x="1676" y="1346"/>
                  <a:pt x="1676" y="1346"/>
                  <a:pt x="1676" y="1346"/>
                </a:cubicBezTo>
                <a:cubicBezTo>
                  <a:pt x="1647" y="1345"/>
                  <a:pt x="1647" y="1345"/>
                  <a:pt x="1647" y="1345"/>
                </a:cubicBezTo>
                <a:cubicBezTo>
                  <a:pt x="1647" y="1345"/>
                  <a:pt x="1625" y="1372"/>
                  <a:pt x="1635" y="1373"/>
                </a:cubicBezTo>
                <a:cubicBezTo>
                  <a:pt x="1645" y="1374"/>
                  <a:pt x="1651" y="1380"/>
                  <a:pt x="1651" y="1380"/>
                </a:cubicBezTo>
                <a:cubicBezTo>
                  <a:pt x="1651" y="1380"/>
                  <a:pt x="1639" y="1401"/>
                  <a:pt x="1646" y="1398"/>
                </a:cubicBezTo>
                <a:cubicBezTo>
                  <a:pt x="1653" y="1395"/>
                  <a:pt x="1694" y="1367"/>
                  <a:pt x="1694" y="1367"/>
                </a:cubicBezTo>
                <a:cubicBezTo>
                  <a:pt x="1693" y="1376"/>
                  <a:pt x="1693" y="1376"/>
                  <a:pt x="1693" y="1376"/>
                </a:cubicBezTo>
                <a:cubicBezTo>
                  <a:pt x="1674" y="1387"/>
                  <a:pt x="1674" y="1387"/>
                  <a:pt x="1674" y="1387"/>
                </a:cubicBezTo>
                <a:cubicBezTo>
                  <a:pt x="1689" y="1393"/>
                  <a:pt x="1689" y="1393"/>
                  <a:pt x="1689" y="1393"/>
                </a:cubicBezTo>
                <a:cubicBezTo>
                  <a:pt x="1689" y="1393"/>
                  <a:pt x="1684" y="1413"/>
                  <a:pt x="1676" y="1411"/>
                </a:cubicBezTo>
                <a:cubicBezTo>
                  <a:pt x="1668" y="1409"/>
                  <a:pt x="1666" y="1400"/>
                  <a:pt x="1666" y="1400"/>
                </a:cubicBezTo>
                <a:cubicBezTo>
                  <a:pt x="1666" y="1400"/>
                  <a:pt x="1633" y="1410"/>
                  <a:pt x="1627" y="1416"/>
                </a:cubicBezTo>
                <a:cubicBezTo>
                  <a:pt x="1621" y="1422"/>
                  <a:pt x="1615" y="1430"/>
                  <a:pt x="1615" y="1430"/>
                </a:cubicBezTo>
                <a:cubicBezTo>
                  <a:pt x="1615" y="1430"/>
                  <a:pt x="1633" y="1425"/>
                  <a:pt x="1638" y="1425"/>
                </a:cubicBezTo>
                <a:cubicBezTo>
                  <a:pt x="1643" y="1425"/>
                  <a:pt x="1664" y="1425"/>
                  <a:pt x="1664" y="1425"/>
                </a:cubicBezTo>
                <a:cubicBezTo>
                  <a:pt x="1664" y="1425"/>
                  <a:pt x="1628" y="1434"/>
                  <a:pt x="1622" y="1437"/>
                </a:cubicBezTo>
                <a:cubicBezTo>
                  <a:pt x="1616" y="1440"/>
                  <a:pt x="1620" y="1448"/>
                  <a:pt x="1620" y="1448"/>
                </a:cubicBezTo>
                <a:cubicBezTo>
                  <a:pt x="1620" y="1448"/>
                  <a:pt x="1587" y="1436"/>
                  <a:pt x="1596" y="1450"/>
                </a:cubicBezTo>
                <a:cubicBezTo>
                  <a:pt x="1605" y="1464"/>
                  <a:pt x="1614" y="1468"/>
                  <a:pt x="1614" y="1468"/>
                </a:cubicBezTo>
                <a:cubicBezTo>
                  <a:pt x="1646" y="1457"/>
                  <a:pt x="1646" y="1457"/>
                  <a:pt x="1646" y="1457"/>
                </a:cubicBezTo>
                <a:cubicBezTo>
                  <a:pt x="1655" y="1472"/>
                  <a:pt x="1655" y="1472"/>
                  <a:pt x="1655" y="1472"/>
                </a:cubicBezTo>
                <a:cubicBezTo>
                  <a:pt x="1680" y="1458"/>
                  <a:pt x="1680" y="1458"/>
                  <a:pt x="1680" y="1458"/>
                </a:cubicBezTo>
                <a:cubicBezTo>
                  <a:pt x="1680" y="1458"/>
                  <a:pt x="1647" y="1492"/>
                  <a:pt x="1658" y="1491"/>
                </a:cubicBezTo>
                <a:cubicBezTo>
                  <a:pt x="1669" y="1490"/>
                  <a:pt x="1699" y="1467"/>
                  <a:pt x="1699" y="1467"/>
                </a:cubicBezTo>
                <a:cubicBezTo>
                  <a:pt x="1699" y="1467"/>
                  <a:pt x="1672" y="1497"/>
                  <a:pt x="1676" y="1497"/>
                </a:cubicBezTo>
                <a:cubicBezTo>
                  <a:pt x="1680" y="1497"/>
                  <a:pt x="1698" y="1492"/>
                  <a:pt x="1698" y="1492"/>
                </a:cubicBezTo>
                <a:cubicBezTo>
                  <a:pt x="1698" y="1492"/>
                  <a:pt x="1660" y="1521"/>
                  <a:pt x="1672" y="1522"/>
                </a:cubicBezTo>
                <a:cubicBezTo>
                  <a:pt x="1684" y="1523"/>
                  <a:pt x="1711" y="1503"/>
                  <a:pt x="1711" y="1503"/>
                </a:cubicBezTo>
                <a:cubicBezTo>
                  <a:pt x="1711" y="1503"/>
                  <a:pt x="1685" y="1531"/>
                  <a:pt x="1692" y="1533"/>
                </a:cubicBezTo>
                <a:cubicBezTo>
                  <a:pt x="1699" y="1535"/>
                  <a:pt x="1715" y="1539"/>
                  <a:pt x="1715" y="1542"/>
                </a:cubicBezTo>
                <a:cubicBezTo>
                  <a:pt x="1715" y="1544"/>
                  <a:pt x="1713" y="1561"/>
                  <a:pt x="1710" y="1574"/>
                </a:cubicBezTo>
                <a:cubicBezTo>
                  <a:pt x="1710" y="1574"/>
                  <a:pt x="1710" y="1574"/>
                  <a:pt x="1710" y="1574"/>
                </a:cubicBezTo>
                <a:cubicBezTo>
                  <a:pt x="1709" y="1581"/>
                  <a:pt x="1707" y="1587"/>
                  <a:pt x="1706" y="1589"/>
                </a:cubicBezTo>
                <a:cubicBezTo>
                  <a:pt x="1702" y="1595"/>
                  <a:pt x="1701" y="1619"/>
                  <a:pt x="1701" y="1619"/>
                </a:cubicBezTo>
                <a:cubicBezTo>
                  <a:pt x="1679" y="1631"/>
                  <a:pt x="1679" y="1631"/>
                  <a:pt x="1679" y="1631"/>
                </a:cubicBezTo>
                <a:cubicBezTo>
                  <a:pt x="1677" y="1643"/>
                  <a:pt x="1677" y="1643"/>
                  <a:pt x="1677" y="1643"/>
                </a:cubicBezTo>
                <a:cubicBezTo>
                  <a:pt x="1666" y="1658"/>
                  <a:pt x="1666" y="1658"/>
                  <a:pt x="1666" y="1658"/>
                </a:cubicBezTo>
                <a:cubicBezTo>
                  <a:pt x="1634" y="1669"/>
                  <a:pt x="1634" y="1669"/>
                  <a:pt x="1634" y="1669"/>
                </a:cubicBezTo>
                <a:cubicBezTo>
                  <a:pt x="1657" y="1656"/>
                  <a:pt x="1657" y="1656"/>
                  <a:pt x="1657" y="1656"/>
                </a:cubicBezTo>
                <a:cubicBezTo>
                  <a:pt x="1642" y="1654"/>
                  <a:pt x="1642" y="1654"/>
                  <a:pt x="1642" y="1654"/>
                </a:cubicBezTo>
                <a:cubicBezTo>
                  <a:pt x="1642" y="1654"/>
                  <a:pt x="1656" y="1634"/>
                  <a:pt x="1660" y="1631"/>
                </a:cubicBezTo>
                <a:cubicBezTo>
                  <a:pt x="1664" y="1628"/>
                  <a:pt x="1684" y="1614"/>
                  <a:pt x="1674" y="1614"/>
                </a:cubicBezTo>
                <a:cubicBezTo>
                  <a:pt x="1664" y="1614"/>
                  <a:pt x="1655" y="1616"/>
                  <a:pt x="1645" y="1615"/>
                </a:cubicBezTo>
                <a:cubicBezTo>
                  <a:pt x="1635" y="1614"/>
                  <a:pt x="1626" y="1596"/>
                  <a:pt x="1617" y="1600"/>
                </a:cubicBezTo>
                <a:cubicBezTo>
                  <a:pt x="1608" y="1604"/>
                  <a:pt x="1599" y="1596"/>
                  <a:pt x="1597" y="1617"/>
                </a:cubicBezTo>
                <a:cubicBezTo>
                  <a:pt x="1595" y="1638"/>
                  <a:pt x="1597" y="1650"/>
                  <a:pt x="1594" y="1652"/>
                </a:cubicBezTo>
                <a:cubicBezTo>
                  <a:pt x="1591" y="1654"/>
                  <a:pt x="1581" y="1669"/>
                  <a:pt x="1581" y="1669"/>
                </a:cubicBezTo>
                <a:cubicBezTo>
                  <a:pt x="1599" y="1673"/>
                  <a:pt x="1599" y="1673"/>
                  <a:pt x="1599" y="1673"/>
                </a:cubicBezTo>
                <a:cubicBezTo>
                  <a:pt x="1580" y="1676"/>
                  <a:pt x="1580" y="1676"/>
                  <a:pt x="1580" y="1676"/>
                </a:cubicBezTo>
                <a:cubicBezTo>
                  <a:pt x="1583" y="1687"/>
                  <a:pt x="1583" y="1687"/>
                  <a:pt x="1583" y="1687"/>
                </a:cubicBezTo>
                <a:cubicBezTo>
                  <a:pt x="1572" y="1704"/>
                  <a:pt x="1572" y="1704"/>
                  <a:pt x="1572" y="1704"/>
                </a:cubicBezTo>
                <a:cubicBezTo>
                  <a:pt x="1572" y="1704"/>
                  <a:pt x="1593" y="1712"/>
                  <a:pt x="1592" y="1716"/>
                </a:cubicBezTo>
                <a:cubicBezTo>
                  <a:pt x="1591" y="1720"/>
                  <a:pt x="1560" y="1714"/>
                  <a:pt x="1560" y="1714"/>
                </a:cubicBezTo>
                <a:cubicBezTo>
                  <a:pt x="1560" y="1714"/>
                  <a:pt x="1521" y="1774"/>
                  <a:pt x="1511" y="1786"/>
                </a:cubicBezTo>
                <a:cubicBezTo>
                  <a:pt x="1501" y="1798"/>
                  <a:pt x="1454" y="1854"/>
                  <a:pt x="1454" y="1854"/>
                </a:cubicBezTo>
                <a:cubicBezTo>
                  <a:pt x="1456" y="1869"/>
                  <a:pt x="1456" y="1869"/>
                  <a:pt x="1456" y="1869"/>
                </a:cubicBezTo>
                <a:cubicBezTo>
                  <a:pt x="1456" y="1869"/>
                  <a:pt x="1443" y="1871"/>
                  <a:pt x="1432" y="1883"/>
                </a:cubicBezTo>
                <a:cubicBezTo>
                  <a:pt x="1421" y="1895"/>
                  <a:pt x="1421" y="1913"/>
                  <a:pt x="1421" y="1913"/>
                </a:cubicBezTo>
                <a:cubicBezTo>
                  <a:pt x="1408" y="1926"/>
                  <a:pt x="1408" y="1926"/>
                  <a:pt x="1408" y="1926"/>
                </a:cubicBezTo>
                <a:cubicBezTo>
                  <a:pt x="1405" y="1960"/>
                  <a:pt x="1405" y="1960"/>
                  <a:pt x="1405" y="1960"/>
                </a:cubicBezTo>
                <a:cubicBezTo>
                  <a:pt x="1405" y="1960"/>
                  <a:pt x="1381" y="1992"/>
                  <a:pt x="1375" y="1998"/>
                </a:cubicBezTo>
                <a:cubicBezTo>
                  <a:pt x="1369" y="2004"/>
                  <a:pt x="1348" y="2016"/>
                  <a:pt x="1350" y="2027"/>
                </a:cubicBezTo>
                <a:cubicBezTo>
                  <a:pt x="1352" y="2038"/>
                  <a:pt x="1368" y="2045"/>
                  <a:pt x="1365" y="2055"/>
                </a:cubicBezTo>
                <a:cubicBezTo>
                  <a:pt x="1362" y="2065"/>
                  <a:pt x="1342" y="2089"/>
                  <a:pt x="1342" y="2101"/>
                </a:cubicBezTo>
                <a:cubicBezTo>
                  <a:pt x="1342" y="2113"/>
                  <a:pt x="1355" y="2154"/>
                  <a:pt x="1355" y="2154"/>
                </a:cubicBezTo>
                <a:cubicBezTo>
                  <a:pt x="1371" y="2144"/>
                  <a:pt x="1371" y="2144"/>
                  <a:pt x="1371" y="2144"/>
                </a:cubicBezTo>
                <a:cubicBezTo>
                  <a:pt x="1416" y="2148"/>
                  <a:pt x="1416" y="2148"/>
                  <a:pt x="1416" y="2148"/>
                </a:cubicBezTo>
                <a:cubicBezTo>
                  <a:pt x="1416" y="2148"/>
                  <a:pt x="1378" y="2148"/>
                  <a:pt x="1375" y="2154"/>
                </a:cubicBezTo>
                <a:cubicBezTo>
                  <a:pt x="1372" y="2160"/>
                  <a:pt x="1373" y="2174"/>
                  <a:pt x="1373" y="2174"/>
                </a:cubicBezTo>
                <a:cubicBezTo>
                  <a:pt x="1373" y="2174"/>
                  <a:pt x="1362" y="2159"/>
                  <a:pt x="1358" y="2165"/>
                </a:cubicBezTo>
                <a:cubicBezTo>
                  <a:pt x="1354" y="2171"/>
                  <a:pt x="1344" y="2190"/>
                  <a:pt x="1349" y="2198"/>
                </a:cubicBezTo>
                <a:cubicBezTo>
                  <a:pt x="1354" y="2206"/>
                  <a:pt x="1367" y="2206"/>
                  <a:pt x="1367" y="2206"/>
                </a:cubicBezTo>
                <a:cubicBezTo>
                  <a:pt x="1367" y="2206"/>
                  <a:pt x="1365" y="2227"/>
                  <a:pt x="1362" y="2227"/>
                </a:cubicBezTo>
                <a:cubicBezTo>
                  <a:pt x="1359" y="2227"/>
                  <a:pt x="1349" y="2239"/>
                  <a:pt x="1349" y="2248"/>
                </a:cubicBezTo>
                <a:cubicBezTo>
                  <a:pt x="1349" y="2257"/>
                  <a:pt x="1362" y="2272"/>
                  <a:pt x="1362" y="2272"/>
                </a:cubicBezTo>
                <a:cubicBezTo>
                  <a:pt x="1362" y="2272"/>
                  <a:pt x="1382" y="2302"/>
                  <a:pt x="1381" y="2309"/>
                </a:cubicBezTo>
                <a:cubicBezTo>
                  <a:pt x="1380" y="2316"/>
                  <a:pt x="1358" y="2338"/>
                  <a:pt x="1370" y="2342"/>
                </a:cubicBezTo>
                <a:cubicBezTo>
                  <a:pt x="1382" y="2346"/>
                  <a:pt x="1407" y="2346"/>
                  <a:pt x="1407" y="2346"/>
                </a:cubicBezTo>
                <a:cubicBezTo>
                  <a:pt x="1407" y="2346"/>
                  <a:pt x="1409" y="2367"/>
                  <a:pt x="1421" y="2367"/>
                </a:cubicBezTo>
                <a:cubicBezTo>
                  <a:pt x="1433" y="2367"/>
                  <a:pt x="1450" y="2361"/>
                  <a:pt x="1450" y="2361"/>
                </a:cubicBezTo>
                <a:cubicBezTo>
                  <a:pt x="1453" y="2380"/>
                  <a:pt x="1453" y="2380"/>
                  <a:pt x="1453" y="2380"/>
                </a:cubicBezTo>
                <a:cubicBezTo>
                  <a:pt x="1453" y="2380"/>
                  <a:pt x="1485" y="2391"/>
                  <a:pt x="1485" y="2406"/>
                </a:cubicBezTo>
                <a:cubicBezTo>
                  <a:pt x="1485" y="2414"/>
                  <a:pt x="1482" y="2428"/>
                  <a:pt x="1480" y="2440"/>
                </a:cubicBezTo>
                <a:cubicBezTo>
                  <a:pt x="1478" y="2450"/>
                  <a:pt x="1476" y="2458"/>
                  <a:pt x="1476" y="2463"/>
                </a:cubicBezTo>
                <a:cubicBezTo>
                  <a:pt x="1476" y="2474"/>
                  <a:pt x="1489" y="2492"/>
                  <a:pt x="1489" y="2492"/>
                </a:cubicBezTo>
                <a:cubicBezTo>
                  <a:pt x="1478" y="2499"/>
                  <a:pt x="1478" y="2499"/>
                  <a:pt x="1478" y="2499"/>
                </a:cubicBezTo>
                <a:cubicBezTo>
                  <a:pt x="1486" y="2514"/>
                  <a:pt x="1486" y="2514"/>
                  <a:pt x="1486" y="2514"/>
                </a:cubicBezTo>
                <a:cubicBezTo>
                  <a:pt x="1479" y="2524"/>
                  <a:pt x="1479" y="2524"/>
                  <a:pt x="1479" y="2524"/>
                </a:cubicBezTo>
                <a:cubicBezTo>
                  <a:pt x="1492" y="2535"/>
                  <a:pt x="1492" y="2535"/>
                  <a:pt x="1492" y="2535"/>
                </a:cubicBezTo>
                <a:cubicBezTo>
                  <a:pt x="1481" y="2555"/>
                  <a:pt x="1481" y="2555"/>
                  <a:pt x="1481" y="2555"/>
                </a:cubicBezTo>
                <a:cubicBezTo>
                  <a:pt x="1490" y="2559"/>
                  <a:pt x="1490" y="2559"/>
                  <a:pt x="1490" y="2559"/>
                </a:cubicBezTo>
                <a:cubicBezTo>
                  <a:pt x="1490" y="2559"/>
                  <a:pt x="1487" y="2600"/>
                  <a:pt x="1496" y="2609"/>
                </a:cubicBezTo>
                <a:cubicBezTo>
                  <a:pt x="1505" y="2618"/>
                  <a:pt x="1518" y="2614"/>
                  <a:pt x="1518" y="2614"/>
                </a:cubicBezTo>
                <a:cubicBezTo>
                  <a:pt x="1518" y="2614"/>
                  <a:pt x="1542" y="2657"/>
                  <a:pt x="1542" y="2665"/>
                </a:cubicBezTo>
                <a:cubicBezTo>
                  <a:pt x="1542" y="2673"/>
                  <a:pt x="1523" y="2698"/>
                  <a:pt x="1523" y="2698"/>
                </a:cubicBezTo>
                <a:cubicBezTo>
                  <a:pt x="1534" y="2705"/>
                  <a:pt x="1534" y="2705"/>
                  <a:pt x="1534" y="2705"/>
                </a:cubicBezTo>
                <a:cubicBezTo>
                  <a:pt x="1526" y="2714"/>
                  <a:pt x="1526" y="2714"/>
                  <a:pt x="1526" y="2714"/>
                </a:cubicBezTo>
                <a:cubicBezTo>
                  <a:pt x="1517" y="2702"/>
                  <a:pt x="1517" y="2702"/>
                  <a:pt x="1517" y="2702"/>
                </a:cubicBezTo>
                <a:cubicBezTo>
                  <a:pt x="1483" y="2699"/>
                  <a:pt x="1483" y="2699"/>
                  <a:pt x="1483" y="2699"/>
                </a:cubicBezTo>
                <a:cubicBezTo>
                  <a:pt x="1499" y="2717"/>
                  <a:pt x="1499" y="2717"/>
                  <a:pt x="1499" y="2717"/>
                </a:cubicBezTo>
                <a:cubicBezTo>
                  <a:pt x="1505" y="2733"/>
                  <a:pt x="1505" y="2733"/>
                  <a:pt x="1505" y="2733"/>
                </a:cubicBezTo>
                <a:cubicBezTo>
                  <a:pt x="1519" y="2734"/>
                  <a:pt x="1519" y="2734"/>
                  <a:pt x="1519" y="2734"/>
                </a:cubicBezTo>
                <a:cubicBezTo>
                  <a:pt x="1519" y="2734"/>
                  <a:pt x="1536" y="2757"/>
                  <a:pt x="1541" y="2755"/>
                </a:cubicBezTo>
                <a:cubicBezTo>
                  <a:pt x="1546" y="2753"/>
                  <a:pt x="1561" y="2743"/>
                  <a:pt x="1561" y="2743"/>
                </a:cubicBezTo>
                <a:cubicBezTo>
                  <a:pt x="1561" y="2743"/>
                  <a:pt x="1560" y="2766"/>
                  <a:pt x="1567" y="2775"/>
                </a:cubicBezTo>
                <a:cubicBezTo>
                  <a:pt x="1574" y="2784"/>
                  <a:pt x="1589" y="2796"/>
                  <a:pt x="1589" y="2806"/>
                </a:cubicBezTo>
                <a:cubicBezTo>
                  <a:pt x="1589" y="2816"/>
                  <a:pt x="1572" y="2836"/>
                  <a:pt x="1578" y="2850"/>
                </a:cubicBezTo>
                <a:cubicBezTo>
                  <a:pt x="1584" y="2864"/>
                  <a:pt x="1604" y="2880"/>
                  <a:pt x="1618" y="2897"/>
                </a:cubicBezTo>
                <a:cubicBezTo>
                  <a:pt x="1632" y="2914"/>
                  <a:pt x="1651" y="2935"/>
                  <a:pt x="1651" y="2935"/>
                </a:cubicBezTo>
                <a:cubicBezTo>
                  <a:pt x="1651" y="2935"/>
                  <a:pt x="1638" y="2962"/>
                  <a:pt x="1654" y="2963"/>
                </a:cubicBezTo>
                <a:cubicBezTo>
                  <a:pt x="1670" y="2964"/>
                  <a:pt x="1686" y="2944"/>
                  <a:pt x="1686" y="2944"/>
                </a:cubicBezTo>
                <a:cubicBezTo>
                  <a:pt x="1682" y="2931"/>
                  <a:pt x="1682" y="2931"/>
                  <a:pt x="1682" y="2931"/>
                </a:cubicBezTo>
                <a:cubicBezTo>
                  <a:pt x="1682" y="2931"/>
                  <a:pt x="1674" y="2895"/>
                  <a:pt x="1666" y="2891"/>
                </a:cubicBezTo>
                <a:cubicBezTo>
                  <a:pt x="1658" y="2887"/>
                  <a:pt x="1648" y="2890"/>
                  <a:pt x="1648" y="2890"/>
                </a:cubicBezTo>
                <a:cubicBezTo>
                  <a:pt x="1636" y="2873"/>
                  <a:pt x="1636" y="2873"/>
                  <a:pt x="1636" y="2873"/>
                </a:cubicBezTo>
                <a:cubicBezTo>
                  <a:pt x="1636" y="2873"/>
                  <a:pt x="1640" y="2860"/>
                  <a:pt x="1638" y="2852"/>
                </a:cubicBezTo>
                <a:cubicBezTo>
                  <a:pt x="1636" y="2844"/>
                  <a:pt x="1638" y="2825"/>
                  <a:pt x="1638" y="2825"/>
                </a:cubicBezTo>
                <a:cubicBezTo>
                  <a:pt x="1626" y="2803"/>
                  <a:pt x="1626" y="2803"/>
                  <a:pt x="1626" y="2803"/>
                </a:cubicBezTo>
                <a:cubicBezTo>
                  <a:pt x="1626" y="2803"/>
                  <a:pt x="1636" y="2779"/>
                  <a:pt x="1632" y="2767"/>
                </a:cubicBezTo>
                <a:cubicBezTo>
                  <a:pt x="1628" y="2755"/>
                  <a:pt x="1607" y="2757"/>
                  <a:pt x="1607" y="2757"/>
                </a:cubicBezTo>
                <a:cubicBezTo>
                  <a:pt x="1607" y="2726"/>
                  <a:pt x="1607" y="2726"/>
                  <a:pt x="1607" y="2726"/>
                </a:cubicBezTo>
                <a:cubicBezTo>
                  <a:pt x="1590" y="2705"/>
                  <a:pt x="1590" y="2705"/>
                  <a:pt x="1590" y="2705"/>
                </a:cubicBezTo>
                <a:cubicBezTo>
                  <a:pt x="1592" y="2665"/>
                  <a:pt x="1592" y="2665"/>
                  <a:pt x="1592" y="2665"/>
                </a:cubicBezTo>
                <a:cubicBezTo>
                  <a:pt x="1592" y="2665"/>
                  <a:pt x="1578" y="2645"/>
                  <a:pt x="1573" y="2639"/>
                </a:cubicBezTo>
                <a:cubicBezTo>
                  <a:pt x="1568" y="2633"/>
                  <a:pt x="1565" y="2608"/>
                  <a:pt x="1565" y="2608"/>
                </a:cubicBezTo>
                <a:cubicBezTo>
                  <a:pt x="1565" y="2608"/>
                  <a:pt x="1539" y="2570"/>
                  <a:pt x="1542" y="2566"/>
                </a:cubicBezTo>
                <a:cubicBezTo>
                  <a:pt x="1545" y="2562"/>
                  <a:pt x="1555" y="2545"/>
                  <a:pt x="1551" y="2533"/>
                </a:cubicBezTo>
                <a:cubicBezTo>
                  <a:pt x="1547" y="2521"/>
                  <a:pt x="1561" y="2505"/>
                  <a:pt x="1561" y="2505"/>
                </a:cubicBezTo>
                <a:cubicBezTo>
                  <a:pt x="1560" y="2480"/>
                  <a:pt x="1560" y="2480"/>
                  <a:pt x="1560" y="2480"/>
                </a:cubicBezTo>
                <a:cubicBezTo>
                  <a:pt x="1560" y="2480"/>
                  <a:pt x="1580" y="2500"/>
                  <a:pt x="1589" y="2500"/>
                </a:cubicBezTo>
                <a:cubicBezTo>
                  <a:pt x="1598" y="2500"/>
                  <a:pt x="1610" y="2496"/>
                  <a:pt x="1610" y="2496"/>
                </a:cubicBezTo>
                <a:cubicBezTo>
                  <a:pt x="1610" y="2496"/>
                  <a:pt x="1607" y="2507"/>
                  <a:pt x="1614" y="2511"/>
                </a:cubicBezTo>
                <a:cubicBezTo>
                  <a:pt x="1621" y="2515"/>
                  <a:pt x="1631" y="2515"/>
                  <a:pt x="1631" y="2515"/>
                </a:cubicBezTo>
                <a:cubicBezTo>
                  <a:pt x="1631" y="2515"/>
                  <a:pt x="1628" y="2526"/>
                  <a:pt x="1628" y="2544"/>
                </a:cubicBezTo>
                <a:cubicBezTo>
                  <a:pt x="1628" y="2562"/>
                  <a:pt x="1636" y="2618"/>
                  <a:pt x="1636" y="2618"/>
                </a:cubicBezTo>
                <a:cubicBezTo>
                  <a:pt x="1636" y="2618"/>
                  <a:pt x="1657" y="2693"/>
                  <a:pt x="1665" y="2695"/>
                </a:cubicBezTo>
                <a:cubicBezTo>
                  <a:pt x="1673" y="2697"/>
                  <a:pt x="1693" y="2695"/>
                  <a:pt x="1693" y="2695"/>
                </a:cubicBezTo>
                <a:cubicBezTo>
                  <a:pt x="1693" y="2695"/>
                  <a:pt x="1675" y="2706"/>
                  <a:pt x="1684" y="2722"/>
                </a:cubicBezTo>
                <a:cubicBezTo>
                  <a:pt x="1693" y="2738"/>
                  <a:pt x="1710" y="2740"/>
                  <a:pt x="1710" y="2740"/>
                </a:cubicBezTo>
                <a:cubicBezTo>
                  <a:pt x="1712" y="2755"/>
                  <a:pt x="1712" y="2755"/>
                  <a:pt x="1712" y="2755"/>
                </a:cubicBezTo>
                <a:cubicBezTo>
                  <a:pt x="1733" y="2756"/>
                  <a:pt x="1733" y="2756"/>
                  <a:pt x="1733" y="2756"/>
                </a:cubicBezTo>
                <a:cubicBezTo>
                  <a:pt x="1736" y="2784"/>
                  <a:pt x="1736" y="2784"/>
                  <a:pt x="1736" y="2784"/>
                </a:cubicBezTo>
                <a:cubicBezTo>
                  <a:pt x="1736" y="2784"/>
                  <a:pt x="1704" y="2797"/>
                  <a:pt x="1714" y="2812"/>
                </a:cubicBezTo>
                <a:cubicBezTo>
                  <a:pt x="1724" y="2827"/>
                  <a:pt x="1731" y="2813"/>
                  <a:pt x="1731" y="2813"/>
                </a:cubicBezTo>
                <a:cubicBezTo>
                  <a:pt x="1731" y="2813"/>
                  <a:pt x="1740" y="2833"/>
                  <a:pt x="1746" y="2835"/>
                </a:cubicBezTo>
                <a:cubicBezTo>
                  <a:pt x="1752" y="2837"/>
                  <a:pt x="1770" y="2839"/>
                  <a:pt x="1770" y="2842"/>
                </a:cubicBezTo>
                <a:cubicBezTo>
                  <a:pt x="1770" y="2845"/>
                  <a:pt x="1770" y="2856"/>
                  <a:pt x="1770" y="2856"/>
                </a:cubicBezTo>
                <a:cubicBezTo>
                  <a:pt x="1770" y="2856"/>
                  <a:pt x="1755" y="2875"/>
                  <a:pt x="1766" y="2876"/>
                </a:cubicBezTo>
                <a:cubicBezTo>
                  <a:pt x="1777" y="2877"/>
                  <a:pt x="1789" y="2875"/>
                  <a:pt x="1789" y="2875"/>
                </a:cubicBezTo>
                <a:cubicBezTo>
                  <a:pt x="1789" y="2894"/>
                  <a:pt x="1789" y="2894"/>
                  <a:pt x="1789" y="2894"/>
                </a:cubicBezTo>
                <a:cubicBezTo>
                  <a:pt x="1789" y="2894"/>
                  <a:pt x="1811" y="2919"/>
                  <a:pt x="1821" y="2933"/>
                </a:cubicBezTo>
                <a:cubicBezTo>
                  <a:pt x="1831" y="2947"/>
                  <a:pt x="1849" y="2976"/>
                  <a:pt x="1849" y="2985"/>
                </a:cubicBezTo>
                <a:cubicBezTo>
                  <a:pt x="1849" y="2994"/>
                  <a:pt x="1846" y="3000"/>
                  <a:pt x="1847" y="3013"/>
                </a:cubicBezTo>
                <a:cubicBezTo>
                  <a:pt x="1848" y="3026"/>
                  <a:pt x="1862" y="3033"/>
                  <a:pt x="1860" y="3044"/>
                </a:cubicBezTo>
                <a:cubicBezTo>
                  <a:pt x="1858" y="3055"/>
                  <a:pt x="1840" y="3063"/>
                  <a:pt x="1840" y="3070"/>
                </a:cubicBezTo>
                <a:cubicBezTo>
                  <a:pt x="1840" y="3077"/>
                  <a:pt x="1851" y="3083"/>
                  <a:pt x="1851" y="3083"/>
                </a:cubicBezTo>
                <a:cubicBezTo>
                  <a:pt x="1851" y="3083"/>
                  <a:pt x="1827" y="3080"/>
                  <a:pt x="1827" y="3097"/>
                </a:cubicBezTo>
                <a:cubicBezTo>
                  <a:pt x="1827" y="3114"/>
                  <a:pt x="1826" y="3155"/>
                  <a:pt x="1849" y="3157"/>
                </a:cubicBezTo>
                <a:cubicBezTo>
                  <a:pt x="1872" y="3159"/>
                  <a:pt x="1892" y="3165"/>
                  <a:pt x="1899" y="3178"/>
                </a:cubicBezTo>
                <a:cubicBezTo>
                  <a:pt x="1906" y="3191"/>
                  <a:pt x="1913" y="3217"/>
                  <a:pt x="1929" y="3219"/>
                </a:cubicBezTo>
                <a:cubicBezTo>
                  <a:pt x="1945" y="3221"/>
                  <a:pt x="1972" y="3215"/>
                  <a:pt x="1983" y="3226"/>
                </a:cubicBezTo>
                <a:cubicBezTo>
                  <a:pt x="1994" y="3237"/>
                  <a:pt x="2001" y="3263"/>
                  <a:pt x="2032" y="3276"/>
                </a:cubicBezTo>
                <a:cubicBezTo>
                  <a:pt x="2063" y="3289"/>
                  <a:pt x="2108" y="3289"/>
                  <a:pt x="2115" y="3299"/>
                </a:cubicBezTo>
                <a:cubicBezTo>
                  <a:pt x="2122" y="3309"/>
                  <a:pt x="2125" y="3319"/>
                  <a:pt x="2135" y="3319"/>
                </a:cubicBezTo>
                <a:cubicBezTo>
                  <a:pt x="2145" y="3319"/>
                  <a:pt x="2153" y="3337"/>
                  <a:pt x="2153" y="3337"/>
                </a:cubicBezTo>
                <a:cubicBezTo>
                  <a:pt x="2153" y="3337"/>
                  <a:pt x="2196" y="3332"/>
                  <a:pt x="2198" y="3335"/>
                </a:cubicBezTo>
                <a:cubicBezTo>
                  <a:pt x="2200" y="3338"/>
                  <a:pt x="2207" y="3359"/>
                  <a:pt x="2221" y="3355"/>
                </a:cubicBezTo>
                <a:cubicBezTo>
                  <a:pt x="2235" y="3351"/>
                  <a:pt x="2305" y="3313"/>
                  <a:pt x="2316" y="3316"/>
                </a:cubicBezTo>
                <a:cubicBezTo>
                  <a:pt x="2327" y="3319"/>
                  <a:pt x="2397" y="3376"/>
                  <a:pt x="2400" y="3384"/>
                </a:cubicBezTo>
                <a:cubicBezTo>
                  <a:pt x="2402" y="3389"/>
                  <a:pt x="2403" y="3402"/>
                  <a:pt x="2409" y="3412"/>
                </a:cubicBezTo>
                <a:cubicBezTo>
                  <a:pt x="2412" y="3418"/>
                  <a:pt x="2416" y="3422"/>
                  <a:pt x="2423" y="3425"/>
                </a:cubicBezTo>
                <a:cubicBezTo>
                  <a:pt x="2442" y="3432"/>
                  <a:pt x="2445" y="3442"/>
                  <a:pt x="2456" y="3446"/>
                </a:cubicBezTo>
                <a:cubicBezTo>
                  <a:pt x="2467" y="3450"/>
                  <a:pt x="2489" y="3446"/>
                  <a:pt x="2489" y="3446"/>
                </a:cubicBezTo>
                <a:cubicBezTo>
                  <a:pt x="2489" y="3446"/>
                  <a:pt x="2495" y="3450"/>
                  <a:pt x="2501" y="3455"/>
                </a:cubicBezTo>
                <a:cubicBezTo>
                  <a:pt x="2508" y="3460"/>
                  <a:pt x="2517" y="3466"/>
                  <a:pt x="2521" y="3468"/>
                </a:cubicBezTo>
                <a:cubicBezTo>
                  <a:pt x="2529" y="3471"/>
                  <a:pt x="2549" y="3469"/>
                  <a:pt x="2549" y="3469"/>
                </a:cubicBezTo>
                <a:cubicBezTo>
                  <a:pt x="2565" y="3482"/>
                  <a:pt x="2565" y="3482"/>
                  <a:pt x="2565" y="3482"/>
                </a:cubicBezTo>
                <a:cubicBezTo>
                  <a:pt x="2587" y="3480"/>
                  <a:pt x="2587" y="3480"/>
                  <a:pt x="2587" y="3480"/>
                </a:cubicBezTo>
                <a:cubicBezTo>
                  <a:pt x="2599" y="3490"/>
                  <a:pt x="2599" y="3490"/>
                  <a:pt x="2599" y="3490"/>
                </a:cubicBezTo>
                <a:cubicBezTo>
                  <a:pt x="2611" y="3471"/>
                  <a:pt x="2611" y="3471"/>
                  <a:pt x="2611" y="3471"/>
                </a:cubicBezTo>
                <a:cubicBezTo>
                  <a:pt x="2618" y="3473"/>
                  <a:pt x="2618" y="3473"/>
                  <a:pt x="2618" y="3473"/>
                </a:cubicBezTo>
                <a:cubicBezTo>
                  <a:pt x="2617" y="3473"/>
                  <a:pt x="2617" y="3473"/>
                  <a:pt x="2617" y="3473"/>
                </a:cubicBezTo>
                <a:cubicBezTo>
                  <a:pt x="2634" y="3478"/>
                  <a:pt x="2634" y="3478"/>
                  <a:pt x="2634" y="3478"/>
                </a:cubicBezTo>
                <a:cubicBezTo>
                  <a:pt x="2641" y="3488"/>
                  <a:pt x="2638" y="3496"/>
                  <a:pt x="2638" y="3496"/>
                </a:cubicBezTo>
                <a:cubicBezTo>
                  <a:pt x="2619" y="3496"/>
                  <a:pt x="2619" y="3496"/>
                  <a:pt x="2619" y="3496"/>
                </a:cubicBezTo>
                <a:cubicBezTo>
                  <a:pt x="2651" y="3530"/>
                  <a:pt x="2651" y="3530"/>
                  <a:pt x="2651" y="3530"/>
                </a:cubicBezTo>
                <a:cubicBezTo>
                  <a:pt x="2651" y="3530"/>
                  <a:pt x="2659" y="3561"/>
                  <a:pt x="2669" y="3569"/>
                </a:cubicBezTo>
                <a:cubicBezTo>
                  <a:pt x="2678" y="3576"/>
                  <a:pt x="2696" y="3590"/>
                  <a:pt x="2699" y="3593"/>
                </a:cubicBezTo>
                <a:cubicBezTo>
                  <a:pt x="2699" y="3593"/>
                  <a:pt x="2699" y="3593"/>
                  <a:pt x="2699" y="3593"/>
                </a:cubicBezTo>
                <a:cubicBezTo>
                  <a:pt x="2690" y="3610"/>
                  <a:pt x="2690" y="3610"/>
                  <a:pt x="2690" y="3610"/>
                </a:cubicBezTo>
                <a:cubicBezTo>
                  <a:pt x="2690" y="3610"/>
                  <a:pt x="2706" y="3619"/>
                  <a:pt x="2700" y="3623"/>
                </a:cubicBezTo>
                <a:cubicBezTo>
                  <a:pt x="2694" y="3627"/>
                  <a:pt x="2680" y="3637"/>
                  <a:pt x="2689" y="3651"/>
                </a:cubicBezTo>
                <a:cubicBezTo>
                  <a:pt x="2698" y="3665"/>
                  <a:pt x="2713" y="3663"/>
                  <a:pt x="2713" y="3663"/>
                </a:cubicBezTo>
                <a:cubicBezTo>
                  <a:pt x="2713" y="3663"/>
                  <a:pt x="2730" y="3683"/>
                  <a:pt x="2733" y="3676"/>
                </a:cubicBezTo>
                <a:cubicBezTo>
                  <a:pt x="2736" y="3669"/>
                  <a:pt x="2731" y="3658"/>
                  <a:pt x="2731" y="3658"/>
                </a:cubicBezTo>
                <a:cubicBezTo>
                  <a:pt x="2731" y="3658"/>
                  <a:pt x="2704" y="3640"/>
                  <a:pt x="2713" y="3640"/>
                </a:cubicBezTo>
                <a:cubicBezTo>
                  <a:pt x="2722" y="3640"/>
                  <a:pt x="2747" y="3661"/>
                  <a:pt x="2747" y="3661"/>
                </a:cubicBezTo>
                <a:cubicBezTo>
                  <a:pt x="2747" y="3661"/>
                  <a:pt x="2744" y="3680"/>
                  <a:pt x="2748" y="3680"/>
                </a:cubicBezTo>
                <a:cubicBezTo>
                  <a:pt x="2752" y="3680"/>
                  <a:pt x="2775" y="3685"/>
                  <a:pt x="2775" y="3685"/>
                </a:cubicBezTo>
                <a:cubicBezTo>
                  <a:pt x="2788" y="3712"/>
                  <a:pt x="2788" y="3712"/>
                  <a:pt x="2788" y="3712"/>
                </a:cubicBezTo>
                <a:cubicBezTo>
                  <a:pt x="2788" y="3712"/>
                  <a:pt x="2779" y="3720"/>
                  <a:pt x="2788" y="3729"/>
                </a:cubicBezTo>
                <a:cubicBezTo>
                  <a:pt x="2797" y="3738"/>
                  <a:pt x="2811" y="3741"/>
                  <a:pt x="2811" y="3741"/>
                </a:cubicBezTo>
                <a:cubicBezTo>
                  <a:pt x="2802" y="3724"/>
                  <a:pt x="2802" y="3724"/>
                  <a:pt x="2802" y="3724"/>
                </a:cubicBezTo>
                <a:cubicBezTo>
                  <a:pt x="2826" y="3748"/>
                  <a:pt x="2826" y="3748"/>
                  <a:pt x="2826" y="3748"/>
                </a:cubicBezTo>
                <a:cubicBezTo>
                  <a:pt x="2854" y="3742"/>
                  <a:pt x="2854" y="3742"/>
                  <a:pt x="2854" y="3742"/>
                </a:cubicBezTo>
                <a:cubicBezTo>
                  <a:pt x="2859" y="3754"/>
                  <a:pt x="2859" y="3754"/>
                  <a:pt x="2859" y="3754"/>
                </a:cubicBezTo>
                <a:cubicBezTo>
                  <a:pt x="2879" y="3753"/>
                  <a:pt x="2879" y="3753"/>
                  <a:pt x="2879" y="3753"/>
                </a:cubicBezTo>
                <a:cubicBezTo>
                  <a:pt x="2879" y="3753"/>
                  <a:pt x="2874" y="3775"/>
                  <a:pt x="2882" y="3780"/>
                </a:cubicBezTo>
                <a:cubicBezTo>
                  <a:pt x="2890" y="3785"/>
                  <a:pt x="2901" y="3775"/>
                  <a:pt x="2901" y="3775"/>
                </a:cubicBezTo>
                <a:cubicBezTo>
                  <a:pt x="2901" y="3762"/>
                  <a:pt x="2901" y="3762"/>
                  <a:pt x="2901" y="3762"/>
                </a:cubicBezTo>
                <a:cubicBezTo>
                  <a:pt x="2912" y="3761"/>
                  <a:pt x="2912" y="3761"/>
                  <a:pt x="2912" y="3761"/>
                </a:cubicBezTo>
                <a:cubicBezTo>
                  <a:pt x="2912" y="3761"/>
                  <a:pt x="2916" y="3814"/>
                  <a:pt x="2930" y="3807"/>
                </a:cubicBezTo>
                <a:cubicBezTo>
                  <a:pt x="2944" y="3800"/>
                  <a:pt x="2958" y="3791"/>
                  <a:pt x="2958" y="3791"/>
                </a:cubicBezTo>
                <a:cubicBezTo>
                  <a:pt x="2958" y="3791"/>
                  <a:pt x="2920" y="3764"/>
                  <a:pt x="2931" y="3754"/>
                </a:cubicBezTo>
                <a:cubicBezTo>
                  <a:pt x="2942" y="3744"/>
                  <a:pt x="2953" y="3743"/>
                  <a:pt x="2962" y="3735"/>
                </a:cubicBezTo>
                <a:cubicBezTo>
                  <a:pt x="2971" y="3727"/>
                  <a:pt x="2982" y="3707"/>
                  <a:pt x="2992" y="3709"/>
                </a:cubicBezTo>
                <a:cubicBezTo>
                  <a:pt x="3002" y="3711"/>
                  <a:pt x="3018" y="3716"/>
                  <a:pt x="3024" y="3720"/>
                </a:cubicBezTo>
                <a:cubicBezTo>
                  <a:pt x="3030" y="3724"/>
                  <a:pt x="3039" y="3739"/>
                  <a:pt x="3039" y="3739"/>
                </a:cubicBezTo>
                <a:cubicBezTo>
                  <a:pt x="3047" y="3736"/>
                  <a:pt x="3047" y="3736"/>
                  <a:pt x="3047" y="3736"/>
                </a:cubicBezTo>
                <a:cubicBezTo>
                  <a:pt x="3069" y="3754"/>
                  <a:pt x="3069" y="3754"/>
                  <a:pt x="3069" y="3754"/>
                </a:cubicBezTo>
                <a:cubicBezTo>
                  <a:pt x="3047" y="3744"/>
                  <a:pt x="3047" y="3744"/>
                  <a:pt x="3047" y="3744"/>
                </a:cubicBezTo>
                <a:cubicBezTo>
                  <a:pt x="3047" y="3744"/>
                  <a:pt x="3044" y="3773"/>
                  <a:pt x="3044" y="3779"/>
                </a:cubicBezTo>
                <a:cubicBezTo>
                  <a:pt x="3044" y="3784"/>
                  <a:pt x="3055" y="3797"/>
                  <a:pt x="3058" y="3801"/>
                </a:cubicBezTo>
                <a:cubicBezTo>
                  <a:pt x="3066" y="3816"/>
                  <a:pt x="3066" y="3816"/>
                  <a:pt x="3066" y="3816"/>
                </a:cubicBezTo>
                <a:cubicBezTo>
                  <a:pt x="3066" y="3823"/>
                  <a:pt x="3066" y="3823"/>
                  <a:pt x="3066" y="3823"/>
                </a:cubicBezTo>
                <a:cubicBezTo>
                  <a:pt x="3066" y="3823"/>
                  <a:pt x="3073" y="3828"/>
                  <a:pt x="3079" y="3840"/>
                </a:cubicBezTo>
                <a:cubicBezTo>
                  <a:pt x="3085" y="3852"/>
                  <a:pt x="3069" y="3853"/>
                  <a:pt x="3069" y="3853"/>
                </a:cubicBezTo>
                <a:cubicBezTo>
                  <a:pt x="3079" y="3868"/>
                  <a:pt x="3079" y="3868"/>
                  <a:pt x="3079" y="3868"/>
                </a:cubicBezTo>
                <a:cubicBezTo>
                  <a:pt x="3084" y="3890"/>
                  <a:pt x="3084" y="3890"/>
                  <a:pt x="3084" y="3890"/>
                </a:cubicBezTo>
                <a:cubicBezTo>
                  <a:pt x="3069" y="3893"/>
                  <a:pt x="3069" y="3893"/>
                  <a:pt x="3069" y="3893"/>
                </a:cubicBezTo>
                <a:cubicBezTo>
                  <a:pt x="3079" y="3906"/>
                  <a:pt x="3079" y="3906"/>
                  <a:pt x="3079" y="3906"/>
                </a:cubicBezTo>
                <a:cubicBezTo>
                  <a:pt x="3079" y="3946"/>
                  <a:pt x="3079" y="3946"/>
                  <a:pt x="3079" y="3946"/>
                </a:cubicBezTo>
                <a:cubicBezTo>
                  <a:pt x="3079" y="3946"/>
                  <a:pt x="3066" y="3956"/>
                  <a:pt x="3066" y="3969"/>
                </a:cubicBezTo>
                <a:cubicBezTo>
                  <a:pt x="3066" y="3982"/>
                  <a:pt x="3083" y="3982"/>
                  <a:pt x="3084" y="3997"/>
                </a:cubicBezTo>
                <a:cubicBezTo>
                  <a:pt x="3085" y="4012"/>
                  <a:pt x="3057" y="4029"/>
                  <a:pt x="3057" y="4029"/>
                </a:cubicBezTo>
                <a:cubicBezTo>
                  <a:pt x="3066" y="4037"/>
                  <a:pt x="3066" y="4037"/>
                  <a:pt x="3066" y="4037"/>
                </a:cubicBezTo>
                <a:cubicBezTo>
                  <a:pt x="3047" y="4054"/>
                  <a:pt x="3047" y="4054"/>
                  <a:pt x="3047" y="4054"/>
                </a:cubicBezTo>
                <a:cubicBezTo>
                  <a:pt x="3047" y="4054"/>
                  <a:pt x="3026" y="4054"/>
                  <a:pt x="3018" y="4063"/>
                </a:cubicBezTo>
                <a:cubicBezTo>
                  <a:pt x="3010" y="4073"/>
                  <a:pt x="3018" y="4095"/>
                  <a:pt x="3018" y="4095"/>
                </a:cubicBezTo>
                <a:cubicBezTo>
                  <a:pt x="3018" y="4095"/>
                  <a:pt x="2993" y="4087"/>
                  <a:pt x="2992" y="4101"/>
                </a:cubicBezTo>
                <a:cubicBezTo>
                  <a:pt x="2992" y="4103"/>
                  <a:pt x="2992" y="4105"/>
                  <a:pt x="2992" y="4107"/>
                </a:cubicBezTo>
                <a:cubicBezTo>
                  <a:pt x="2993" y="4117"/>
                  <a:pt x="2999" y="4121"/>
                  <a:pt x="2995" y="4130"/>
                </a:cubicBezTo>
                <a:cubicBezTo>
                  <a:pt x="2992" y="4139"/>
                  <a:pt x="2962" y="4144"/>
                  <a:pt x="2962" y="4144"/>
                </a:cubicBezTo>
                <a:cubicBezTo>
                  <a:pt x="2960" y="4134"/>
                  <a:pt x="2960" y="4134"/>
                  <a:pt x="2960" y="4134"/>
                </a:cubicBezTo>
                <a:cubicBezTo>
                  <a:pt x="2960" y="4134"/>
                  <a:pt x="2940" y="4145"/>
                  <a:pt x="2938" y="4153"/>
                </a:cubicBezTo>
                <a:cubicBezTo>
                  <a:pt x="2935" y="4161"/>
                  <a:pt x="2945" y="4171"/>
                  <a:pt x="2943" y="4184"/>
                </a:cubicBezTo>
                <a:cubicBezTo>
                  <a:pt x="2942" y="4197"/>
                  <a:pt x="2929" y="4196"/>
                  <a:pt x="2925" y="4204"/>
                </a:cubicBezTo>
                <a:cubicBezTo>
                  <a:pt x="2920" y="4212"/>
                  <a:pt x="2933" y="4226"/>
                  <a:pt x="2933" y="4226"/>
                </a:cubicBezTo>
                <a:cubicBezTo>
                  <a:pt x="2921" y="4226"/>
                  <a:pt x="2921" y="4226"/>
                  <a:pt x="2921" y="4226"/>
                </a:cubicBezTo>
                <a:cubicBezTo>
                  <a:pt x="2920" y="4237"/>
                  <a:pt x="2920" y="4237"/>
                  <a:pt x="2920" y="4237"/>
                </a:cubicBezTo>
                <a:cubicBezTo>
                  <a:pt x="2897" y="4251"/>
                  <a:pt x="2897" y="4251"/>
                  <a:pt x="2897" y="4251"/>
                </a:cubicBezTo>
                <a:cubicBezTo>
                  <a:pt x="2913" y="4261"/>
                  <a:pt x="2913" y="4261"/>
                  <a:pt x="2913" y="4261"/>
                </a:cubicBezTo>
                <a:cubicBezTo>
                  <a:pt x="2902" y="4280"/>
                  <a:pt x="2902" y="4280"/>
                  <a:pt x="2902" y="4280"/>
                </a:cubicBezTo>
                <a:cubicBezTo>
                  <a:pt x="2902" y="4280"/>
                  <a:pt x="2913" y="4283"/>
                  <a:pt x="2912" y="4294"/>
                </a:cubicBezTo>
                <a:cubicBezTo>
                  <a:pt x="2910" y="4305"/>
                  <a:pt x="2897" y="4308"/>
                  <a:pt x="2897" y="4308"/>
                </a:cubicBezTo>
                <a:cubicBezTo>
                  <a:pt x="2906" y="4314"/>
                  <a:pt x="2906" y="4314"/>
                  <a:pt x="2906" y="4314"/>
                </a:cubicBezTo>
                <a:cubicBezTo>
                  <a:pt x="2906" y="4314"/>
                  <a:pt x="2894" y="4328"/>
                  <a:pt x="2916" y="4335"/>
                </a:cubicBezTo>
                <a:cubicBezTo>
                  <a:pt x="2939" y="4342"/>
                  <a:pt x="2942" y="4321"/>
                  <a:pt x="2942" y="4321"/>
                </a:cubicBezTo>
                <a:cubicBezTo>
                  <a:pt x="2959" y="4326"/>
                  <a:pt x="2959" y="4326"/>
                  <a:pt x="2959" y="4326"/>
                </a:cubicBezTo>
                <a:cubicBezTo>
                  <a:pt x="2967" y="4334"/>
                  <a:pt x="2958" y="4353"/>
                  <a:pt x="2955" y="4365"/>
                </a:cubicBezTo>
                <a:cubicBezTo>
                  <a:pt x="2953" y="4377"/>
                  <a:pt x="2930" y="4378"/>
                  <a:pt x="2930" y="4378"/>
                </a:cubicBezTo>
                <a:cubicBezTo>
                  <a:pt x="2930" y="4378"/>
                  <a:pt x="2904" y="4406"/>
                  <a:pt x="2896" y="4413"/>
                </a:cubicBezTo>
                <a:cubicBezTo>
                  <a:pt x="2888" y="4420"/>
                  <a:pt x="2887" y="4431"/>
                  <a:pt x="2887" y="4444"/>
                </a:cubicBezTo>
                <a:cubicBezTo>
                  <a:pt x="2887" y="4457"/>
                  <a:pt x="2899" y="4454"/>
                  <a:pt x="2899" y="4454"/>
                </a:cubicBezTo>
                <a:cubicBezTo>
                  <a:pt x="2896" y="4472"/>
                  <a:pt x="2896" y="4472"/>
                  <a:pt x="2896" y="4472"/>
                </a:cubicBezTo>
                <a:cubicBezTo>
                  <a:pt x="2896" y="4472"/>
                  <a:pt x="2913" y="4482"/>
                  <a:pt x="2914" y="4494"/>
                </a:cubicBezTo>
                <a:cubicBezTo>
                  <a:pt x="2915" y="4506"/>
                  <a:pt x="2895" y="4507"/>
                  <a:pt x="2895" y="4521"/>
                </a:cubicBezTo>
                <a:cubicBezTo>
                  <a:pt x="2895" y="4535"/>
                  <a:pt x="2929" y="4537"/>
                  <a:pt x="2938" y="4542"/>
                </a:cubicBezTo>
                <a:cubicBezTo>
                  <a:pt x="2946" y="4547"/>
                  <a:pt x="2969" y="4579"/>
                  <a:pt x="2972" y="4584"/>
                </a:cubicBezTo>
                <a:cubicBezTo>
                  <a:pt x="2974" y="4588"/>
                  <a:pt x="2986" y="4608"/>
                  <a:pt x="2986" y="4614"/>
                </a:cubicBezTo>
                <a:cubicBezTo>
                  <a:pt x="2986" y="4620"/>
                  <a:pt x="3010" y="4646"/>
                  <a:pt x="3013" y="4652"/>
                </a:cubicBezTo>
                <a:cubicBezTo>
                  <a:pt x="3017" y="4658"/>
                  <a:pt x="3051" y="4712"/>
                  <a:pt x="3051" y="4712"/>
                </a:cubicBezTo>
                <a:cubicBezTo>
                  <a:pt x="3056" y="4737"/>
                  <a:pt x="3056" y="4737"/>
                  <a:pt x="3056" y="4737"/>
                </a:cubicBezTo>
                <a:cubicBezTo>
                  <a:pt x="3056" y="4737"/>
                  <a:pt x="3084" y="4792"/>
                  <a:pt x="3084" y="4799"/>
                </a:cubicBezTo>
                <a:cubicBezTo>
                  <a:pt x="3084" y="4806"/>
                  <a:pt x="3092" y="4806"/>
                  <a:pt x="3101" y="4812"/>
                </a:cubicBezTo>
                <a:cubicBezTo>
                  <a:pt x="3109" y="4818"/>
                  <a:pt x="3105" y="4825"/>
                  <a:pt x="3107" y="4837"/>
                </a:cubicBezTo>
                <a:cubicBezTo>
                  <a:pt x="3108" y="4848"/>
                  <a:pt x="3142" y="4889"/>
                  <a:pt x="3154" y="4905"/>
                </a:cubicBezTo>
                <a:cubicBezTo>
                  <a:pt x="3166" y="4922"/>
                  <a:pt x="3157" y="4944"/>
                  <a:pt x="3157" y="4952"/>
                </a:cubicBezTo>
                <a:cubicBezTo>
                  <a:pt x="3157" y="4961"/>
                  <a:pt x="3180" y="4986"/>
                  <a:pt x="3191" y="4993"/>
                </a:cubicBezTo>
                <a:cubicBezTo>
                  <a:pt x="3201" y="5000"/>
                  <a:pt x="3211" y="5016"/>
                  <a:pt x="3219" y="5025"/>
                </a:cubicBezTo>
                <a:cubicBezTo>
                  <a:pt x="3227" y="5033"/>
                  <a:pt x="3273" y="5051"/>
                  <a:pt x="3287" y="5059"/>
                </a:cubicBezTo>
                <a:cubicBezTo>
                  <a:pt x="3302" y="5067"/>
                  <a:pt x="3329" y="5073"/>
                  <a:pt x="3350" y="5091"/>
                </a:cubicBezTo>
                <a:cubicBezTo>
                  <a:pt x="3371" y="5109"/>
                  <a:pt x="3403" y="5129"/>
                  <a:pt x="3403" y="5129"/>
                </a:cubicBezTo>
                <a:cubicBezTo>
                  <a:pt x="3409" y="5144"/>
                  <a:pt x="3409" y="5144"/>
                  <a:pt x="3409" y="5144"/>
                </a:cubicBezTo>
                <a:cubicBezTo>
                  <a:pt x="3409" y="5144"/>
                  <a:pt x="3420" y="5152"/>
                  <a:pt x="3427" y="5158"/>
                </a:cubicBezTo>
                <a:cubicBezTo>
                  <a:pt x="3434" y="5164"/>
                  <a:pt x="3461" y="5182"/>
                  <a:pt x="3461" y="5182"/>
                </a:cubicBezTo>
                <a:cubicBezTo>
                  <a:pt x="3461" y="5183"/>
                  <a:pt x="3461" y="5183"/>
                  <a:pt x="3461" y="5183"/>
                </a:cubicBezTo>
                <a:cubicBezTo>
                  <a:pt x="3460" y="5209"/>
                  <a:pt x="3460" y="5209"/>
                  <a:pt x="3460" y="5209"/>
                </a:cubicBezTo>
                <a:cubicBezTo>
                  <a:pt x="3460" y="5209"/>
                  <a:pt x="3473" y="5236"/>
                  <a:pt x="3479" y="5256"/>
                </a:cubicBezTo>
                <a:cubicBezTo>
                  <a:pt x="3485" y="5276"/>
                  <a:pt x="3484" y="5306"/>
                  <a:pt x="3484" y="5319"/>
                </a:cubicBezTo>
                <a:cubicBezTo>
                  <a:pt x="3484" y="5332"/>
                  <a:pt x="3492" y="5343"/>
                  <a:pt x="3493" y="5366"/>
                </a:cubicBezTo>
                <a:cubicBezTo>
                  <a:pt x="3494" y="5390"/>
                  <a:pt x="3494" y="5427"/>
                  <a:pt x="3494" y="5427"/>
                </a:cubicBezTo>
                <a:cubicBezTo>
                  <a:pt x="3480" y="5435"/>
                  <a:pt x="3480" y="5435"/>
                  <a:pt x="3480" y="5435"/>
                </a:cubicBezTo>
                <a:cubicBezTo>
                  <a:pt x="3483" y="5455"/>
                  <a:pt x="3483" y="5455"/>
                  <a:pt x="3483" y="5455"/>
                </a:cubicBezTo>
                <a:cubicBezTo>
                  <a:pt x="3498" y="5464"/>
                  <a:pt x="3498" y="5464"/>
                  <a:pt x="3498" y="5464"/>
                </a:cubicBezTo>
                <a:cubicBezTo>
                  <a:pt x="3492" y="5526"/>
                  <a:pt x="3492" y="5526"/>
                  <a:pt x="3492" y="5526"/>
                </a:cubicBezTo>
                <a:cubicBezTo>
                  <a:pt x="3507" y="5554"/>
                  <a:pt x="3507" y="5554"/>
                  <a:pt x="3507" y="5554"/>
                </a:cubicBezTo>
                <a:cubicBezTo>
                  <a:pt x="3496" y="5567"/>
                  <a:pt x="3496" y="5567"/>
                  <a:pt x="3496" y="5567"/>
                </a:cubicBezTo>
                <a:cubicBezTo>
                  <a:pt x="3502" y="5609"/>
                  <a:pt x="3502" y="5609"/>
                  <a:pt x="3502" y="5609"/>
                </a:cubicBezTo>
                <a:cubicBezTo>
                  <a:pt x="3502" y="5609"/>
                  <a:pt x="3509" y="5612"/>
                  <a:pt x="3511" y="5629"/>
                </a:cubicBezTo>
                <a:cubicBezTo>
                  <a:pt x="3513" y="5645"/>
                  <a:pt x="3502" y="5646"/>
                  <a:pt x="3502" y="5646"/>
                </a:cubicBezTo>
                <a:cubicBezTo>
                  <a:pt x="3500" y="5668"/>
                  <a:pt x="3500" y="5668"/>
                  <a:pt x="3500" y="5668"/>
                </a:cubicBezTo>
                <a:cubicBezTo>
                  <a:pt x="3507" y="5677"/>
                  <a:pt x="3507" y="5677"/>
                  <a:pt x="3507" y="5677"/>
                </a:cubicBezTo>
                <a:cubicBezTo>
                  <a:pt x="3507" y="5677"/>
                  <a:pt x="3500" y="5682"/>
                  <a:pt x="3494" y="5696"/>
                </a:cubicBezTo>
                <a:cubicBezTo>
                  <a:pt x="3488" y="5710"/>
                  <a:pt x="3500" y="5708"/>
                  <a:pt x="3500" y="5708"/>
                </a:cubicBezTo>
                <a:cubicBezTo>
                  <a:pt x="3500" y="5708"/>
                  <a:pt x="3504" y="5717"/>
                  <a:pt x="3504" y="5728"/>
                </a:cubicBezTo>
                <a:cubicBezTo>
                  <a:pt x="3504" y="5739"/>
                  <a:pt x="3493" y="5736"/>
                  <a:pt x="3493" y="5756"/>
                </a:cubicBezTo>
                <a:cubicBezTo>
                  <a:pt x="3493" y="5777"/>
                  <a:pt x="3509" y="5775"/>
                  <a:pt x="3512" y="5785"/>
                </a:cubicBezTo>
                <a:cubicBezTo>
                  <a:pt x="3516" y="5794"/>
                  <a:pt x="3512" y="5818"/>
                  <a:pt x="3512" y="5818"/>
                </a:cubicBezTo>
                <a:cubicBezTo>
                  <a:pt x="3512" y="5818"/>
                  <a:pt x="3505" y="5816"/>
                  <a:pt x="3500" y="5818"/>
                </a:cubicBezTo>
                <a:cubicBezTo>
                  <a:pt x="3496" y="5820"/>
                  <a:pt x="3500" y="5837"/>
                  <a:pt x="3507" y="5857"/>
                </a:cubicBezTo>
                <a:cubicBezTo>
                  <a:pt x="3515" y="5877"/>
                  <a:pt x="3526" y="5907"/>
                  <a:pt x="3526" y="5907"/>
                </a:cubicBezTo>
                <a:cubicBezTo>
                  <a:pt x="3526" y="5907"/>
                  <a:pt x="3529" y="5921"/>
                  <a:pt x="3536" y="5927"/>
                </a:cubicBezTo>
                <a:cubicBezTo>
                  <a:pt x="3543" y="5933"/>
                  <a:pt x="3539" y="5963"/>
                  <a:pt x="3539" y="5963"/>
                </a:cubicBezTo>
                <a:cubicBezTo>
                  <a:pt x="3536" y="5982"/>
                  <a:pt x="3536" y="5982"/>
                  <a:pt x="3536" y="5982"/>
                </a:cubicBezTo>
                <a:cubicBezTo>
                  <a:pt x="3552" y="5999"/>
                  <a:pt x="3552" y="5999"/>
                  <a:pt x="3552" y="5999"/>
                </a:cubicBezTo>
                <a:cubicBezTo>
                  <a:pt x="3552" y="5999"/>
                  <a:pt x="3542" y="6026"/>
                  <a:pt x="3542" y="6040"/>
                </a:cubicBezTo>
                <a:cubicBezTo>
                  <a:pt x="3542" y="6054"/>
                  <a:pt x="3542" y="6084"/>
                  <a:pt x="3542" y="6084"/>
                </a:cubicBezTo>
                <a:cubicBezTo>
                  <a:pt x="3526" y="6109"/>
                  <a:pt x="3526" y="6109"/>
                  <a:pt x="3526" y="6109"/>
                </a:cubicBezTo>
                <a:cubicBezTo>
                  <a:pt x="3536" y="6116"/>
                  <a:pt x="3536" y="6116"/>
                  <a:pt x="3536" y="6116"/>
                </a:cubicBezTo>
                <a:cubicBezTo>
                  <a:pt x="3536" y="6116"/>
                  <a:pt x="3532" y="6132"/>
                  <a:pt x="3532" y="6141"/>
                </a:cubicBezTo>
                <a:cubicBezTo>
                  <a:pt x="3532" y="6149"/>
                  <a:pt x="3526" y="6193"/>
                  <a:pt x="3526" y="6193"/>
                </a:cubicBezTo>
                <a:cubicBezTo>
                  <a:pt x="3516" y="6195"/>
                  <a:pt x="3516" y="6195"/>
                  <a:pt x="3516" y="6195"/>
                </a:cubicBezTo>
                <a:cubicBezTo>
                  <a:pt x="3516" y="6209"/>
                  <a:pt x="3516" y="6209"/>
                  <a:pt x="3516" y="6209"/>
                </a:cubicBezTo>
                <a:cubicBezTo>
                  <a:pt x="3532" y="6239"/>
                  <a:pt x="3532" y="6239"/>
                  <a:pt x="3532" y="6239"/>
                </a:cubicBezTo>
                <a:cubicBezTo>
                  <a:pt x="3532" y="6239"/>
                  <a:pt x="3532" y="6258"/>
                  <a:pt x="3532" y="6268"/>
                </a:cubicBezTo>
                <a:cubicBezTo>
                  <a:pt x="3532" y="6279"/>
                  <a:pt x="3555" y="6286"/>
                  <a:pt x="3561" y="6302"/>
                </a:cubicBezTo>
                <a:cubicBezTo>
                  <a:pt x="3567" y="6317"/>
                  <a:pt x="3558" y="6355"/>
                  <a:pt x="3558" y="6355"/>
                </a:cubicBezTo>
                <a:cubicBezTo>
                  <a:pt x="3567" y="6362"/>
                  <a:pt x="3567" y="6362"/>
                  <a:pt x="3567" y="6362"/>
                </a:cubicBezTo>
                <a:cubicBezTo>
                  <a:pt x="3567" y="6362"/>
                  <a:pt x="3567" y="6391"/>
                  <a:pt x="3567" y="6403"/>
                </a:cubicBezTo>
                <a:cubicBezTo>
                  <a:pt x="3567" y="6415"/>
                  <a:pt x="3594" y="6423"/>
                  <a:pt x="3594" y="6423"/>
                </a:cubicBezTo>
                <a:cubicBezTo>
                  <a:pt x="3589" y="6436"/>
                  <a:pt x="3589" y="6436"/>
                  <a:pt x="3589" y="6436"/>
                </a:cubicBezTo>
                <a:cubicBezTo>
                  <a:pt x="3616" y="6436"/>
                  <a:pt x="3616" y="6436"/>
                  <a:pt x="3616" y="6436"/>
                </a:cubicBezTo>
                <a:cubicBezTo>
                  <a:pt x="3616" y="6416"/>
                  <a:pt x="3616" y="6416"/>
                  <a:pt x="3616" y="6416"/>
                </a:cubicBezTo>
                <a:cubicBezTo>
                  <a:pt x="3616" y="6416"/>
                  <a:pt x="3629" y="6426"/>
                  <a:pt x="3637" y="6427"/>
                </a:cubicBezTo>
                <a:cubicBezTo>
                  <a:pt x="3646" y="6428"/>
                  <a:pt x="3646" y="6414"/>
                  <a:pt x="3646" y="6414"/>
                </a:cubicBezTo>
                <a:cubicBezTo>
                  <a:pt x="3652" y="6427"/>
                  <a:pt x="3652" y="6427"/>
                  <a:pt x="3652" y="6427"/>
                </a:cubicBezTo>
                <a:cubicBezTo>
                  <a:pt x="3652" y="6427"/>
                  <a:pt x="3635" y="6437"/>
                  <a:pt x="3633" y="6448"/>
                </a:cubicBezTo>
                <a:cubicBezTo>
                  <a:pt x="3630" y="6459"/>
                  <a:pt x="3646" y="6447"/>
                  <a:pt x="3653" y="6450"/>
                </a:cubicBezTo>
                <a:cubicBezTo>
                  <a:pt x="3660" y="6454"/>
                  <a:pt x="3658" y="6467"/>
                  <a:pt x="3658" y="6467"/>
                </a:cubicBezTo>
                <a:cubicBezTo>
                  <a:pt x="3639" y="6465"/>
                  <a:pt x="3639" y="6465"/>
                  <a:pt x="3639" y="6465"/>
                </a:cubicBezTo>
                <a:cubicBezTo>
                  <a:pt x="3650" y="6478"/>
                  <a:pt x="3650" y="6478"/>
                  <a:pt x="3650" y="6478"/>
                </a:cubicBezTo>
                <a:cubicBezTo>
                  <a:pt x="3643" y="6486"/>
                  <a:pt x="3643" y="6486"/>
                  <a:pt x="3643" y="6486"/>
                </a:cubicBezTo>
                <a:cubicBezTo>
                  <a:pt x="3655" y="6504"/>
                  <a:pt x="3655" y="6504"/>
                  <a:pt x="3655" y="6504"/>
                </a:cubicBezTo>
                <a:cubicBezTo>
                  <a:pt x="3655" y="6504"/>
                  <a:pt x="3648" y="6512"/>
                  <a:pt x="3641" y="6521"/>
                </a:cubicBezTo>
                <a:cubicBezTo>
                  <a:pt x="3634" y="6531"/>
                  <a:pt x="3672" y="6540"/>
                  <a:pt x="3672" y="6540"/>
                </a:cubicBezTo>
                <a:cubicBezTo>
                  <a:pt x="3672" y="6540"/>
                  <a:pt x="3665" y="6546"/>
                  <a:pt x="3660" y="6550"/>
                </a:cubicBezTo>
                <a:cubicBezTo>
                  <a:pt x="3655" y="6553"/>
                  <a:pt x="3662" y="6564"/>
                  <a:pt x="3672" y="6569"/>
                </a:cubicBezTo>
                <a:cubicBezTo>
                  <a:pt x="3681" y="6573"/>
                  <a:pt x="3694" y="6570"/>
                  <a:pt x="3694" y="6570"/>
                </a:cubicBezTo>
                <a:cubicBezTo>
                  <a:pt x="3699" y="6594"/>
                  <a:pt x="3699" y="6594"/>
                  <a:pt x="3699" y="6594"/>
                </a:cubicBezTo>
                <a:cubicBezTo>
                  <a:pt x="3699" y="6594"/>
                  <a:pt x="3679" y="6607"/>
                  <a:pt x="3674" y="6614"/>
                </a:cubicBezTo>
                <a:cubicBezTo>
                  <a:pt x="3669" y="6621"/>
                  <a:pt x="3688" y="6622"/>
                  <a:pt x="3688" y="6622"/>
                </a:cubicBezTo>
                <a:cubicBezTo>
                  <a:pt x="3688" y="6622"/>
                  <a:pt x="3712" y="6627"/>
                  <a:pt x="3712" y="6634"/>
                </a:cubicBezTo>
                <a:cubicBezTo>
                  <a:pt x="3712" y="6641"/>
                  <a:pt x="3697" y="6635"/>
                  <a:pt x="3687" y="6630"/>
                </a:cubicBezTo>
                <a:cubicBezTo>
                  <a:pt x="3678" y="6625"/>
                  <a:pt x="3676" y="6640"/>
                  <a:pt x="3676" y="6640"/>
                </a:cubicBezTo>
                <a:cubicBezTo>
                  <a:pt x="3695" y="6644"/>
                  <a:pt x="3695" y="6644"/>
                  <a:pt x="3695" y="6644"/>
                </a:cubicBezTo>
                <a:cubicBezTo>
                  <a:pt x="3681" y="6651"/>
                  <a:pt x="3681" y="6651"/>
                  <a:pt x="3681" y="6651"/>
                </a:cubicBezTo>
                <a:cubicBezTo>
                  <a:pt x="3682" y="6668"/>
                  <a:pt x="3682" y="6668"/>
                  <a:pt x="3682" y="6668"/>
                </a:cubicBezTo>
                <a:cubicBezTo>
                  <a:pt x="3682" y="6668"/>
                  <a:pt x="3698" y="6660"/>
                  <a:pt x="3691" y="6681"/>
                </a:cubicBezTo>
                <a:cubicBezTo>
                  <a:pt x="3684" y="6702"/>
                  <a:pt x="3674" y="6672"/>
                  <a:pt x="3674" y="6672"/>
                </a:cubicBezTo>
                <a:cubicBezTo>
                  <a:pt x="3650" y="6673"/>
                  <a:pt x="3650" y="6673"/>
                  <a:pt x="3650" y="6673"/>
                </a:cubicBezTo>
                <a:cubicBezTo>
                  <a:pt x="3666" y="6666"/>
                  <a:pt x="3666" y="6666"/>
                  <a:pt x="3666" y="6666"/>
                </a:cubicBezTo>
                <a:cubicBezTo>
                  <a:pt x="3666" y="6666"/>
                  <a:pt x="3649" y="6648"/>
                  <a:pt x="3646" y="6649"/>
                </a:cubicBezTo>
                <a:cubicBezTo>
                  <a:pt x="3642" y="6650"/>
                  <a:pt x="3645" y="6659"/>
                  <a:pt x="3645" y="6659"/>
                </a:cubicBezTo>
                <a:cubicBezTo>
                  <a:pt x="3639" y="6653"/>
                  <a:pt x="3639" y="6653"/>
                  <a:pt x="3639" y="6653"/>
                </a:cubicBezTo>
                <a:cubicBezTo>
                  <a:pt x="3614" y="6660"/>
                  <a:pt x="3614" y="6660"/>
                  <a:pt x="3614" y="6660"/>
                </a:cubicBezTo>
                <a:cubicBezTo>
                  <a:pt x="3636" y="6665"/>
                  <a:pt x="3636" y="6665"/>
                  <a:pt x="3636" y="6665"/>
                </a:cubicBezTo>
                <a:cubicBezTo>
                  <a:pt x="3636" y="6665"/>
                  <a:pt x="3632" y="6668"/>
                  <a:pt x="3628" y="6674"/>
                </a:cubicBezTo>
                <a:cubicBezTo>
                  <a:pt x="3624" y="6680"/>
                  <a:pt x="3608" y="6686"/>
                  <a:pt x="3607" y="6695"/>
                </a:cubicBezTo>
                <a:cubicBezTo>
                  <a:pt x="3606" y="6705"/>
                  <a:pt x="3626" y="6709"/>
                  <a:pt x="3629" y="6707"/>
                </a:cubicBezTo>
                <a:cubicBezTo>
                  <a:pt x="3633" y="6705"/>
                  <a:pt x="3621" y="6696"/>
                  <a:pt x="3621" y="6696"/>
                </a:cubicBezTo>
                <a:cubicBezTo>
                  <a:pt x="3636" y="6693"/>
                  <a:pt x="3636" y="6693"/>
                  <a:pt x="3636" y="6693"/>
                </a:cubicBezTo>
                <a:cubicBezTo>
                  <a:pt x="3636" y="6693"/>
                  <a:pt x="3643" y="6698"/>
                  <a:pt x="3647" y="6702"/>
                </a:cubicBezTo>
                <a:cubicBezTo>
                  <a:pt x="3650" y="6707"/>
                  <a:pt x="3674" y="6704"/>
                  <a:pt x="3674" y="6704"/>
                </a:cubicBezTo>
                <a:cubicBezTo>
                  <a:pt x="3674" y="6704"/>
                  <a:pt x="3689" y="6711"/>
                  <a:pt x="3695" y="6719"/>
                </a:cubicBezTo>
                <a:cubicBezTo>
                  <a:pt x="3701" y="6727"/>
                  <a:pt x="3682" y="6735"/>
                  <a:pt x="3682" y="6735"/>
                </a:cubicBezTo>
                <a:cubicBezTo>
                  <a:pt x="3688" y="6745"/>
                  <a:pt x="3688" y="6745"/>
                  <a:pt x="3688" y="6745"/>
                </a:cubicBezTo>
                <a:cubicBezTo>
                  <a:pt x="3700" y="6741"/>
                  <a:pt x="3700" y="6741"/>
                  <a:pt x="3700" y="6741"/>
                </a:cubicBezTo>
                <a:cubicBezTo>
                  <a:pt x="3700" y="6752"/>
                  <a:pt x="3700" y="6752"/>
                  <a:pt x="3700" y="6752"/>
                </a:cubicBezTo>
                <a:cubicBezTo>
                  <a:pt x="3712" y="6757"/>
                  <a:pt x="3712" y="6757"/>
                  <a:pt x="3712" y="6757"/>
                </a:cubicBezTo>
                <a:cubicBezTo>
                  <a:pt x="3717" y="6741"/>
                  <a:pt x="3717" y="6741"/>
                  <a:pt x="3717" y="6741"/>
                </a:cubicBezTo>
                <a:cubicBezTo>
                  <a:pt x="3726" y="6757"/>
                  <a:pt x="3726" y="6757"/>
                  <a:pt x="3726" y="6757"/>
                </a:cubicBezTo>
                <a:cubicBezTo>
                  <a:pt x="3726" y="6757"/>
                  <a:pt x="3745" y="6757"/>
                  <a:pt x="3743" y="6771"/>
                </a:cubicBezTo>
                <a:cubicBezTo>
                  <a:pt x="3740" y="6785"/>
                  <a:pt x="3718" y="6769"/>
                  <a:pt x="3710" y="6767"/>
                </a:cubicBezTo>
                <a:cubicBezTo>
                  <a:pt x="3701" y="6766"/>
                  <a:pt x="3708" y="6780"/>
                  <a:pt x="3708" y="6780"/>
                </a:cubicBezTo>
                <a:cubicBezTo>
                  <a:pt x="3708" y="6780"/>
                  <a:pt x="3729" y="6787"/>
                  <a:pt x="3730" y="6802"/>
                </a:cubicBezTo>
                <a:cubicBezTo>
                  <a:pt x="3731" y="6816"/>
                  <a:pt x="3716" y="6811"/>
                  <a:pt x="3716" y="6811"/>
                </a:cubicBezTo>
                <a:cubicBezTo>
                  <a:pt x="3725" y="6823"/>
                  <a:pt x="3725" y="6823"/>
                  <a:pt x="3725" y="6823"/>
                </a:cubicBezTo>
                <a:cubicBezTo>
                  <a:pt x="3734" y="6847"/>
                  <a:pt x="3734" y="6847"/>
                  <a:pt x="3734" y="6847"/>
                </a:cubicBezTo>
                <a:cubicBezTo>
                  <a:pt x="3743" y="6818"/>
                  <a:pt x="3743" y="6818"/>
                  <a:pt x="3743" y="6818"/>
                </a:cubicBezTo>
                <a:cubicBezTo>
                  <a:pt x="3743" y="6838"/>
                  <a:pt x="3743" y="6838"/>
                  <a:pt x="3743" y="6838"/>
                </a:cubicBezTo>
                <a:cubicBezTo>
                  <a:pt x="3756" y="6854"/>
                  <a:pt x="3756" y="6854"/>
                  <a:pt x="3756" y="6854"/>
                </a:cubicBezTo>
                <a:cubicBezTo>
                  <a:pt x="3740" y="6854"/>
                  <a:pt x="3740" y="6854"/>
                  <a:pt x="3740" y="6854"/>
                </a:cubicBezTo>
                <a:cubicBezTo>
                  <a:pt x="3743" y="6867"/>
                  <a:pt x="3743" y="6867"/>
                  <a:pt x="3743" y="6867"/>
                </a:cubicBezTo>
                <a:cubicBezTo>
                  <a:pt x="3758" y="6868"/>
                  <a:pt x="3758" y="6868"/>
                  <a:pt x="3758" y="6868"/>
                </a:cubicBezTo>
                <a:cubicBezTo>
                  <a:pt x="3749" y="6876"/>
                  <a:pt x="3749" y="6876"/>
                  <a:pt x="3749" y="6876"/>
                </a:cubicBezTo>
                <a:cubicBezTo>
                  <a:pt x="3769" y="6882"/>
                  <a:pt x="3769" y="6882"/>
                  <a:pt x="3769" y="6882"/>
                </a:cubicBezTo>
                <a:cubicBezTo>
                  <a:pt x="3756" y="6890"/>
                  <a:pt x="3756" y="6890"/>
                  <a:pt x="3756" y="6890"/>
                </a:cubicBezTo>
                <a:cubicBezTo>
                  <a:pt x="3775" y="6897"/>
                  <a:pt x="3775" y="6897"/>
                  <a:pt x="3775" y="6897"/>
                </a:cubicBezTo>
                <a:cubicBezTo>
                  <a:pt x="3770" y="6907"/>
                  <a:pt x="3770" y="6907"/>
                  <a:pt x="3770" y="6907"/>
                </a:cubicBezTo>
                <a:cubicBezTo>
                  <a:pt x="3782" y="6910"/>
                  <a:pt x="3782" y="6910"/>
                  <a:pt x="3782" y="6910"/>
                </a:cubicBezTo>
                <a:cubicBezTo>
                  <a:pt x="3782" y="6910"/>
                  <a:pt x="3784" y="6887"/>
                  <a:pt x="3791" y="6899"/>
                </a:cubicBezTo>
                <a:cubicBezTo>
                  <a:pt x="3798" y="6910"/>
                  <a:pt x="3789" y="6916"/>
                  <a:pt x="3783" y="6920"/>
                </a:cubicBezTo>
                <a:cubicBezTo>
                  <a:pt x="3777" y="6923"/>
                  <a:pt x="3783" y="6931"/>
                  <a:pt x="3783" y="6931"/>
                </a:cubicBezTo>
                <a:cubicBezTo>
                  <a:pt x="3803" y="6932"/>
                  <a:pt x="3803" y="6932"/>
                  <a:pt x="3803" y="6932"/>
                </a:cubicBezTo>
                <a:cubicBezTo>
                  <a:pt x="3803" y="6932"/>
                  <a:pt x="3804" y="6942"/>
                  <a:pt x="3810" y="6947"/>
                </a:cubicBezTo>
                <a:cubicBezTo>
                  <a:pt x="3816" y="6952"/>
                  <a:pt x="3833" y="6961"/>
                  <a:pt x="3833" y="6961"/>
                </a:cubicBezTo>
                <a:cubicBezTo>
                  <a:pt x="3830" y="6939"/>
                  <a:pt x="3830" y="6939"/>
                  <a:pt x="3830" y="6939"/>
                </a:cubicBezTo>
                <a:cubicBezTo>
                  <a:pt x="3830" y="6939"/>
                  <a:pt x="3851" y="6947"/>
                  <a:pt x="3867" y="6958"/>
                </a:cubicBezTo>
                <a:cubicBezTo>
                  <a:pt x="3882" y="6968"/>
                  <a:pt x="3869" y="6978"/>
                  <a:pt x="3869" y="6978"/>
                </a:cubicBezTo>
                <a:cubicBezTo>
                  <a:pt x="3880" y="6985"/>
                  <a:pt x="3880" y="6985"/>
                  <a:pt x="3880" y="6985"/>
                </a:cubicBezTo>
                <a:cubicBezTo>
                  <a:pt x="3879" y="6998"/>
                  <a:pt x="3879" y="6998"/>
                  <a:pt x="3879" y="6998"/>
                </a:cubicBezTo>
                <a:cubicBezTo>
                  <a:pt x="3918" y="6998"/>
                  <a:pt x="3918" y="6998"/>
                  <a:pt x="3918" y="6998"/>
                </a:cubicBezTo>
                <a:cubicBezTo>
                  <a:pt x="3922" y="7005"/>
                  <a:pt x="3922" y="7005"/>
                  <a:pt x="3922" y="7005"/>
                </a:cubicBezTo>
                <a:cubicBezTo>
                  <a:pt x="3902" y="7005"/>
                  <a:pt x="3902" y="7005"/>
                  <a:pt x="3902" y="7005"/>
                </a:cubicBezTo>
                <a:cubicBezTo>
                  <a:pt x="3894" y="7013"/>
                  <a:pt x="3894" y="7013"/>
                  <a:pt x="3894" y="7013"/>
                </a:cubicBezTo>
                <a:cubicBezTo>
                  <a:pt x="3881" y="7014"/>
                  <a:pt x="3881" y="7014"/>
                  <a:pt x="3881" y="7014"/>
                </a:cubicBezTo>
                <a:cubicBezTo>
                  <a:pt x="3870" y="7026"/>
                  <a:pt x="3870" y="7026"/>
                  <a:pt x="3870" y="7026"/>
                </a:cubicBezTo>
                <a:cubicBezTo>
                  <a:pt x="3890" y="7029"/>
                  <a:pt x="3890" y="7029"/>
                  <a:pt x="3890" y="7029"/>
                </a:cubicBezTo>
                <a:cubicBezTo>
                  <a:pt x="3886" y="7039"/>
                  <a:pt x="3886" y="7039"/>
                  <a:pt x="3886" y="7039"/>
                </a:cubicBezTo>
                <a:cubicBezTo>
                  <a:pt x="3902" y="7037"/>
                  <a:pt x="3902" y="7037"/>
                  <a:pt x="3902" y="7037"/>
                </a:cubicBezTo>
                <a:cubicBezTo>
                  <a:pt x="3904" y="7024"/>
                  <a:pt x="3904" y="7024"/>
                  <a:pt x="3904" y="7024"/>
                </a:cubicBezTo>
                <a:cubicBezTo>
                  <a:pt x="3919" y="7030"/>
                  <a:pt x="3919" y="7030"/>
                  <a:pt x="3919" y="7030"/>
                </a:cubicBezTo>
                <a:cubicBezTo>
                  <a:pt x="3919" y="7030"/>
                  <a:pt x="3937" y="7005"/>
                  <a:pt x="3946" y="7012"/>
                </a:cubicBezTo>
                <a:cubicBezTo>
                  <a:pt x="3956" y="7019"/>
                  <a:pt x="3927" y="7044"/>
                  <a:pt x="3927" y="7044"/>
                </a:cubicBezTo>
                <a:cubicBezTo>
                  <a:pt x="3927" y="7044"/>
                  <a:pt x="3924" y="7037"/>
                  <a:pt x="3915" y="7038"/>
                </a:cubicBezTo>
                <a:cubicBezTo>
                  <a:pt x="3907" y="7039"/>
                  <a:pt x="3912" y="7050"/>
                  <a:pt x="3912" y="7050"/>
                </a:cubicBezTo>
                <a:cubicBezTo>
                  <a:pt x="3900" y="7050"/>
                  <a:pt x="3900" y="7050"/>
                  <a:pt x="3900" y="7050"/>
                </a:cubicBezTo>
                <a:cubicBezTo>
                  <a:pt x="3891" y="7047"/>
                  <a:pt x="3879" y="7058"/>
                  <a:pt x="3879" y="7058"/>
                </a:cubicBezTo>
                <a:cubicBezTo>
                  <a:pt x="3888" y="7064"/>
                  <a:pt x="3888" y="7064"/>
                  <a:pt x="3888" y="7064"/>
                </a:cubicBezTo>
                <a:cubicBezTo>
                  <a:pt x="3890" y="7082"/>
                  <a:pt x="3890" y="7082"/>
                  <a:pt x="3890" y="7082"/>
                </a:cubicBezTo>
                <a:cubicBezTo>
                  <a:pt x="3910" y="7072"/>
                  <a:pt x="3910" y="7072"/>
                  <a:pt x="3910" y="7072"/>
                </a:cubicBezTo>
                <a:cubicBezTo>
                  <a:pt x="3910" y="7072"/>
                  <a:pt x="3915" y="7083"/>
                  <a:pt x="3921" y="7082"/>
                </a:cubicBezTo>
                <a:cubicBezTo>
                  <a:pt x="3926" y="7081"/>
                  <a:pt x="3927" y="7061"/>
                  <a:pt x="3936" y="7056"/>
                </a:cubicBezTo>
                <a:cubicBezTo>
                  <a:pt x="3945" y="7052"/>
                  <a:pt x="3944" y="7062"/>
                  <a:pt x="3944" y="7062"/>
                </a:cubicBezTo>
                <a:cubicBezTo>
                  <a:pt x="3944" y="7062"/>
                  <a:pt x="3959" y="7065"/>
                  <a:pt x="3974" y="7062"/>
                </a:cubicBezTo>
                <a:cubicBezTo>
                  <a:pt x="3988" y="7058"/>
                  <a:pt x="3958" y="7036"/>
                  <a:pt x="3958" y="7036"/>
                </a:cubicBezTo>
                <a:cubicBezTo>
                  <a:pt x="3958" y="7011"/>
                  <a:pt x="3958" y="7011"/>
                  <a:pt x="3958" y="7011"/>
                </a:cubicBezTo>
                <a:cubicBezTo>
                  <a:pt x="3983" y="7009"/>
                  <a:pt x="3983" y="7009"/>
                  <a:pt x="3983" y="7009"/>
                </a:cubicBezTo>
                <a:cubicBezTo>
                  <a:pt x="3981" y="6997"/>
                  <a:pt x="3981" y="6997"/>
                  <a:pt x="3981" y="6997"/>
                </a:cubicBezTo>
                <a:cubicBezTo>
                  <a:pt x="3997" y="6999"/>
                  <a:pt x="3997" y="6999"/>
                  <a:pt x="3997" y="6999"/>
                </a:cubicBezTo>
                <a:cubicBezTo>
                  <a:pt x="4002" y="6987"/>
                  <a:pt x="4002" y="6987"/>
                  <a:pt x="4002" y="6987"/>
                </a:cubicBezTo>
                <a:cubicBezTo>
                  <a:pt x="3999" y="6995"/>
                  <a:pt x="3999" y="6995"/>
                  <a:pt x="3999" y="6995"/>
                </a:cubicBezTo>
                <a:cubicBezTo>
                  <a:pt x="4004" y="6983"/>
                  <a:pt x="4004" y="6983"/>
                  <a:pt x="4004" y="6983"/>
                </a:cubicBezTo>
                <a:cubicBezTo>
                  <a:pt x="4011" y="6973"/>
                  <a:pt x="4040" y="6992"/>
                  <a:pt x="4040" y="6992"/>
                </a:cubicBezTo>
                <a:cubicBezTo>
                  <a:pt x="4013" y="6955"/>
                  <a:pt x="4013" y="6955"/>
                  <a:pt x="4013" y="6955"/>
                </a:cubicBezTo>
                <a:cubicBezTo>
                  <a:pt x="4000" y="6956"/>
                  <a:pt x="4000" y="6956"/>
                  <a:pt x="4000" y="6956"/>
                </a:cubicBezTo>
                <a:cubicBezTo>
                  <a:pt x="4003" y="6946"/>
                  <a:pt x="4003" y="6946"/>
                  <a:pt x="4003" y="6946"/>
                </a:cubicBezTo>
                <a:cubicBezTo>
                  <a:pt x="3979" y="6929"/>
                  <a:pt x="3979" y="6929"/>
                  <a:pt x="3979" y="6929"/>
                </a:cubicBezTo>
                <a:cubicBezTo>
                  <a:pt x="3980" y="6905"/>
                  <a:pt x="3980" y="6905"/>
                  <a:pt x="3980" y="6905"/>
                </a:cubicBezTo>
                <a:cubicBezTo>
                  <a:pt x="3971" y="6901"/>
                  <a:pt x="3971" y="6901"/>
                  <a:pt x="3971" y="6901"/>
                </a:cubicBezTo>
                <a:cubicBezTo>
                  <a:pt x="3976" y="6889"/>
                  <a:pt x="3976" y="6889"/>
                  <a:pt x="3976" y="6889"/>
                </a:cubicBezTo>
                <a:cubicBezTo>
                  <a:pt x="3976" y="6889"/>
                  <a:pt x="3985" y="6889"/>
                  <a:pt x="3988" y="6881"/>
                </a:cubicBezTo>
                <a:cubicBezTo>
                  <a:pt x="3992" y="6873"/>
                  <a:pt x="3962" y="6873"/>
                  <a:pt x="3962" y="6873"/>
                </a:cubicBezTo>
                <a:cubicBezTo>
                  <a:pt x="3974" y="6868"/>
                  <a:pt x="3974" y="6868"/>
                  <a:pt x="3974" y="6868"/>
                </a:cubicBezTo>
                <a:cubicBezTo>
                  <a:pt x="3970" y="6855"/>
                  <a:pt x="3970" y="6855"/>
                  <a:pt x="3970" y="6855"/>
                </a:cubicBezTo>
                <a:cubicBezTo>
                  <a:pt x="3986" y="6872"/>
                  <a:pt x="3986" y="6872"/>
                  <a:pt x="3986" y="6872"/>
                </a:cubicBezTo>
                <a:cubicBezTo>
                  <a:pt x="3986" y="6872"/>
                  <a:pt x="4000" y="6882"/>
                  <a:pt x="4010" y="6870"/>
                </a:cubicBezTo>
                <a:cubicBezTo>
                  <a:pt x="4020" y="6858"/>
                  <a:pt x="4002" y="6832"/>
                  <a:pt x="4003" y="6818"/>
                </a:cubicBezTo>
                <a:cubicBezTo>
                  <a:pt x="4004" y="6805"/>
                  <a:pt x="4047" y="6776"/>
                  <a:pt x="4050" y="6767"/>
                </a:cubicBezTo>
                <a:cubicBezTo>
                  <a:pt x="4054" y="6758"/>
                  <a:pt x="4029" y="6758"/>
                  <a:pt x="4029" y="6758"/>
                </a:cubicBezTo>
                <a:cubicBezTo>
                  <a:pt x="4045" y="6756"/>
                  <a:pt x="4045" y="6756"/>
                  <a:pt x="4045" y="6756"/>
                </a:cubicBezTo>
                <a:cubicBezTo>
                  <a:pt x="4045" y="6756"/>
                  <a:pt x="4046" y="6736"/>
                  <a:pt x="4038" y="6726"/>
                </a:cubicBezTo>
                <a:cubicBezTo>
                  <a:pt x="4030" y="6716"/>
                  <a:pt x="4018" y="6721"/>
                  <a:pt x="4018" y="6721"/>
                </a:cubicBezTo>
                <a:cubicBezTo>
                  <a:pt x="4006" y="6712"/>
                  <a:pt x="4006" y="6712"/>
                  <a:pt x="4006" y="6712"/>
                </a:cubicBezTo>
                <a:cubicBezTo>
                  <a:pt x="3993" y="6712"/>
                  <a:pt x="3993" y="6712"/>
                  <a:pt x="3993" y="6712"/>
                </a:cubicBezTo>
                <a:cubicBezTo>
                  <a:pt x="3993" y="6712"/>
                  <a:pt x="3953" y="6695"/>
                  <a:pt x="3941" y="6668"/>
                </a:cubicBezTo>
                <a:cubicBezTo>
                  <a:pt x="3928" y="6641"/>
                  <a:pt x="3948" y="6636"/>
                  <a:pt x="3948" y="6636"/>
                </a:cubicBezTo>
                <a:cubicBezTo>
                  <a:pt x="3954" y="6619"/>
                  <a:pt x="3954" y="6619"/>
                  <a:pt x="3954" y="6619"/>
                </a:cubicBezTo>
                <a:cubicBezTo>
                  <a:pt x="3963" y="6619"/>
                  <a:pt x="3963" y="6619"/>
                  <a:pt x="3963" y="6619"/>
                </a:cubicBezTo>
                <a:cubicBezTo>
                  <a:pt x="3969" y="6607"/>
                  <a:pt x="3969" y="6607"/>
                  <a:pt x="3969" y="6607"/>
                </a:cubicBezTo>
                <a:cubicBezTo>
                  <a:pt x="4005" y="6606"/>
                  <a:pt x="4005" y="6606"/>
                  <a:pt x="4005" y="6606"/>
                </a:cubicBezTo>
                <a:cubicBezTo>
                  <a:pt x="3997" y="6599"/>
                  <a:pt x="3997" y="6599"/>
                  <a:pt x="3997" y="6599"/>
                </a:cubicBezTo>
                <a:cubicBezTo>
                  <a:pt x="3996" y="6585"/>
                  <a:pt x="3996" y="6585"/>
                  <a:pt x="3996" y="6585"/>
                </a:cubicBezTo>
                <a:cubicBezTo>
                  <a:pt x="4005" y="6584"/>
                  <a:pt x="4005" y="6584"/>
                  <a:pt x="4005" y="6584"/>
                </a:cubicBezTo>
                <a:cubicBezTo>
                  <a:pt x="4005" y="6584"/>
                  <a:pt x="4010" y="6565"/>
                  <a:pt x="4002" y="6558"/>
                </a:cubicBezTo>
                <a:cubicBezTo>
                  <a:pt x="3994" y="6551"/>
                  <a:pt x="3985" y="6535"/>
                  <a:pt x="3992" y="6519"/>
                </a:cubicBezTo>
                <a:cubicBezTo>
                  <a:pt x="3998" y="6504"/>
                  <a:pt x="4018" y="6504"/>
                  <a:pt x="4018" y="6504"/>
                </a:cubicBezTo>
                <a:cubicBezTo>
                  <a:pt x="4018" y="6497"/>
                  <a:pt x="4018" y="6497"/>
                  <a:pt x="4018" y="6497"/>
                </a:cubicBezTo>
                <a:cubicBezTo>
                  <a:pt x="4018" y="6497"/>
                  <a:pt x="4001" y="6497"/>
                  <a:pt x="3993" y="6492"/>
                </a:cubicBezTo>
                <a:cubicBezTo>
                  <a:pt x="3985" y="6488"/>
                  <a:pt x="3994" y="6479"/>
                  <a:pt x="4002" y="6478"/>
                </a:cubicBezTo>
                <a:cubicBezTo>
                  <a:pt x="4010" y="6477"/>
                  <a:pt x="4024" y="6494"/>
                  <a:pt x="4031" y="6494"/>
                </a:cubicBezTo>
                <a:cubicBezTo>
                  <a:pt x="4038" y="6494"/>
                  <a:pt x="4047" y="6490"/>
                  <a:pt x="4048" y="6480"/>
                </a:cubicBezTo>
                <a:cubicBezTo>
                  <a:pt x="4049" y="6470"/>
                  <a:pt x="4036" y="6447"/>
                  <a:pt x="4023" y="6452"/>
                </a:cubicBezTo>
                <a:cubicBezTo>
                  <a:pt x="4011" y="6456"/>
                  <a:pt x="4030" y="6466"/>
                  <a:pt x="4018" y="6472"/>
                </a:cubicBezTo>
                <a:cubicBezTo>
                  <a:pt x="4005" y="6478"/>
                  <a:pt x="3993" y="6461"/>
                  <a:pt x="3993" y="6461"/>
                </a:cubicBezTo>
                <a:cubicBezTo>
                  <a:pt x="3993" y="6461"/>
                  <a:pt x="3969" y="6463"/>
                  <a:pt x="3966" y="6456"/>
                </a:cubicBezTo>
                <a:cubicBezTo>
                  <a:pt x="3962" y="6450"/>
                  <a:pt x="3966" y="6422"/>
                  <a:pt x="3966" y="6419"/>
                </a:cubicBezTo>
                <a:cubicBezTo>
                  <a:pt x="3966" y="6416"/>
                  <a:pt x="3949" y="6399"/>
                  <a:pt x="3953" y="6384"/>
                </a:cubicBezTo>
                <a:cubicBezTo>
                  <a:pt x="3958" y="6370"/>
                  <a:pt x="3971" y="6386"/>
                  <a:pt x="3986" y="6390"/>
                </a:cubicBezTo>
                <a:cubicBezTo>
                  <a:pt x="4001" y="6393"/>
                  <a:pt x="4018" y="6406"/>
                  <a:pt x="4027" y="6406"/>
                </a:cubicBezTo>
                <a:cubicBezTo>
                  <a:pt x="4036" y="6406"/>
                  <a:pt x="4069" y="6388"/>
                  <a:pt x="4077" y="6382"/>
                </a:cubicBezTo>
                <a:cubicBezTo>
                  <a:pt x="4085" y="6376"/>
                  <a:pt x="4052" y="6358"/>
                  <a:pt x="4052" y="6358"/>
                </a:cubicBezTo>
                <a:cubicBezTo>
                  <a:pt x="4051" y="6342"/>
                  <a:pt x="4051" y="6342"/>
                  <a:pt x="4051" y="6342"/>
                </a:cubicBezTo>
                <a:cubicBezTo>
                  <a:pt x="4051" y="6342"/>
                  <a:pt x="4060" y="6326"/>
                  <a:pt x="4063" y="6315"/>
                </a:cubicBezTo>
                <a:cubicBezTo>
                  <a:pt x="4065" y="6305"/>
                  <a:pt x="4042" y="6305"/>
                  <a:pt x="4042" y="6305"/>
                </a:cubicBezTo>
                <a:cubicBezTo>
                  <a:pt x="4040" y="6291"/>
                  <a:pt x="4040" y="6291"/>
                  <a:pt x="4040" y="6291"/>
                </a:cubicBezTo>
                <a:cubicBezTo>
                  <a:pt x="4040" y="6291"/>
                  <a:pt x="4032" y="6282"/>
                  <a:pt x="4039" y="6274"/>
                </a:cubicBezTo>
                <a:cubicBezTo>
                  <a:pt x="4046" y="6266"/>
                  <a:pt x="4056" y="6301"/>
                  <a:pt x="4056" y="6301"/>
                </a:cubicBezTo>
                <a:cubicBezTo>
                  <a:pt x="4064" y="6300"/>
                  <a:pt x="4064" y="6300"/>
                  <a:pt x="4064" y="6300"/>
                </a:cubicBezTo>
                <a:cubicBezTo>
                  <a:pt x="4059" y="6286"/>
                  <a:pt x="4059" y="6286"/>
                  <a:pt x="4059" y="6286"/>
                </a:cubicBezTo>
                <a:cubicBezTo>
                  <a:pt x="4113" y="6293"/>
                  <a:pt x="4113" y="6293"/>
                  <a:pt x="4113" y="6293"/>
                </a:cubicBezTo>
                <a:cubicBezTo>
                  <a:pt x="4116" y="6287"/>
                  <a:pt x="4116" y="6287"/>
                  <a:pt x="4116" y="6287"/>
                </a:cubicBezTo>
                <a:cubicBezTo>
                  <a:pt x="4116" y="6287"/>
                  <a:pt x="4129" y="6279"/>
                  <a:pt x="4157" y="6276"/>
                </a:cubicBezTo>
                <a:cubicBezTo>
                  <a:pt x="4186" y="6273"/>
                  <a:pt x="4238" y="6248"/>
                  <a:pt x="4238" y="6248"/>
                </a:cubicBezTo>
                <a:cubicBezTo>
                  <a:pt x="4235" y="6222"/>
                  <a:pt x="4235" y="6222"/>
                  <a:pt x="4235" y="6222"/>
                </a:cubicBezTo>
                <a:cubicBezTo>
                  <a:pt x="4250" y="6214"/>
                  <a:pt x="4250" y="6214"/>
                  <a:pt x="4250" y="6214"/>
                </a:cubicBezTo>
                <a:cubicBezTo>
                  <a:pt x="4258" y="6181"/>
                  <a:pt x="4258" y="6181"/>
                  <a:pt x="4258" y="6181"/>
                </a:cubicBezTo>
                <a:cubicBezTo>
                  <a:pt x="4251" y="6164"/>
                  <a:pt x="4251" y="6164"/>
                  <a:pt x="4251" y="6164"/>
                </a:cubicBezTo>
                <a:cubicBezTo>
                  <a:pt x="4251" y="6146"/>
                  <a:pt x="4251" y="6146"/>
                  <a:pt x="4251" y="6146"/>
                </a:cubicBezTo>
                <a:cubicBezTo>
                  <a:pt x="4251" y="6146"/>
                  <a:pt x="4240" y="6137"/>
                  <a:pt x="4229" y="6133"/>
                </a:cubicBezTo>
                <a:cubicBezTo>
                  <a:pt x="4223" y="6131"/>
                  <a:pt x="4216" y="6136"/>
                  <a:pt x="4211" y="6132"/>
                </a:cubicBezTo>
                <a:cubicBezTo>
                  <a:pt x="4203" y="6126"/>
                  <a:pt x="4217" y="6120"/>
                  <a:pt x="4220" y="6115"/>
                </a:cubicBezTo>
                <a:cubicBezTo>
                  <a:pt x="4224" y="6108"/>
                  <a:pt x="4219" y="6102"/>
                  <a:pt x="4219" y="6094"/>
                </a:cubicBezTo>
                <a:cubicBezTo>
                  <a:pt x="4219" y="6079"/>
                  <a:pt x="4186" y="6074"/>
                  <a:pt x="4163" y="6063"/>
                </a:cubicBezTo>
                <a:cubicBezTo>
                  <a:pt x="4140" y="6052"/>
                  <a:pt x="4140" y="6041"/>
                  <a:pt x="4150" y="6027"/>
                </a:cubicBezTo>
                <a:cubicBezTo>
                  <a:pt x="4151" y="6026"/>
                  <a:pt x="4151" y="6025"/>
                  <a:pt x="4152" y="6025"/>
                </a:cubicBezTo>
                <a:cubicBezTo>
                  <a:pt x="4132" y="6000"/>
                  <a:pt x="4132" y="6000"/>
                  <a:pt x="4132" y="6000"/>
                </a:cubicBezTo>
                <a:cubicBezTo>
                  <a:pt x="4152" y="6025"/>
                  <a:pt x="4152" y="6025"/>
                  <a:pt x="4152" y="6025"/>
                </a:cubicBezTo>
                <a:cubicBezTo>
                  <a:pt x="4160" y="6019"/>
                  <a:pt x="4174" y="6037"/>
                  <a:pt x="4179" y="6044"/>
                </a:cubicBezTo>
                <a:cubicBezTo>
                  <a:pt x="4179" y="6044"/>
                  <a:pt x="4179" y="6044"/>
                  <a:pt x="4179" y="6044"/>
                </a:cubicBezTo>
                <a:cubicBezTo>
                  <a:pt x="4180" y="6046"/>
                  <a:pt x="4181" y="6048"/>
                  <a:pt x="4181" y="6048"/>
                </a:cubicBezTo>
                <a:cubicBezTo>
                  <a:pt x="4213" y="6048"/>
                  <a:pt x="4213" y="6048"/>
                  <a:pt x="4213" y="6048"/>
                </a:cubicBezTo>
                <a:cubicBezTo>
                  <a:pt x="4220" y="6059"/>
                  <a:pt x="4220" y="6059"/>
                  <a:pt x="4220" y="6059"/>
                </a:cubicBezTo>
                <a:cubicBezTo>
                  <a:pt x="4220" y="6059"/>
                  <a:pt x="4247" y="6058"/>
                  <a:pt x="4280" y="6063"/>
                </a:cubicBezTo>
                <a:cubicBezTo>
                  <a:pt x="4313" y="6068"/>
                  <a:pt x="4332" y="6067"/>
                  <a:pt x="4348" y="6054"/>
                </a:cubicBezTo>
                <a:cubicBezTo>
                  <a:pt x="4362" y="6043"/>
                  <a:pt x="4369" y="6013"/>
                  <a:pt x="4371" y="6006"/>
                </a:cubicBezTo>
                <a:cubicBezTo>
                  <a:pt x="4371" y="6004"/>
                  <a:pt x="4371" y="6004"/>
                  <a:pt x="4371" y="6004"/>
                </a:cubicBezTo>
                <a:cubicBezTo>
                  <a:pt x="4371" y="6004"/>
                  <a:pt x="4394" y="5978"/>
                  <a:pt x="4399" y="5969"/>
                </a:cubicBezTo>
                <a:cubicBezTo>
                  <a:pt x="4404" y="5960"/>
                  <a:pt x="4396" y="5939"/>
                  <a:pt x="4396" y="5939"/>
                </a:cubicBezTo>
                <a:cubicBezTo>
                  <a:pt x="4408" y="5921"/>
                  <a:pt x="4408" y="5921"/>
                  <a:pt x="4408" y="5921"/>
                </a:cubicBezTo>
                <a:cubicBezTo>
                  <a:pt x="4408" y="5921"/>
                  <a:pt x="4398" y="5913"/>
                  <a:pt x="4398" y="5903"/>
                </a:cubicBezTo>
                <a:cubicBezTo>
                  <a:pt x="4398" y="5893"/>
                  <a:pt x="4408" y="5892"/>
                  <a:pt x="4408" y="5892"/>
                </a:cubicBezTo>
                <a:cubicBezTo>
                  <a:pt x="4410" y="5876"/>
                  <a:pt x="4410" y="5876"/>
                  <a:pt x="4410" y="5876"/>
                </a:cubicBezTo>
                <a:cubicBezTo>
                  <a:pt x="4410" y="5876"/>
                  <a:pt x="4422" y="5874"/>
                  <a:pt x="4426" y="5870"/>
                </a:cubicBezTo>
                <a:cubicBezTo>
                  <a:pt x="4430" y="5866"/>
                  <a:pt x="4429" y="5852"/>
                  <a:pt x="4429" y="5844"/>
                </a:cubicBezTo>
                <a:cubicBezTo>
                  <a:pt x="4429" y="5836"/>
                  <a:pt x="4447" y="5819"/>
                  <a:pt x="4456" y="5817"/>
                </a:cubicBezTo>
                <a:cubicBezTo>
                  <a:pt x="4465" y="5815"/>
                  <a:pt x="4462" y="5839"/>
                  <a:pt x="4462" y="5839"/>
                </a:cubicBezTo>
                <a:cubicBezTo>
                  <a:pt x="4462" y="5839"/>
                  <a:pt x="4456" y="5849"/>
                  <a:pt x="4453" y="5851"/>
                </a:cubicBezTo>
                <a:cubicBezTo>
                  <a:pt x="4450" y="5853"/>
                  <a:pt x="4451" y="5864"/>
                  <a:pt x="4451" y="5864"/>
                </a:cubicBezTo>
                <a:cubicBezTo>
                  <a:pt x="4444" y="5868"/>
                  <a:pt x="4444" y="5868"/>
                  <a:pt x="4444" y="5868"/>
                </a:cubicBezTo>
                <a:cubicBezTo>
                  <a:pt x="4444" y="5877"/>
                  <a:pt x="4444" y="5877"/>
                  <a:pt x="4444" y="5877"/>
                </a:cubicBezTo>
                <a:cubicBezTo>
                  <a:pt x="4427" y="5895"/>
                  <a:pt x="4427" y="5895"/>
                  <a:pt x="4427" y="5895"/>
                </a:cubicBezTo>
                <a:cubicBezTo>
                  <a:pt x="4406" y="5910"/>
                  <a:pt x="4406" y="5910"/>
                  <a:pt x="4406" y="5910"/>
                </a:cubicBezTo>
                <a:cubicBezTo>
                  <a:pt x="4406" y="5910"/>
                  <a:pt x="4413" y="5916"/>
                  <a:pt x="4420" y="5914"/>
                </a:cubicBezTo>
                <a:cubicBezTo>
                  <a:pt x="4425" y="5913"/>
                  <a:pt x="4425" y="5901"/>
                  <a:pt x="4430" y="5898"/>
                </a:cubicBezTo>
                <a:cubicBezTo>
                  <a:pt x="4434" y="5894"/>
                  <a:pt x="4441" y="5897"/>
                  <a:pt x="4443" y="5895"/>
                </a:cubicBezTo>
                <a:cubicBezTo>
                  <a:pt x="4449" y="5886"/>
                  <a:pt x="4471" y="5852"/>
                  <a:pt x="4476" y="5828"/>
                </a:cubicBezTo>
                <a:cubicBezTo>
                  <a:pt x="4481" y="5804"/>
                  <a:pt x="4491" y="5782"/>
                  <a:pt x="4495" y="5768"/>
                </a:cubicBezTo>
                <a:cubicBezTo>
                  <a:pt x="4499" y="5754"/>
                  <a:pt x="4527" y="5737"/>
                  <a:pt x="4529" y="5733"/>
                </a:cubicBezTo>
                <a:cubicBezTo>
                  <a:pt x="4531" y="5729"/>
                  <a:pt x="4524" y="5719"/>
                  <a:pt x="4524" y="5719"/>
                </a:cubicBezTo>
                <a:cubicBezTo>
                  <a:pt x="4537" y="5710"/>
                  <a:pt x="4537" y="5710"/>
                  <a:pt x="4537" y="5710"/>
                </a:cubicBezTo>
                <a:cubicBezTo>
                  <a:pt x="4533" y="5686"/>
                  <a:pt x="4533" y="5686"/>
                  <a:pt x="4533" y="5686"/>
                </a:cubicBezTo>
                <a:cubicBezTo>
                  <a:pt x="4537" y="5672"/>
                  <a:pt x="4537" y="5672"/>
                  <a:pt x="4537" y="5672"/>
                </a:cubicBezTo>
                <a:cubicBezTo>
                  <a:pt x="4528" y="5667"/>
                  <a:pt x="4528" y="5667"/>
                  <a:pt x="4528" y="5667"/>
                </a:cubicBezTo>
                <a:cubicBezTo>
                  <a:pt x="4528" y="5667"/>
                  <a:pt x="4535" y="5658"/>
                  <a:pt x="4535" y="5650"/>
                </a:cubicBezTo>
                <a:cubicBezTo>
                  <a:pt x="4535" y="5642"/>
                  <a:pt x="4520" y="5636"/>
                  <a:pt x="4520" y="5636"/>
                </a:cubicBezTo>
                <a:cubicBezTo>
                  <a:pt x="4519" y="5613"/>
                  <a:pt x="4519" y="5613"/>
                  <a:pt x="4519" y="5613"/>
                </a:cubicBezTo>
                <a:cubicBezTo>
                  <a:pt x="4509" y="5602"/>
                  <a:pt x="4509" y="5602"/>
                  <a:pt x="4509" y="5602"/>
                </a:cubicBezTo>
                <a:cubicBezTo>
                  <a:pt x="4523" y="5603"/>
                  <a:pt x="4523" y="5603"/>
                  <a:pt x="4523" y="5603"/>
                </a:cubicBezTo>
                <a:cubicBezTo>
                  <a:pt x="4522" y="5586"/>
                  <a:pt x="4522" y="5586"/>
                  <a:pt x="4522" y="5586"/>
                </a:cubicBezTo>
                <a:cubicBezTo>
                  <a:pt x="4513" y="5581"/>
                  <a:pt x="4513" y="5581"/>
                  <a:pt x="4513" y="5581"/>
                </a:cubicBezTo>
                <a:cubicBezTo>
                  <a:pt x="4513" y="5581"/>
                  <a:pt x="4525" y="5578"/>
                  <a:pt x="4525" y="5573"/>
                </a:cubicBezTo>
                <a:cubicBezTo>
                  <a:pt x="4525" y="5568"/>
                  <a:pt x="4509" y="5558"/>
                  <a:pt x="4509" y="5558"/>
                </a:cubicBezTo>
                <a:cubicBezTo>
                  <a:pt x="4525" y="5547"/>
                  <a:pt x="4525" y="5547"/>
                  <a:pt x="4525" y="5547"/>
                </a:cubicBezTo>
                <a:cubicBezTo>
                  <a:pt x="4525" y="5547"/>
                  <a:pt x="4538" y="5561"/>
                  <a:pt x="4544" y="5560"/>
                </a:cubicBezTo>
                <a:cubicBezTo>
                  <a:pt x="4550" y="5559"/>
                  <a:pt x="4546" y="5547"/>
                  <a:pt x="4546" y="5547"/>
                </a:cubicBezTo>
                <a:cubicBezTo>
                  <a:pt x="4546" y="5547"/>
                  <a:pt x="4546" y="5535"/>
                  <a:pt x="4554" y="5525"/>
                </a:cubicBezTo>
                <a:cubicBezTo>
                  <a:pt x="4562" y="5515"/>
                  <a:pt x="4574" y="5518"/>
                  <a:pt x="4580" y="5513"/>
                </a:cubicBezTo>
                <a:cubicBezTo>
                  <a:pt x="4586" y="5508"/>
                  <a:pt x="4583" y="5504"/>
                  <a:pt x="4586" y="5497"/>
                </a:cubicBezTo>
                <a:cubicBezTo>
                  <a:pt x="4589" y="5490"/>
                  <a:pt x="4607" y="5487"/>
                  <a:pt x="4607" y="5487"/>
                </a:cubicBezTo>
                <a:cubicBezTo>
                  <a:pt x="4609" y="5479"/>
                  <a:pt x="4609" y="5479"/>
                  <a:pt x="4609" y="5479"/>
                </a:cubicBezTo>
                <a:cubicBezTo>
                  <a:pt x="4609" y="5479"/>
                  <a:pt x="4615" y="5482"/>
                  <a:pt x="4620" y="5481"/>
                </a:cubicBezTo>
                <a:cubicBezTo>
                  <a:pt x="4625" y="5480"/>
                  <a:pt x="4624" y="5468"/>
                  <a:pt x="4630" y="5467"/>
                </a:cubicBezTo>
                <a:cubicBezTo>
                  <a:pt x="4636" y="5466"/>
                  <a:pt x="4655" y="5469"/>
                  <a:pt x="4655" y="5469"/>
                </a:cubicBezTo>
                <a:cubicBezTo>
                  <a:pt x="4659" y="5479"/>
                  <a:pt x="4659" y="5479"/>
                  <a:pt x="4659" y="5479"/>
                </a:cubicBezTo>
                <a:cubicBezTo>
                  <a:pt x="4670" y="5477"/>
                  <a:pt x="4670" y="5477"/>
                  <a:pt x="4670" y="5477"/>
                </a:cubicBezTo>
                <a:cubicBezTo>
                  <a:pt x="4657" y="5462"/>
                  <a:pt x="4657" y="5462"/>
                  <a:pt x="4657" y="5462"/>
                </a:cubicBezTo>
                <a:cubicBezTo>
                  <a:pt x="4657" y="5462"/>
                  <a:pt x="4666" y="5458"/>
                  <a:pt x="4670" y="5453"/>
                </a:cubicBezTo>
                <a:cubicBezTo>
                  <a:pt x="4674" y="5448"/>
                  <a:pt x="4696" y="5447"/>
                  <a:pt x="4696" y="5447"/>
                </a:cubicBezTo>
                <a:cubicBezTo>
                  <a:pt x="4685" y="5437"/>
                  <a:pt x="4685" y="5437"/>
                  <a:pt x="4685" y="5437"/>
                </a:cubicBezTo>
                <a:cubicBezTo>
                  <a:pt x="4685" y="5437"/>
                  <a:pt x="4697" y="5427"/>
                  <a:pt x="4702" y="5427"/>
                </a:cubicBezTo>
                <a:cubicBezTo>
                  <a:pt x="4707" y="5427"/>
                  <a:pt x="4703" y="5443"/>
                  <a:pt x="4706" y="5443"/>
                </a:cubicBezTo>
                <a:cubicBezTo>
                  <a:pt x="4709" y="5443"/>
                  <a:pt x="4715" y="5426"/>
                  <a:pt x="4715" y="5426"/>
                </a:cubicBezTo>
                <a:cubicBezTo>
                  <a:pt x="4740" y="5431"/>
                  <a:pt x="4740" y="5431"/>
                  <a:pt x="4740" y="5431"/>
                </a:cubicBezTo>
                <a:cubicBezTo>
                  <a:pt x="4740" y="5431"/>
                  <a:pt x="4745" y="5411"/>
                  <a:pt x="4756" y="5410"/>
                </a:cubicBezTo>
                <a:cubicBezTo>
                  <a:pt x="4767" y="5409"/>
                  <a:pt x="4764" y="5431"/>
                  <a:pt x="4764" y="5431"/>
                </a:cubicBezTo>
                <a:cubicBezTo>
                  <a:pt x="4809" y="5426"/>
                  <a:pt x="4809" y="5426"/>
                  <a:pt x="4809" y="5426"/>
                </a:cubicBezTo>
                <a:cubicBezTo>
                  <a:pt x="4814" y="5414"/>
                  <a:pt x="4814" y="5414"/>
                  <a:pt x="4814" y="5414"/>
                </a:cubicBezTo>
                <a:cubicBezTo>
                  <a:pt x="4808" y="5407"/>
                  <a:pt x="4808" y="5407"/>
                  <a:pt x="4808" y="5407"/>
                </a:cubicBezTo>
                <a:cubicBezTo>
                  <a:pt x="4808" y="5407"/>
                  <a:pt x="4814" y="5399"/>
                  <a:pt x="4820" y="5390"/>
                </a:cubicBezTo>
                <a:cubicBezTo>
                  <a:pt x="4826" y="5381"/>
                  <a:pt x="4856" y="5376"/>
                  <a:pt x="4856" y="5376"/>
                </a:cubicBezTo>
                <a:cubicBezTo>
                  <a:pt x="4856" y="5376"/>
                  <a:pt x="4853" y="5363"/>
                  <a:pt x="4853" y="5360"/>
                </a:cubicBezTo>
                <a:cubicBezTo>
                  <a:pt x="4853" y="5357"/>
                  <a:pt x="4854" y="5316"/>
                  <a:pt x="4854" y="5316"/>
                </a:cubicBezTo>
                <a:cubicBezTo>
                  <a:pt x="4872" y="5296"/>
                  <a:pt x="4872" y="5296"/>
                  <a:pt x="4872" y="5296"/>
                </a:cubicBezTo>
                <a:cubicBezTo>
                  <a:pt x="4872" y="5280"/>
                  <a:pt x="4872" y="5280"/>
                  <a:pt x="4872" y="5280"/>
                </a:cubicBezTo>
                <a:cubicBezTo>
                  <a:pt x="4885" y="5277"/>
                  <a:pt x="4885" y="5277"/>
                  <a:pt x="4885" y="5277"/>
                </a:cubicBezTo>
                <a:cubicBezTo>
                  <a:pt x="4885" y="5255"/>
                  <a:pt x="4885" y="5255"/>
                  <a:pt x="4885" y="5255"/>
                </a:cubicBezTo>
                <a:cubicBezTo>
                  <a:pt x="4885" y="5255"/>
                  <a:pt x="4894" y="5250"/>
                  <a:pt x="4898" y="5250"/>
                </a:cubicBezTo>
                <a:cubicBezTo>
                  <a:pt x="4902" y="5250"/>
                  <a:pt x="4902" y="5225"/>
                  <a:pt x="4902" y="5225"/>
                </a:cubicBezTo>
                <a:cubicBezTo>
                  <a:pt x="4902" y="5225"/>
                  <a:pt x="4896" y="5196"/>
                  <a:pt x="4894" y="5181"/>
                </a:cubicBezTo>
                <a:cubicBezTo>
                  <a:pt x="4892" y="5166"/>
                  <a:pt x="4910" y="5154"/>
                  <a:pt x="4917" y="5148"/>
                </a:cubicBezTo>
                <a:cubicBezTo>
                  <a:pt x="4924" y="5142"/>
                  <a:pt x="4914" y="5121"/>
                  <a:pt x="4914" y="5121"/>
                </a:cubicBezTo>
                <a:cubicBezTo>
                  <a:pt x="4918" y="5083"/>
                  <a:pt x="4918" y="5083"/>
                  <a:pt x="4918" y="5083"/>
                </a:cubicBezTo>
                <a:cubicBezTo>
                  <a:pt x="4918" y="5083"/>
                  <a:pt x="4926" y="5053"/>
                  <a:pt x="4925" y="5042"/>
                </a:cubicBezTo>
                <a:cubicBezTo>
                  <a:pt x="4924" y="5031"/>
                  <a:pt x="4912" y="4973"/>
                  <a:pt x="4912" y="4973"/>
                </a:cubicBezTo>
                <a:cubicBezTo>
                  <a:pt x="4917" y="4949"/>
                  <a:pt x="4917" y="4949"/>
                  <a:pt x="4917" y="4949"/>
                </a:cubicBezTo>
                <a:cubicBezTo>
                  <a:pt x="4917" y="4949"/>
                  <a:pt x="4908" y="4918"/>
                  <a:pt x="4911" y="4910"/>
                </a:cubicBezTo>
                <a:cubicBezTo>
                  <a:pt x="4914" y="4902"/>
                  <a:pt x="4925" y="4892"/>
                  <a:pt x="4925" y="4892"/>
                </a:cubicBezTo>
                <a:cubicBezTo>
                  <a:pt x="4917" y="4880"/>
                  <a:pt x="4917" y="4880"/>
                  <a:pt x="4917" y="4880"/>
                </a:cubicBezTo>
                <a:cubicBezTo>
                  <a:pt x="4917" y="4880"/>
                  <a:pt x="4924" y="4870"/>
                  <a:pt x="4928" y="4870"/>
                </a:cubicBezTo>
                <a:cubicBezTo>
                  <a:pt x="4932" y="4870"/>
                  <a:pt x="4941" y="4889"/>
                  <a:pt x="4941" y="4889"/>
                </a:cubicBezTo>
                <a:cubicBezTo>
                  <a:pt x="4941" y="4889"/>
                  <a:pt x="4963" y="4869"/>
                  <a:pt x="4970" y="4859"/>
                </a:cubicBezTo>
                <a:cubicBezTo>
                  <a:pt x="4977" y="4849"/>
                  <a:pt x="4982" y="4805"/>
                  <a:pt x="4982" y="4805"/>
                </a:cubicBezTo>
                <a:cubicBezTo>
                  <a:pt x="4982" y="4805"/>
                  <a:pt x="4988" y="4801"/>
                  <a:pt x="4994" y="4797"/>
                </a:cubicBezTo>
                <a:cubicBezTo>
                  <a:pt x="5000" y="4793"/>
                  <a:pt x="5005" y="4771"/>
                  <a:pt x="5005" y="4771"/>
                </a:cubicBezTo>
                <a:cubicBezTo>
                  <a:pt x="5005" y="4771"/>
                  <a:pt x="5018" y="4764"/>
                  <a:pt x="5025" y="4763"/>
                </a:cubicBezTo>
                <a:cubicBezTo>
                  <a:pt x="5032" y="4762"/>
                  <a:pt x="5032" y="4742"/>
                  <a:pt x="5032" y="4742"/>
                </a:cubicBezTo>
                <a:cubicBezTo>
                  <a:pt x="5032" y="4742"/>
                  <a:pt x="5046" y="4737"/>
                  <a:pt x="5059" y="4719"/>
                </a:cubicBezTo>
                <a:cubicBezTo>
                  <a:pt x="5072" y="4701"/>
                  <a:pt x="5087" y="4654"/>
                  <a:pt x="5087" y="4654"/>
                </a:cubicBezTo>
                <a:cubicBezTo>
                  <a:pt x="5087" y="4654"/>
                  <a:pt x="5099" y="4641"/>
                  <a:pt x="5100" y="4635"/>
                </a:cubicBezTo>
                <a:cubicBezTo>
                  <a:pt x="5101" y="4629"/>
                  <a:pt x="5095" y="4613"/>
                  <a:pt x="5095" y="4613"/>
                </a:cubicBezTo>
                <a:cubicBezTo>
                  <a:pt x="5095" y="4613"/>
                  <a:pt x="5098" y="4592"/>
                  <a:pt x="5098" y="4575"/>
                </a:cubicBezTo>
                <a:close/>
                <a:moveTo>
                  <a:pt x="3153" y="1791"/>
                </a:moveTo>
                <a:cubicBezTo>
                  <a:pt x="3139" y="1791"/>
                  <a:pt x="3159" y="1774"/>
                  <a:pt x="3152" y="1771"/>
                </a:cubicBezTo>
                <a:cubicBezTo>
                  <a:pt x="3145" y="1768"/>
                  <a:pt x="3135" y="1781"/>
                  <a:pt x="3135" y="1781"/>
                </a:cubicBezTo>
                <a:cubicBezTo>
                  <a:pt x="3130" y="1783"/>
                  <a:pt x="3130" y="1783"/>
                  <a:pt x="3130" y="1783"/>
                </a:cubicBezTo>
                <a:cubicBezTo>
                  <a:pt x="3126" y="1794"/>
                  <a:pt x="3126" y="1794"/>
                  <a:pt x="3126" y="1794"/>
                </a:cubicBezTo>
                <a:cubicBezTo>
                  <a:pt x="3115" y="1790"/>
                  <a:pt x="3115" y="1790"/>
                  <a:pt x="3115" y="1790"/>
                </a:cubicBezTo>
                <a:cubicBezTo>
                  <a:pt x="3115" y="1790"/>
                  <a:pt x="3115" y="1801"/>
                  <a:pt x="3112" y="1808"/>
                </a:cubicBezTo>
                <a:cubicBezTo>
                  <a:pt x="3109" y="1815"/>
                  <a:pt x="3099" y="1818"/>
                  <a:pt x="3094" y="1823"/>
                </a:cubicBezTo>
                <a:cubicBezTo>
                  <a:pt x="3089" y="1828"/>
                  <a:pt x="3095" y="1836"/>
                  <a:pt x="3095" y="1836"/>
                </a:cubicBezTo>
                <a:cubicBezTo>
                  <a:pt x="3095" y="1836"/>
                  <a:pt x="3091" y="1836"/>
                  <a:pt x="3078" y="1850"/>
                </a:cubicBezTo>
                <a:cubicBezTo>
                  <a:pt x="3065" y="1864"/>
                  <a:pt x="3083" y="1864"/>
                  <a:pt x="3083" y="1872"/>
                </a:cubicBezTo>
                <a:cubicBezTo>
                  <a:pt x="3083" y="1880"/>
                  <a:pt x="3076" y="1881"/>
                  <a:pt x="3076" y="1881"/>
                </a:cubicBezTo>
                <a:cubicBezTo>
                  <a:pt x="3076" y="1881"/>
                  <a:pt x="3084" y="1885"/>
                  <a:pt x="3061" y="1917"/>
                </a:cubicBezTo>
                <a:cubicBezTo>
                  <a:pt x="3038" y="1949"/>
                  <a:pt x="2993" y="1959"/>
                  <a:pt x="2993" y="1959"/>
                </a:cubicBezTo>
                <a:cubicBezTo>
                  <a:pt x="2996" y="1939"/>
                  <a:pt x="2996" y="1939"/>
                  <a:pt x="2996" y="1939"/>
                </a:cubicBezTo>
                <a:cubicBezTo>
                  <a:pt x="2996" y="1939"/>
                  <a:pt x="2992" y="1932"/>
                  <a:pt x="2990" y="1928"/>
                </a:cubicBezTo>
                <a:cubicBezTo>
                  <a:pt x="2988" y="1924"/>
                  <a:pt x="3005" y="1904"/>
                  <a:pt x="3007" y="1897"/>
                </a:cubicBezTo>
                <a:cubicBezTo>
                  <a:pt x="3009" y="1890"/>
                  <a:pt x="3003" y="1889"/>
                  <a:pt x="3005" y="1877"/>
                </a:cubicBezTo>
                <a:cubicBezTo>
                  <a:pt x="3007" y="1865"/>
                  <a:pt x="3029" y="1846"/>
                  <a:pt x="3029" y="1846"/>
                </a:cubicBezTo>
                <a:cubicBezTo>
                  <a:pt x="3029" y="1837"/>
                  <a:pt x="3029" y="1837"/>
                  <a:pt x="3029" y="1837"/>
                </a:cubicBezTo>
                <a:cubicBezTo>
                  <a:pt x="3029" y="1837"/>
                  <a:pt x="3050" y="1822"/>
                  <a:pt x="3053" y="1816"/>
                </a:cubicBezTo>
                <a:cubicBezTo>
                  <a:pt x="3056" y="1810"/>
                  <a:pt x="3088" y="1779"/>
                  <a:pt x="3088" y="1779"/>
                </a:cubicBezTo>
                <a:cubicBezTo>
                  <a:pt x="3067" y="1785"/>
                  <a:pt x="3067" y="1785"/>
                  <a:pt x="3067" y="1785"/>
                </a:cubicBezTo>
                <a:cubicBezTo>
                  <a:pt x="3067" y="1785"/>
                  <a:pt x="3044" y="1804"/>
                  <a:pt x="3040" y="1799"/>
                </a:cubicBezTo>
                <a:cubicBezTo>
                  <a:pt x="3036" y="1794"/>
                  <a:pt x="3076" y="1770"/>
                  <a:pt x="3081" y="1762"/>
                </a:cubicBezTo>
                <a:cubicBezTo>
                  <a:pt x="3086" y="1754"/>
                  <a:pt x="3114" y="1733"/>
                  <a:pt x="3114" y="1733"/>
                </a:cubicBezTo>
                <a:cubicBezTo>
                  <a:pt x="3119" y="1739"/>
                  <a:pt x="3119" y="1739"/>
                  <a:pt x="3119" y="1739"/>
                </a:cubicBezTo>
                <a:cubicBezTo>
                  <a:pt x="3129" y="1733"/>
                  <a:pt x="3129" y="1733"/>
                  <a:pt x="3129" y="1733"/>
                </a:cubicBezTo>
                <a:cubicBezTo>
                  <a:pt x="3129" y="1733"/>
                  <a:pt x="3124" y="1742"/>
                  <a:pt x="3134" y="1741"/>
                </a:cubicBezTo>
                <a:cubicBezTo>
                  <a:pt x="3144" y="1740"/>
                  <a:pt x="3141" y="1726"/>
                  <a:pt x="3141" y="1726"/>
                </a:cubicBezTo>
                <a:cubicBezTo>
                  <a:pt x="3157" y="1731"/>
                  <a:pt x="3157" y="1731"/>
                  <a:pt x="3157" y="1731"/>
                </a:cubicBezTo>
                <a:cubicBezTo>
                  <a:pt x="3157" y="1731"/>
                  <a:pt x="3179" y="1720"/>
                  <a:pt x="3189" y="1723"/>
                </a:cubicBezTo>
                <a:cubicBezTo>
                  <a:pt x="3199" y="1726"/>
                  <a:pt x="3204" y="1738"/>
                  <a:pt x="3204" y="1738"/>
                </a:cubicBezTo>
                <a:cubicBezTo>
                  <a:pt x="3187" y="1744"/>
                  <a:pt x="3187" y="1744"/>
                  <a:pt x="3187" y="1744"/>
                </a:cubicBezTo>
                <a:cubicBezTo>
                  <a:pt x="3189" y="1761"/>
                  <a:pt x="3189" y="1761"/>
                  <a:pt x="3189" y="1761"/>
                </a:cubicBezTo>
                <a:cubicBezTo>
                  <a:pt x="3189" y="1761"/>
                  <a:pt x="3177" y="1759"/>
                  <a:pt x="3170" y="1759"/>
                </a:cubicBezTo>
                <a:cubicBezTo>
                  <a:pt x="3163" y="1759"/>
                  <a:pt x="3166" y="1776"/>
                  <a:pt x="3166" y="1776"/>
                </a:cubicBezTo>
                <a:cubicBezTo>
                  <a:pt x="3166" y="1776"/>
                  <a:pt x="3167" y="1791"/>
                  <a:pt x="3153" y="1791"/>
                </a:cubicBezTo>
                <a:close/>
                <a:moveTo>
                  <a:pt x="3303" y="1940"/>
                </a:moveTo>
                <a:cubicBezTo>
                  <a:pt x="3295" y="1943"/>
                  <a:pt x="3287" y="1946"/>
                  <a:pt x="3267" y="1951"/>
                </a:cubicBezTo>
                <a:cubicBezTo>
                  <a:pt x="3247" y="1956"/>
                  <a:pt x="3239" y="1962"/>
                  <a:pt x="3232" y="1965"/>
                </a:cubicBezTo>
                <a:cubicBezTo>
                  <a:pt x="3225" y="1968"/>
                  <a:pt x="3213" y="1966"/>
                  <a:pt x="3213" y="1966"/>
                </a:cubicBezTo>
                <a:cubicBezTo>
                  <a:pt x="3213" y="1966"/>
                  <a:pt x="3213" y="1971"/>
                  <a:pt x="3201" y="1972"/>
                </a:cubicBezTo>
                <a:cubicBezTo>
                  <a:pt x="3189" y="1973"/>
                  <a:pt x="3188" y="1962"/>
                  <a:pt x="3188" y="1962"/>
                </a:cubicBezTo>
                <a:cubicBezTo>
                  <a:pt x="3188" y="1962"/>
                  <a:pt x="3166" y="1959"/>
                  <a:pt x="3166" y="1952"/>
                </a:cubicBezTo>
                <a:cubicBezTo>
                  <a:pt x="3166" y="1952"/>
                  <a:pt x="3179" y="1946"/>
                  <a:pt x="3190" y="1941"/>
                </a:cubicBezTo>
                <a:cubicBezTo>
                  <a:pt x="3198" y="1937"/>
                  <a:pt x="3205" y="1934"/>
                  <a:pt x="3206" y="1934"/>
                </a:cubicBezTo>
                <a:cubicBezTo>
                  <a:pt x="3209" y="1934"/>
                  <a:pt x="3213" y="1939"/>
                  <a:pt x="3213" y="1939"/>
                </a:cubicBezTo>
                <a:cubicBezTo>
                  <a:pt x="3213" y="1939"/>
                  <a:pt x="3228" y="1925"/>
                  <a:pt x="3236" y="1923"/>
                </a:cubicBezTo>
                <a:cubicBezTo>
                  <a:pt x="3244" y="1921"/>
                  <a:pt x="3252" y="1924"/>
                  <a:pt x="3252" y="1924"/>
                </a:cubicBezTo>
                <a:cubicBezTo>
                  <a:pt x="3252" y="1924"/>
                  <a:pt x="3257" y="1903"/>
                  <a:pt x="3282" y="1902"/>
                </a:cubicBezTo>
                <a:cubicBezTo>
                  <a:pt x="3307" y="1901"/>
                  <a:pt x="3324" y="1908"/>
                  <a:pt x="3324" y="1908"/>
                </a:cubicBezTo>
                <a:cubicBezTo>
                  <a:pt x="3340" y="1894"/>
                  <a:pt x="3340" y="1894"/>
                  <a:pt x="3340" y="1894"/>
                </a:cubicBezTo>
                <a:cubicBezTo>
                  <a:pt x="3382" y="1896"/>
                  <a:pt x="3382" y="1896"/>
                  <a:pt x="3382" y="1896"/>
                </a:cubicBezTo>
                <a:cubicBezTo>
                  <a:pt x="3391" y="1896"/>
                  <a:pt x="3391" y="1896"/>
                  <a:pt x="3391" y="1896"/>
                </a:cubicBezTo>
                <a:cubicBezTo>
                  <a:pt x="3391" y="1896"/>
                  <a:pt x="3311" y="1937"/>
                  <a:pt x="3303" y="1940"/>
                </a:cubicBezTo>
                <a:close/>
                <a:moveTo>
                  <a:pt x="3446" y="1834"/>
                </a:moveTo>
                <a:cubicBezTo>
                  <a:pt x="3450" y="1834"/>
                  <a:pt x="3467" y="1828"/>
                  <a:pt x="3467" y="1828"/>
                </a:cubicBezTo>
                <a:cubicBezTo>
                  <a:pt x="3467" y="1828"/>
                  <a:pt x="3494" y="1838"/>
                  <a:pt x="3498" y="1838"/>
                </a:cubicBezTo>
                <a:cubicBezTo>
                  <a:pt x="3502" y="1838"/>
                  <a:pt x="3502" y="1822"/>
                  <a:pt x="3502" y="1822"/>
                </a:cubicBezTo>
                <a:cubicBezTo>
                  <a:pt x="3502" y="1822"/>
                  <a:pt x="3509" y="1813"/>
                  <a:pt x="3519" y="1816"/>
                </a:cubicBezTo>
                <a:cubicBezTo>
                  <a:pt x="3522" y="1817"/>
                  <a:pt x="3524" y="1818"/>
                  <a:pt x="3525" y="1819"/>
                </a:cubicBezTo>
                <a:cubicBezTo>
                  <a:pt x="3530" y="1824"/>
                  <a:pt x="3531" y="1830"/>
                  <a:pt x="3531" y="1830"/>
                </a:cubicBezTo>
                <a:cubicBezTo>
                  <a:pt x="3531" y="1830"/>
                  <a:pt x="3530" y="1838"/>
                  <a:pt x="3523" y="1844"/>
                </a:cubicBezTo>
                <a:cubicBezTo>
                  <a:pt x="3516" y="1850"/>
                  <a:pt x="3516" y="1860"/>
                  <a:pt x="3516" y="1860"/>
                </a:cubicBezTo>
                <a:cubicBezTo>
                  <a:pt x="3504" y="1859"/>
                  <a:pt x="3504" y="1859"/>
                  <a:pt x="3504" y="1859"/>
                </a:cubicBezTo>
                <a:cubicBezTo>
                  <a:pt x="3504" y="1859"/>
                  <a:pt x="3504" y="1863"/>
                  <a:pt x="3492" y="1868"/>
                </a:cubicBezTo>
                <a:cubicBezTo>
                  <a:pt x="3480" y="1873"/>
                  <a:pt x="3474" y="1863"/>
                  <a:pt x="3474" y="1863"/>
                </a:cubicBezTo>
                <a:cubicBezTo>
                  <a:pt x="3474" y="1863"/>
                  <a:pt x="3469" y="1871"/>
                  <a:pt x="3456" y="1872"/>
                </a:cubicBezTo>
                <a:cubicBezTo>
                  <a:pt x="3443" y="1873"/>
                  <a:pt x="3439" y="1863"/>
                  <a:pt x="3430" y="1862"/>
                </a:cubicBezTo>
                <a:cubicBezTo>
                  <a:pt x="3421" y="1861"/>
                  <a:pt x="3414" y="1869"/>
                  <a:pt x="3393" y="1874"/>
                </a:cubicBezTo>
                <a:cubicBezTo>
                  <a:pt x="3392" y="1874"/>
                  <a:pt x="3390" y="1875"/>
                  <a:pt x="3389" y="1875"/>
                </a:cubicBezTo>
                <a:cubicBezTo>
                  <a:pt x="3371" y="1879"/>
                  <a:pt x="3365" y="1878"/>
                  <a:pt x="3364" y="1871"/>
                </a:cubicBezTo>
                <a:cubicBezTo>
                  <a:pt x="3363" y="1861"/>
                  <a:pt x="3397" y="1839"/>
                  <a:pt x="3410" y="1839"/>
                </a:cubicBezTo>
                <a:cubicBezTo>
                  <a:pt x="3423" y="1839"/>
                  <a:pt x="3442" y="1834"/>
                  <a:pt x="3446" y="1834"/>
                </a:cubicBezTo>
                <a:close/>
                <a:moveTo>
                  <a:pt x="3263" y="1714"/>
                </a:moveTo>
                <a:cubicBezTo>
                  <a:pt x="3268" y="1713"/>
                  <a:pt x="3276" y="1716"/>
                  <a:pt x="3288" y="1717"/>
                </a:cubicBezTo>
                <a:cubicBezTo>
                  <a:pt x="3300" y="1718"/>
                  <a:pt x="3307" y="1716"/>
                  <a:pt x="3307" y="1716"/>
                </a:cubicBezTo>
                <a:cubicBezTo>
                  <a:pt x="3319" y="1716"/>
                  <a:pt x="3334" y="1728"/>
                  <a:pt x="3345" y="1728"/>
                </a:cubicBezTo>
                <a:cubicBezTo>
                  <a:pt x="3356" y="1728"/>
                  <a:pt x="3366" y="1728"/>
                  <a:pt x="3366" y="1728"/>
                </a:cubicBezTo>
                <a:cubicBezTo>
                  <a:pt x="3388" y="1728"/>
                  <a:pt x="3386" y="1742"/>
                  <a:pt x="3386" y="1751"/>
                </a:cubicBezTo>
                <a:cubicBezTo>
                  <a:pt x="3386" y="1760"/>
                  <a:pt x="3396" y="1749"/>
                  <a:pt x="3396" y="1759"/>
                </a:cubicBezTo>
                <a:cubicBezTo>
                  <a:pt x="3396" y="1769"/>
                  <a:pt x="3392" y="1772"/>
                  <a:pt x="3387" y="1777"/>
                </a:cubicBezTo>
                <a:cubicBezTo>
                  <a:pt x="3382" y="1782"/>
                  <a:pt x="3400" y="1790"/>
                  <a:pt x="3400" y="1790"/>
                </a:cubicBezTo>
                <a:cubicBezTo>
                  <a:pt x="3385" y="1789"/>
                  <a:pt x="3385" y="1789"/>
                  <a:pt x="3385" y="1789"/>
                </a:cubicBezTo>
                <a:cubicBezTo>
                  <a:pt x="3385" y="1789"/>
                  <a:pt x="3385" y="1798"/>
                  <a:pt x="3378" y="1806"/>
                </a:cubicBezTo>
                <a:cubicBezTo>
                  <a:pt x="3370" y="1813"/>
                  <a:pt x="3369" y="1806"/>
                  <a:pt x="3350" y="1796"/>
                </a:cubicBezTo>
                <a:cubicBezTo>
                  <a:pt x="3331" y="1786"/>
                  <a:pt x="3337" y="1767"/>
                  <a:pt x="3337" y="1767"/>
                </a:cubicBezTo>
                <a:cubicBezTo>
                  <a:pt x="3326" y="1762"/>
                  <a:pt x="3326" y="1762"/>
                  <a:pt x="3326" y="1762"/>
                </a:cubicBezTo>
                <a:cubicBezTo>
                  <a:pt x="3328" y="1774"/>
                  <a:pt x="3328" y="1774"/>
                  <a:pt x="3328" y="1774"/>
                </a:cubicBezTo>
                <a:cubicBezTo>
                  <a:pt x="3328" y="1774"/>
                  <a:pt x="3336" y="1787"/>
                  <a:pt x="3328" y="1801"/>
                </a:cubicBezTo>
                <a:cubicBezTo>
                  <a:pt x="3320" y="1815"/>
                  <a:pt x="3302" y="1819"/>
                  <a:pt x="3294" y="1832"/>
                </a:cubicBezTo>
                <a:cubicBezTo>
                  <a:pt x="3286" y="1845"/>
                  <a:pt x="3283" y="1857"/>
                  <a:pt x="3275" y="1866"/>
                </a:cubicBezTo>
                <a:cubicBezTo>
                  <a:pt x="3267" y="1874"/>
                  <a:pt x="3251" y="1881"/>
                  <a:pt x="3244" y="1877"/>
                </a:cubicBezTo>
                <a:cubicBezTo>
                  <a:pt x="3244" y="1876"/>
                  <a:pt x="3243" y="1876"/>
                  <a:pt x="3243" y="1876"/>
                </a:cubicBezTo>
                <a:cubicBezTo>
                  <a:pt x="3237" y="1870"/>
                  <a:pt x="3250" y="1841"/>
                  <a:pt x="3248" y="1833"/>
                </a:cubicBezTo>
                <a:cubicBezTo>
                  <a:pt x="3246" y="1825"/>
                  <a:pt x="3232" y="1832"/>
                  <a:pt x="3226" y="1837"/>
                </a:cubicBezTo>
                <a:cubicBezTo>
                  <a:pt x="3220" y="1842"/>
                  <a:pt x="3192" y="1860"/>
                  <a:pt x="3190" y="1847"/>
                </a:cubicBezTo>
                <a:cubicBezTo>
                  <a:pt x="3189" y="1841"/>
                  <a:pt x="3213" y="1827"/>
                  <a:pt x="3216" y="1822"/>
                </a:cubicBezTo>
                <a:cubicBezTo>
                  <a:pt x="3219" y="1817"/>
                  <a:pt x="3230" y="1814"/>
                  <a:pt x="3239" y="1808"/>
                </a:cubicBezTo>
                <a:cubicBezTo>
                  <a:pt x="3248" y="1802"/>
                  <a:pt x="3240" y="1779"/>
                  <a:pt x="3240" y="1779"/>
                </a:cubicBezTo>
                <a:cubicBezTo>
                  <a:pt x="3240" y="1779"/>
                  <a:pt x="3243" y="1784"/>
                  <a:pt x="3251" y="1767"/>
                </a:cubicBezTo>
                <a:cubicBezTo>
                  <a:pt x="3259" y="1750"/>
                  <a:pt x="3239" y="1757"/>
                  <a:pt x="3230" y="1750"/>
                </a:cubicBezTo>
                <a:cubicBezTo>
                  <a:pt x="3221" y="1743"/>
                  <a:pt x="3221" y="1737"/>
                  <a:pt x="3221" y="1737"/>
                </a:cubicBezTo>
                <a:cubicBezTo>
                  <a:pt x="3221" y="1737"/>
                  <a:pt x="3218" y="1744"/>
                  <a:pt x="3213" y="1739"/>
                </a:cubicBezTo>
                <a:cubicBezTo>
                  <a:pt x="3208" y="1734"/>
                  <a:pt x="3214" y="1724"/>
                  <a:pt x="3214" y="1724"/>
                </a:cubicBezTo>
                <a:cubicBezTo>
                  <a:pt x="3238" y="1728"/>
                  <a:pt x="3238" y="1728"/>
                  <a:pt x="3238" y="1728"/>
                </a:cubicBezTo>
                <a:cubicBezTo>
                  <a:pt x="3238" y="1728"/>
                  <a:pt x="3242" y="1725"/>
                  <a:pt x="3239" y="1717"/>
                </a:cubicBezTo>
                <a:cubicBezTo>
                  <a:pt x="3238" y="1713"/>
                  <a:pt x="3242" y="1713"/>
                  <a:pt x="3247" y="1713"/>
                </a:cubicBezTo>
                <a:cubicBezTo>
                  <a:pt x="3253" y="1713"/>
                  <a:pt x="3260" y="1714"/>
                  <a:pt x="3263" y="1714"/>
                </a:cubicBezTo>
                <a:close/>
                <a:moveTo>
                  <a:pt x="3009" y="1640"/>
                </a:moveTo>
                <a:cubicBezTo>
                  <a:pt x="3021" y="1632"/>
                  <a:pt x="3036" y="1629"/>
                  <a:pt x="3055" y="1625"/>
                </a:cubicBezTo>
                <a:cubicBezTo>
                  <a:pt x="3060" y="1624"/>
                  <a:pt x="3064" y="1622"/>
                  <a:pt x="3068" y="1619"/>
                </a:cubicBezTo>
                <a:cubicBezTo>
                  <a:pt x="3080" y="1611"/>
                  <a:pt x="3087" y="1598"/>
                  <a:pt x="3088" y="1595"/>
                </a:cubicBezTo>
                <a:cubicBezTo>
                  <a:pt x="3089" y="1591"/>
                  <a:pt x="3108" y="1599"/>
                  <a:pt x="3108" y="1599"/>
                </a:cubicBezTo>
                <a:cubicBezTo>
                  <a:pt x="3116" y="1593"/>
                  <a:pt x="3116" y="1593"/>
                  <a:pt x="3116" y="1593"/>
                </a:cubicBezTo>
                <a:cubicBezTo>
                  <a:pt x="3116" y="1593"/>
                  <a:pt x="3123" y="1581"/>
                  <a:pt x="3124" y="1578"/>
                </a:cubicBezTo>
                <a:cubicBezTo>
                  <a:pt x="3125" y="1575"/>
                  <a:pt x="3133" y="1588"/>
                  <a:pt x="3133" y="1588"/>
                </a:cubicBezTo>
                <a:cubicBezTo>
                  <a:pt x="3150" y="1585"/>
                  <a:pt x="3150" y="1585"/>
                  <a:pt x="3150" y="1585"/>
                </a:cubicBezTo>
                <a:cubicBezTo>
                  <a:pt x="3150" y="1585"/>
                  <a:pt x="3141" y="1575"/>
                  <a:pt x="3150" y="1568"/>
                </a:cubicBezTo>
                <a:cubicBezTo>
                  <a:pt x="3159" y="1561"/>
                  <a:pt x="3168" y="1576"/>
                  <a:pt x="3168" y="1576"/>
                </a:cubicBezTo>
                <a:cubicBezTo>
                  <a:pt x="3186" y="1576"/>
                  <a:pt x="3186" y="1576"/>
                  <a:pt x="3186" y="1576"/>
                </a:cubicBezTo>
                <a:cubicBezTo>
                  <a:pt x="3190" y="1580"/>
                  <a:pt x="3190" y="1580"/>
                  <a:pt x="3190" y="1580"/>
                </a:cubicBezTo>
                <a:cubicBezTo>
                  <a:pt x="3190" y="1580"/>
                  <a:pt x="3210" y="1581"/>
                  <a:pt x="3215" y="1586"/>
                </a:cubicBezTo>
                <a:cubicBezTo>
                  <a:pt x="3220" y="1591"/>
                  <a:pt x="3209" y="1617"/>
                  <a:pt x="3209" y="1617"/>
                </a:cubicBezTo>
                <a:cubicBezTo>
                  <a:pt x="3215" y="1624"/>
                  <a:pt x="3215" y="1624"/>
                  <a:pt x="3215" y="1624"/>
                </a:cubicBezTo>
                <a:cubicBezTo>
                  <a:pt x="3209" y="1639"/>
                  <a:pt x="3209" y="1639"/>
                  <a:pt x="3209" y="1639"/>
                </a:cubicBezTo>
                <a:cubicBezTo>
                  <a:pt x="3209" y="1639"/>
                  <a:pt x="3248" y="1616"/>
                  <a:pt x="3259" y="1623"/>
                </a:cubicBezTo>
                <a:cubicBezTo>
                  <a:pt x="3270" y="1630"/>
                  <a:pt x="3242" y="1640"/>
                  <a:pt x="3241" y="1644"/>
                </a:cubicBezTo>
                <a:cubicBezTo>
                  <a:pt x="3240" y="1648"/>
                  <a:pt x="3255" y="1651"/>
                  <a:pt x="3255" y="1656"/>
                </a:cubicBezTo>
                <a:cubicBezTo>
                  <a:pt x="3255" y="1661"/>
                  <a:pt x="3239" y="1667"/>
                  <a:pt x="3239" y="1672"/>
                </a:cubicBezTo>
                <a:cubicBezTo>
                  <a:pt x="3239" y="1677"/>
                  <a:pt x="3252" y="1677"/>
                  <a:pt x="3249" y="1684"/>
                </a:cubicBezTo>
                <a:cubicBezTo>
                  <a:pt x="3246" y="1691"/>
                  <a:pt x="3240" y="1692"/>
                  <a:pt x="3240" y="1692"/>
                </a:cubicBezTo>
                <a:cubicBezTo>
                  <a:pt x="3238" y="1698"/>
                  <a:pt x="3238" y="1698"/>
                  <a:pt x="3238" y="1698"/>
                </a:cubicBezTo>
                <a:cubicBezTo>
                  <a:pt x="3236" y="1706"/>
                  <a:pt x="3236" y="1706"/>
                  <a:pt x="3236" y="1706"/>
                </a:cubicBezTo>
                <a:cubicBezTo>
                  <a:pt x="3220" y="1700"/>
                  <a:pt x="3220" y="1700"/>
                  <a:pt x="3220" y="1700"/>
                </a:cubicBezTo>
                <a:cubicBezTo>
                  <a:pt x="3219" y="1686"/>
                  <a:pt x="3219" y="1686"/>
                  <a:pt x="3219" y="1686"/>
                </a:cubicBezTo>
                <a:cubicBezTo>
                  <a:pt x="3210" y="1688"/>
                  <a:pt x="3210" y="1688"/>
                  <a:pt x="3210" y="1688"/>
                </a:cubicBezTo>
                <a:cubicBezTo>
                  <a:pt x="3199" y="1693"/>
                  <a:pt x="3199" y="1693"/>
                  <a:pt x="3199" y="1693"/>
                </a:cubicBezTo>
                <a:cubicBezTo>
                  <a:pt x="3163" y="1690"/>
                  <a:pt x="3163" y="1690"/>
                  <a:pt x="3163" y="1690"/>
                </a:cubicBezTo>
                <a:cubicBezTo>
                  <a:pt x="3163" y="1690"/>
                  <a:pt x="3150" y="1701"/>
                  <a:pt x="3129" y="1699"/>
                </a:cubicBezTo>
                <a:cubicBezTo>
                  <a:pt x="3108" y="1697"/>
                  <a:pt x="3113" y="1683"/>
                  <a:pt x="3109" y="1678"/>
                </a:cubicBezTo>
                <a:cubicBezTo>
                  <a:pt x="3105" y="1673"/>
                  <a:pt x="3085" y="1684"/>
                  <a:pt x="3082" y="1675"/>
                </a:cubicBezTo>
                <a:cubicBezTo>
                  <a:pt x="3119" y="1654"/>
                  <a:pt x="3119" y="1654"/>
                  <a:pt x="3119" y="1654"/>
                </a:cubicBezTo>
                <a:cubicBezTo>
                  <a:pt x="3119" y="1654"/>
                  <a:pt x="3114" y="1649"/>
                  <a:pt x="3107" y="1649"/>
                </a:cubicBezTo>
                <a:cubicBezTo>
                  <a:pt x="3100" y="1649"/>
                  <a:pt x="3086" y="1661"/>
                  <a:pt x="3082" y="1662"/>
                </a:cubicBezTo>
                <a:cubicBezTo>
                  <a:pt x="3078" y="1663"/>
                  <a:pt x="3056" y="1676"/>
                  <a:pt x="3042" y="1681"/>
                </a:cubicBezTo>
                <a:cubicBezTo>
                  <a:pt x="3028" y="1686"/>
                  <a:pt x="3012" y="1683"/>
                  <a:pt x="3012" y="1683"/>
                </a:cubicBezTo>
                <a:cubicBezTo>
                  <a:pt x="3006" y="1692"/>
                  <a:pt x="3006" y="1692"/>
                  <a:pt x="3006" y="1692"/>
                </a:cubicBezTo>
                <a:cubicBezTo>
                  <a:pt x="3006" y="1692"/>
                  <a:pt x="2982" y="1694"/>
                  <a:pt x="2973" y="1693"/>
                </a:cubicBezTo>
                <a:cubicBezTo>
                  <a:pt x="2964" y="1692"/>
                  <a:pt x="2988" y="1675"/>
                  <a:pt x="2988" y="1675"/>
                </a:cubicBezTo>
                <a:cubicBezTo>
                  <a:pt x="2988" y="1675"/>
                  <a:pt x="2978" y="1679"/>
                  <a:pt x="2959" y="1680"/>
                </a:cubicBezTo>
                <a:cubicBezTo>
                  <a:pt x="2940" y="1681"/>
                  <a:pt x="2938" y="1693"/>
                  <a:pt x="2921" y="1687"/>
                </a:cubicBezTo>
                <a:cubicBezTo>
                  <a:pt x="2904" y="1681"/>
                  <a:pt x="2997" y="1648"/>
                  <a:pt x="3009" y="1640"/>
                </a:cubicBezTo>
                <a:close/>
                <a:moveTo>
                  <a:pt x="2864" y="1316"/>
                </a:moveTo>
                <a:cubicBezTo>
                  <a:pt x="2874" y="1312"/>
                  <a:pt x="2873" y="1319"/>
                  <a:pt x="2877" y="1320"/>
                </a:cubicBezTo>
                <a:cubicBezTo>
                  <a:pt x="2881" y="1321"/>
                  <a:pt x="2892" y="1318"/>
                  <a:pt x="2900" y="1335"/>
                </a:cubicBezTo>
                <a:cubicBezTo>
                  <a:pt x="2908" y="1352"/>
                  <a:pt x="2887" y="1368"/>
                  <a:pt x="2887" y="1368"/>
                </a:cubicBezTo>
                <a:cubicBezTo>
                  <a:pt x="2887" y="1368"/>
                  <a:pt x="2884" y="1397"/>
                  <a:pt x="2885" y="1406"/>
                </a:cubicBezTo>
                <a:cubicBezTo>
                  <a:pt x="2886" y="1415"/>
                  <a:pt x="2881" y="1424"/>
                  <a:pt x="2878" y="1429"/>
                </a:cubicBezTo>
                <a:cubicBezTo>
                  <a:pt x="2875" y="1434"/>
                  <a:pt x="2882" y="1435"/>
                  <a:pt x="2885" y="1446"/>
                </a:cubicBezTo>
                <a:cubicBezTo>
                  <a:pt x="2888" y="1457"/>
                  <a:pt x="2864" y="1484"/>
                  <a:pt x="2864" y="1484"/>
                </a:cubicBezTo>
                <a:cubicBezTo>
                  <a:pt x="2850" y="1479"/>
                  <a:pt x="2850" y="1479"/>
                  <a:pt x="2850" y="1479"/>
                </a:cubicBezTo>
                <a:cubicBezTo>
                  <a:pt x="2850" y="1479"/>
                  <a:pt x="2847" y="1498"/>
                  <a:pt x="2830" y="1495"/>
                </a:cubicBezTo>
                <a:cubicBezTo>
                  <a:pt x="2813" y="1492"/>
                  <a:pt x="2869" y="1444"/>
                  <a:pt x="2869" y="1432"/>
                </a:cubicBezTo>
                <a:cubicBezTo>
                  <a:pt x="2869" y="1420"/>
                  <a:pt x="2848" y="1440"/>
                  <a:pt x="2848" y="1440"/>
                </a:cubicBezTo>
                <a:cubicBezTo>
                  <a:pt x="2861" y="1419"/>
                  <a:pt x="2861" y="1419"/>
                  <a:pt x="2861" y="1419"/>
                </a:cubicBezTo>
                <a:cubicBezTo>
                  <a:pt x="2861" y="1419"/>
                  <a:pt x="2865" y="1406"/>
                  <a:pt x="2854" y="1403"/>
                </a:cubicBezTo>
                <a:cubicBezTo>
                  <a:pt x="2843" y="1400"/>
                  <a:pt x="2849" y="1420"/>
                  <a:pt x="2836" y="1420"/>
                </a:cubicBezTo>
                <a:cubicBezTo>
                  <a:pt x="2823" y="1420"/>
                  <a:pt x="2833" y="1389"/>
                  <a:pt x="2833" y="1389"/>
                </a:cubicBezTo>
                <a:cubicBezTo>
                  <a:pt x="2833" y="1389"/>
                  <a:pt x="2827" y="1383"/>
                  <a:pt x="2825" y="1374"/>
                </a:cubicBezTo>
                <a:cubicBezTo>
                  <a:pt x="2823" y="1365"/>
                  <a:pt x="2847" y="1365"/>
                  <a:pt x="2849" y="1359"/>
                </a:cubicBezTo>
                <a:cubicBezTo>
                  <a:pt x="2851" y="1353"/>
                  <a:pt x="2829" y="1362"/>
                  <a:pt x="2825" y="1353"/>
                </a:cubicBezTo>
                <a:cubicBezTo>
                  <a:pt x="2824" y="1351"/>
                  <a:pt x="2854" y="1320"/>
                  <a:pt x="2864" y="1316"/>
                </a:cubicBezTo>
                <a:close/>
                <a:moveTo>
                  <a:pt x="2777" y="867"/>
                </a:moveTo>
                <a:cubicBezTo>
                  <a:pt x="2795" y="866"/>
                  <a:pt x="2833" y="870"/>
                  <a:pt x="2830" y="874"/>
                </a:cubicBezTo>
                <a:cubicBezTo>
                  <a:pt x="2827" y="878"/>
                  <a:pt x="2806" y="888"/>
                  <a:pt x="2806" y="885"/>
                </a:cubicBezTo>
                <a:cubicBezTo>
                  <a:pt x="2806" y="882"/>
                  <a:pt x="2794" y="868"/>
                  <a:pt x="2790" y="875"/>
                </a:cubicBezTo>
                <a:cubicBezTo>
                  <a:pt x="2786" y="882"/>
                  <a:pt x="2787" y="889"/>
                  <a:pt x="2787" y="889"/>
                </a:cubicBezTo>
                <a:cubicBezTo>
                  <a:pt x="2787" y="889"/>
                  <a:pt x="2773" y="881"/>
                  <a:pt x="2767" y="883"/>
                </a:cubicBezTo>
                <a:cubicBezTo>
                  <a:pt x="2761" y="885"/>
                  <a:pt x="2765" y="892"/>
                  <a:pt x="2765" y="892"/>
                </a:cubicBezTo>
                <a:cubicBezTo>
                  <a:pt x="2748" y="894"/>
                  <a:pt x="2748" y="894"/>
                  <a:pt x="2748" y="894"/>
                </a:cubicBezTo>
                <a:cubicBezTo>
                  <a:pt x="2748" y="894"/>
                  <a:pt x="2736" y="890"/>
                  <a:pt x="2721" y="900"/>
                </a:cubicBezTo>
                <a:cubicBezTo>
                  <a:pt x="2706" y="910"/>
                  <a:pt x="2677" y="929"/>
                  <a:pt x="2663" y="932"/>
                </a:cubicBezTo>
                <a:cubicBezTo>
                  <a:pt x="2649" y="935"/>
                  <a:pt x="2629" y="941"/>
                  <a:pt x="2629" y="941"/>
                </a:cubicBezTo>
                <a:cubicBezTo>
                  <a:pt x="2629" y="941"/>
                  <a:pt x="2598" y="933"/>
                  <a:pt x="2590" y="941"/>
                </a:cubicBezTo>
                <a:cubicBezTo>
                  <a:pt x="2582" y="949"/>
                  <a:pt x="2576" y="960"/>
                  <a:pt x="2576" y="960"/>
                </a:cubicBezTo>
                <a:cubicBezTo>
                  <a:pt x="2547" y="960"/>
                  <a:pt x="2547" y="960"/>
                  <a:pt x="2547" y="960"/>
                </a:cubicBezTo>
                <a:cubicBezTo>
                  <a:pt x="2541" y="966"/>
                  <a:pt x="2541" y="966"/>
                  <a:pt x="2541" y="966"/>
                </a:cubicBezTo>
                <a:cubicBezTo>
                  <a:pt x="2541" y="966"/>
                  <a:pt x="2527" y="963"/>
                  <a:pt x="2520" y="965"/>
                </a:cubicBezTo>
                <a:cubicBezTo>
                  <a:pt x="2513" y="967"/>
                  <a:pt x="2494" y="970"/>
                  <a:pt x="2487" y="969"/>
                </a:cubicBezTo>
                <a:cubicBezTo>
                  <a:pt x="2480" y="968"/>
                  <a:pt x="2469" y="960"/>
                  <a:pt x="2466" y="961"/>
                </a:cubicBezTo>
                <a:cubicBezTo>
                  <a:pt x="2463" y="962"/>
                  <a:pt x="2445" y="959"/>
                  <a:pt x="2445" y="955"/>
                </a:cubicBezTo>
                <a:cubicBezTo>
                  <a:pt x="2445" y="951"/>
                  <a:pt x="2467" y="952"/>
                  <a:pt x="2467" y="952"/>
                </a:cubicBezTo>
                <a:cubicBezTo>
                  <a:pt x="2467" y="952"/>
                  <a:pt x="2476" y="942"/>
                  <a:pt x="2479" y="942"/>
                </a:cubicBezTo>
                <a:cubicBezTo>
                  <a:pt x="2482" y="942"/>
                  <a:pt x="2490" y="950"/>
                  <a:pt x="2500" y="950"/>
                </a:cubicBezTo>
                <a:cubicBezTo>
                  <a:pt x="2510" y="950"/>
                  <a:pt x="2510" y="942"/>
                  <a:pt x="2510" y="942"/>
                </a:cubicBezTo>
                <a:cubicBezTo>
                  <a:pt x="2521" y="942"/>
                  <a:pt x="2521" y="942"/>
                  <a:pt x="2521" y="942"/>
                </a:cubicBezTo>
                <a:cubicBezTo>
                  <a:pt x="2521" y="942"/>
                  <a:pt x="2531" y="924"/>
                  <a:pt x="2541" y="923"/>
                </a:cubicBezTo>
                <a:cubicBezTo>
                  <a:pt x="2551" y="922"/>
                  <a:pt x="2554" y="931"/>
                  <a:pt x="2572" y="924"/>
                </a:cubicBezTo>
                <a:cubicBezTo>
                  <a:pt x="2590" y="917"/>
                  <a:pt x="2575" y="895"/>
                  <a:pt x="2575" y="895"/>
                </a:cubicBezTo>
                <a:cubicBezTo>
                  <a:pt x="2575" y="895"/>
                  <a:pt x="2553" y="881"/>
                  <a:pt x="2567" y="875"/>
                </a:cubicBezTo>
                <a:cubicBezTo>
                  <a:pt x="2573" y="872"/>
                  <a:pt x="2581" y="885"/>
                  <a:pt x="2581" y="885"/>
                </a:cubicBezTo>
                <a:cubicBezTo>
                  <a:pt x="2589" y="884"/>
                  <a:pt x="2589" y="884"/>
                  <a:pt x="2589" y="884"/>
                </a:cubicBezTo>
                <a:cubicBezTo>
                  <a:pt x="2601" y="895"/>
                  <a:pt x="2601" y="895"/>
                  <a:pt x="2601" y="895"/>
                </a:cubicBezTo>
                <a:cubicBezTo>
                  <a:pt x="2601" y="895"/>
                  <a:pt x="2615" y="894"/>
                  <a:pt x="2619" y="897"/>
                </a:cubicBezTo>
                <a:cubicBezTo>
                  <a:pt x="2623" y="900"/>
                  <a:pt x="2612" y="915"/>
                  <a:pt x="2635" y="914"/>
                </a:cubicBezTo>
                <a:cubicBezTo>
                  <a:pt x="2658" y="913"/>
                  <a:pt x="2658" y="908"/>
                  <a:pt x="2658" y="908"/>
                </a:cubicBezTo>
                <a:cubicBezTo>
                  <a:pt x="2669" y="909"/>
                  <a:pt x="2669" y="909"/>
                  <a:pt x="2669" y="909"/>
                </a:cubicBezTo>
                <a:cubicBezTo>
                  <a:pt x="2669" y="909"/>
                  <a:pt x="2709" y="893"/>
                  <a:pt x="2723" y="884"/>
                </a:cubicBezTo>
                <a:cubicBezTo>
                  <a:pt x="2737" y="875"/>
                  <a:pt x="2759" y="868"/>
                  <a:pt x="2777" y="867"/>
                </a:cubicBezTo>
                <a:close/>
                <a:moveTo>
                  <a:pt x="2442" y="702"/>
                </a:moveTo>
                <a:cubicBezTo>
                  <a:pt x="2452" y="697"/>
                  <a:pt x="2461" y="703"/>
                  <a:pt x="2474" y="703"/>
                </a:cubicBezTo>
                <a:cubicBezTo>
                  <a:pt x="2487" y="703"/>
                  <a:pt x="2483" y="694"/>
                  <a:pt x="2483" y="694"/>
                </a:cubicBezTo>
                <a:cubicBezTo>
                  <a:pt x="2553" y="689"/>
                  <a:pt x="2553" y="689"/>
                  <a:pt x="2553" y="689"/>
                </a:cubicBezTo>
                <a:cubicBezTo>
                  <a:pt x="2553" y="689"/>
                  <a:pt x="2588" y="679"/>
                  <a:pt x="2601" y="677"/>
                </a:cubicBezTo>
                <a:cubicBezTo>
                  <a:pt x="2614" y="675"/>
                  <a:pt x="2622" y="682"/>
                  <a:pt x="2622" y="682"/>
                </a:cubicBezTo>
                <a:cubicBezTo>
                  <a:pt x="2622" y="682"/>
                  <a:pt x="2625" y="676"/>
                  <a:pt x="2632" y="673"/>
                </a:cubicBezTo>
                <a:cubicBezTo>
                  <a:pt x="2639" y="670"/>
                  <a:pt x="2661" y="680"/>
                  <a:pt x="2661" y="680"/>
                </a:cubicBezTo>
                <a:cubicBezTo>
                  <a:pt x="2661" y="680"/>
                  <a:pt x="2639" y="686"/>
                  <a:pt x="2631" y="690"/>
                </a:cubicBezTo>
                <a:cubicBezTo>
                  <a:pt x="2623" y="694"/>
                  <a:pt x="2589" y="696"/>
                  <a:pt x="2589" y="696"/>
                </a:cubicBezTo>
                <a:cubicBezTo>
                  <a:pt x="2587" y="704"/>
                  <a:pt x="2587" y="704"/>
                  <a:pt x="2587" y="704"/>
                </a:cubicBezTo>
                <a:cubicBezTo>
                  <a:pt x="2605" y="704"/>
                  <a:pt x="2605" y="704"/>
                  <a:pt x="2605" y="704"/>
                </a:cubicBezTo>
                <a:cubicBezTo>
                  <a:pt x="2605" y="704"/>
                  <a:pt x="2616" y="707"/>
                  <a:pt x="2620" y="707"/>
                </a:cubicBezTo>
                <a:cubicBezTo>
                  <a:pt x="2624" y="707"/>
                  <a:pt x="2650" y="704"/>
                  <a:pt x="2664" y="703"/>
                </a:cubicBezTo>
                <a:cubicBezTo>
                  <a:pt x="2678" y="702"/>
                  <a:pt x="2658" y="693"/>
                  <a:pt x="2658" y="693"/>
                </a:cubicBezTo>
                <a:cubicBezTo>
                  <a:pt x="2695" y="692"/>
                  <a:pt x="2695" y="692"/>
                  <a:pt x="2695" y="692"/>
                </a:cubicBezTo>
                <a:cubicBezTo>
                  <a:pt x="2695" y="692"/>
                  <a:pt x="2690" y="705"/>
                  <a:pt x="2671" y="711"/>
                </a:cubicBezTo>
                <a:cubicBezTo>
                  <a:pt x="2652" y="717"/>
                  <a:pt x="2640" y="724"/>
                  <a:pt x="2640" y="724"/>
                </a:cubicBezTo>
                <a:cubicBezTo>
                  <a:pt x="2640" y="724"/>
                  <a:pt x="2639" y="736"/>
                  <a:pt x="2631" y="738"/>
                </a:cubicBezTo>
                <a:cubicBezTo>
                  <a:pt x="2623" y="740"/>
                  <a:pt x="2601" y="729"/>
                  <a:pt x="2601" y="729"/>
                </a:cubicBezTo>
                <a:cubicBezTo>
                  <a:pt x="2596" y="736"/>
                  <a:pt x="2596" y="736"/>
                  <a:pt x="2596" y="736"/>
                </a:cubicBezTo>
                <a:cubicBezTo>
                  <a:pt x="2586" y="727"/>
                  <a:pt x="2586" y="727"/>
                  <a:pt x="2586" y="727"/>
                </a:cubicBezTo>
                <a:cubicBezTo>
                  <a:pt x="2576" y="737"/>
                  <a:pt x="2576" y="737"/>
                  <a:pt x="2576" y="737"/>
                </a:cubicBezTo>
                <a:cubicBezTo>
                  <a:pt x="2576" y="737"/>
                  <a:pt x="2568" y="731"/>
                  <a:pt x="2562" y="738"/>
                </a:cubicBezTo>
                <a:cubicBezTo>
                  <a:pt x="2556" y="745"/>
                  <a:pt x="2568" y="751"/>
                  <a:pt x="2568" y="751"/>
                </a:cubicBezTo>
                <a:cubicBezTo>
                  <a:pt x="2547" y="754"/>
                  <a:pt x="2547" y="754"/>
                  <a:pt x="2547" y="754"/>
                </a:cubicBezTo>
                <a:cubicBezTo>
                  <a:pt x="2547" y="754"/>
                  <a:pt x="2532" y="764"/>
                  <a:pt x="2529" y="764"/>
                </a:cubicBezTo>
                <a:cubicBezTo>
                  <a:pt x="2526" y="764"/>
                  <a:pt x="2483" y="777"/>
                  <a:pt x="2472" y="773"/>
                </a:cubicBezTo>
                <a:cubicBezTo>
                  <a:pt x="2461" y="769"/>
                  <a:pt x="2500" y="762"/>
                  <a:pt x="2515" y="759"/>
                </a:cubicBezTo>
                <a:cubicBezTo>
                  <a:pt x="2530" y="756"/>
                  <a:pt x="2552" y="739"/>
                  <a:pt x="2539" y="737"/>
                </a:cubicBezTo>
                <a:cubicBezTo>
                  <a:pt x="2526" y="735"/>
                  <a:pt x="2474" y="764"/>
                  <a:pt x="2461" y="766"/>
                </a:cubicBezTo>
                <a:cubicBezTo>
                  <a:pt x="2448" y="768"/>
                  <a:pt x="2422" y="764"/>
                  <a:pt x="2413" y="759"/>
                </a:cubicBezTo>
                <a:cubicBezTo>
                  <a:pt x="2404" y="754"/>
                  <a:pt x="2444" y="753"/>
                  <a:pt x="2451" y="748"/>
                </a:cubicBezTo>
                <a:cubicBezTo>
                  <a:pt x="2458" y="743"/>
                  <a:pt x="2486" y="733"/>
                  <a:pt x="2486" y="733"/>
                </a:cubicBezTo>
                <a:cubicBezTo>
                  <a:pt x="2486" y="733"/>
                  <a:pt x="2481" y="725"/>
                  <a:pt x="2487" y="722"/>
                </a:cubicBezTo>
                <a:cubicBezTo>
                  <a:pt x="2493" y="719"/>
                  <a:pt x="2511" y="728"/>
                  <a:pt x="2533" y="722"/>
                </a:cubicBezTo>
                <a:cubicBezTo>
                  <a:pt x="2555" y="716"/>
                  <a:pt x="2535" y="704"/>
                  <a:pt x="2516" y="704"/>
                </a:cubicBezTo>
                <a:cubicBezTo>
                  <a:pt x="2497" y="704"/>
                  <a:pt x="2492" y="711"/>
                  <a:pt x="2481" y="716"/>
                </a:cubicBezTo>
                <a:cubicBezTo>
                  <a:pt x="2470" y="721"/>
                  <a:pt x="2471" y="711"/>
                  <a:pt x="2471" y="711"/>
                </a:cubicBezTo>
                <a:cubicBezTo>
                  <a:pt x="2459" y="716"/>
                  <a:pt x="2459" y="716"/>
                  <a:pt x="2459" y="716"/>
                </a:cubicBezTo>
                <a:cubicBezTo>
                  <a:pt x="2436" y="713"/>
                  <a:pt x="2436" y="713"/>
                  <a:pt x="2436" y="713"/>
                </a:cubicBezTo>
                <a:cubicBezTo>
                  <a:pt x="2436" y="713"/>
                  <a:pt x="2415" y="723"/>
                  <a:pt x="2406" y="720"/>
                </a:cubicBezTo>
                <a:cubicBezTo>
                  <a:pt x="2397" y="717"/>
                  <a:pt x="2432" y="707"/>
                  <a:pt x="2442" y="702"/>
                </a:cubicBezTo>
                <a:close/>
                <a:moveTo>
                  <a:pt x="2739" y="3603"/>
                </a:moveTo>
                <a:cubicBezTo>
                  <a:pt x="2739" y="3603"/>
                  <a:pt x="2719" y="3594"/>
                  <a:pt x="2713" y="3592"/>
                </a:cubicBezTo>
                <a:cubicBezTo>
                  <a:pt x="2712" y="3592"/>
                  <a:pt x="2712" y="3592"/>
                  <a:pt x="2711" y="3592"/>
                </a:cubicBezTo>
                <a:cubicBezTo>
                  <a:pt x="2711" y="3591"/>
                  <a:pt x="2711" y="3591"/>
                  <a:pt x="2711" y="3591"/>
                </a:cubicBezTo>
                <a:cubicBezTo>
                  <a:pt x="2708" y="3589"/>
                  <a:pt x="2697" y="3585"/>
                  <a:pt x="2700" y="3581"/>
                </a:cubicBezTo>
                <a:cubicBezTo>
                  <a:pt x="2703" y="3577"/>
                  <a:pt x="2718" y="3582"/>
                  <a:pt x="2714" y="3575"/>
                </a:cubicBezTo>
                <a:cubicBezTo>
                  <a:pt x="2710" y="3569"/>
                  <a:pt x="2709" y="3569"/>
                  <a:pt x="2709" y="3569"/>
                </a:cubicBezTo>
                <a:cubicBezTo>
                  <a:pt x="2709" y="3569"/>
                  <a:pt x="2698" y="3573"/>
                  <a:pt x="2698" y="3571"/>
                </a:cubicBezTo>
                <a:cubicBezTo>
                  <a:pt x="2697" y="3569"/>
                  <a:pt x="2691" y="3541"/>
                  <a:pt x="2698" y="3543"/>
                </a:cubicBezTo>
                <a:cubicBezTo>
                  <a:pt x="2705" y="3545"/>
                  <a:pt x="2738" y="3571"/>
                  <a:pt x="2742" y="3579"/>
                </a:cubicBezTo>
                <a:cubicBezTo>
                  <a:pt x="2745" y="3583"/>
                  <a:pt x="2746" y="3591"/>
                  <a:pt x="2747" y="3598"/>
                </a:cubicBezTo>
                <a:cubicBezTo>
                  <a:pt x="2747" y="3598"/>
                  <a:pt x="2747" y="3598"/>
                  <a:pt x="2747" y="3598"/>
                </a:cubicBezTo>
                <a:cubicBezTo>
                  <a:pt x="2738" y="3598"/>
                  <a:pt x="2739" y="3603"/>
                  <a:pt x="2739" y="3603"/>
                </a:cubicBezTo>
                <a:close/>
                <a:moveTo>
                  <a:pt x="3523" y="5086"/>
                </a:moveTo>
                <a:cubicBezTo>
                  <a:pt x="3517" y="5079"/>
                  <a:pt x="3517" y="5079"/>
                  <a:pt x="3517" y="5079"/>
                </a:cubicBezTo>
                <a:cubicBezTo>
                  <a:pt x="3509" y="5070"/>
                  <a:pt x="3509" y="5070"/>
                  <a:pt x="3509" y="5070"/>
                </a:cubicBezTo>
                <a:cubicBezTo>
                  <a:pt x="3509" y="5070"/>
                  <a:pt x="3499" y="5063"/>
                  <a:pt x="3491" y="5059"/>
                </a:cubicBezTo>
                <a:cubicBezTo>
                  <a:pt x="3483" y="5055"/>
                  <a:pt x="3480" y="5047"/>
                  <a:pt x="3480" y="5047"/>
                </a:cubicBezTo>
                <a:cubicBezTo>
                  <a:pt x="3480" y="5047"/>
                  <a:pt x="3466" y="5049"/>
                  <a:pt x="3462" y="5044"/>
                </a:cubicBezTo>
                <a:cubicBezTo>
                  <a:pt x="3467" y="5030"/>
                  <a:pt x="3467" y="5030"/>
                  <a:pt x="3467" y="5030"/>
                </a:cubicBezTo>
                <a:cubicBezTo>
                  <a:pt x="3467" y="5030"/>
                  <a:pt x="3463" y="5015"/>
                  <a:pt x="3468" y="5011"/>
                </a:cubicBezTo>
                <a:cubicBezTo>
                  <a:pt x="3471" y="5008"/>
                  <a:pt x="3485" y="5020"/>
                  <a:pt x="3494" y="5028"/>
                </a:cubicBezTo>
                <a:cubicBezTo>
                  <a:pt x="3499" y="5032"/>
                  <a:pt x="3502" y="5036"/>
                  <a:pt x="3502" y="5036"/>
                </a:cubicBezTo>
                <a:cubicBezTo>
                  <a:pt x="3517" y="5049"/>
                  <a:pt x="3517" y="5049"/>
                  <a:pt x="3517" y="5049"/>
                </a:cubicBezTo>
                <a:cubicBezTo>
                  <a:pt x="3518" y="5061"/>
                  <a:pt x="3518" y="5061"/>
                  <a:pt x="3518" y="5061"/>
                </a:cubicBezTo>
                <a:cubicBezTo>
                  <a:pt x="3531" y="5069"/>
                  <a:pt x="3531" y="5069"/>
                  <a:pt x="3531" y="5069"/>
                </a:cubicBezTo>
                <a:lnTo>
                  <a:pt x="3523" y="5086"/>
                </a:lnTo>
                <a:close/>
                <a:moveTo>
                  <a:pt x="3432" y="3548"/>
                </a:moveTo>
                <a:cubicBezTo>
                  <a:pt x="3432" y="3553"/>
                  <a:pt x="3439" y="3569"/>
                  <a:pt x="3439" y="3569"/>
                </a:cubicBezTo>
                <a:cubicBezTo>
                  <a:pt x="3456" y="3568"/>
                  <a:pt x="3456" y="3568"/>
                  <a:pt x="3456" y="3568"/>
                </a:cubicBezTo>
                <a:cubicBezTo>
                  <a:pt x="3456" y="3568"/>
                  <a:pt x="3461" y="3541"/>
                  <a:pt x="3449" y="3538"/>
                </a:cubicBezTo>
                <a:cubicBezTo>
                  <a:pt x="3438" y="3535"/>
                  <a:pt x="3432" y="3542"/>
                  <a:pt x="3432" y="3548"/>
                </a:cubicBezTo>
                <a:close/>
                <a:moveTo>
                  <a:pt x="2936" y="4356"/>
                </a:moveTo>
                <a:cubicBezTo>
                  <a:pt x="2951" y="4352"/>
                  <a:pt x="2953" y="4332"/>
                  <a:pt x="2943" y="4336"/>
                </a:cubicBezTo>
                <a:cubicBezTo>
                  <a:pt x="2934" y="4340"/>
                  <a:pt x="2928" y="4357"/>
                  <a:pt x="2936" y="4356"/>
                </a:cubicBezTo>
                <a:close/>
                <a:moveTo>
                  <a:pt x="3616" y="6574"/>
                </a:moveTo>
                <a:cubicBezTo>
                  <a:pt x="3603" y="6577"/>
                  <a:pt x="3603" y="6577"/>
                  <a:pt x="3603" y="6577"/>
                </a:cubicBezTo>
                <a:cubicBezTo>
                  <a:pt x="3610" y="6590"/>
                  <a:pt x="3610" y="6590"/>
                  <a:pt x="3610" y="6590"/>
                </a:cubicBezTo>
                <a:lnTo>
                  <a:pt x="3616" y="6574"/>
                </a:lnTo>
                <a:close/>
                <a:moveTo>
                  <a:pt x="3626" y="6546"/>
                </a:moveTo>
                <a:cubicBezTo>
                  <a:pt x="3612" y="6557"/>
                  <a:pt x="3619" y="6567"/>
                  <a:pt x="3629" y="6564"/>
                </a:cubicBezTo>
                <a:cubicBezTo>
                  <a:pt x="3641" y="6560"/>
                  <a:pt x="3640" y="6536"/>
                  <a:pt x="3626" y="6546"/>
                </a:cubicBezTo>
                <a:close/>
                <a:moveTo>
                  <a:pt x="3828" y="7023"/>
                </a:moveTo>
                <a:cubicBezTo>
                  <a:pt x="3805" y="7010"/>
                  <a:pt x="3805" y="7010"/>
                  <a:pt x="3805" y="7010"/>
                </a:cubicBezTo>
                <a:cubicBezTo>
                  <a:pt x="3822" y="7029"/>
                  <a:pt x="3822" y="7029"/>
                  <a:pt x="3822" y="7029"/>
                </a:cubicBezTo>
                <a:cubicBezTo>
                  <a:pt x="3853" y="7033"/>
                  <a:pt x="3853" y="7033"/>
                  <a:pt x="3853" y="7033"/>
                </a:cubicBezTo>
                <a:cubicBezTo>
                  <a:pt x="3864" y="7040"/>
                  <a:pt x="3864" y="7040"/>
                  <a:pt x="3864" y="7040"/>
                </a:cubicBezTo>
                <a:cubicBezTo>
                  <a:pt x="3853" y="7026"/>
                  <a:pt x="3853" y="7026"/>
                  <a:pt x="3853" y="7026"/>
                </a:cubicBezTo>
                <a:lnTo>
                  <a:pt x="3828" y="7023"/>
                </a:lnTo>
                <a:close/>
                <a:moveTo>
                  <a:pt x="3646" y="6620"/>
                </a:moveTo>
                <a:cubicBezTo>
                  <a:pt x="3648" y="6632"/>
                  <a:pt x="3648" y="6632"/>
                  <a:pt x="3648" y="6632"/>
                </a:cubicBezTo>
                <a:cubicBezTo>
                  <a:pt x="3664" y="6642"/>
                  <a:pt x="3664" y="6642"/>
                  <a:pt x="3664" y="6642"/>
                </a:cubicBezTo>
                <a:cubicBezTo>
                  <a:pt x="3664" y="6626"/>
                  <a:pt x="3664" y="6626"/>
                  <a:pt x="3664" y="6626"/>
                </a:cubicBezTo>
                <a:cubicBezTo>
                  <a:pt x="3655" y="6610"/>
                  <a:pt x="3655" y="6610"/>
                  <a:pt x="3655" y="6610"/>
                </a:cubicBezTo>
                <a:cubicBezTo>
                  <a:pt x="3633" y="6611"/>
                  <a:pt x="3633" y="6611"/>
                  <a:pt x="3633" y="6611"/>
                </a:cubicBezTo>
                <a:lnTo>
                  <a:pt x="3646" y="6620"/>
                </a:lnTo>
                <a:close/>
                <a:moveTo>
                  <a:pt x="3623" y="6590"/>
                </a:moveTo>
                <a:cubicBezTo>
                  <a:pt x="3630" y="6598"/>
                  <a:pt x="3630" y="6598"/>
                  <a:pt x="3630" y="6598"/>
                </a:cubicBezTo>
                <a:cubicBezTo>
                  <a:pt x="3648" y="6598"/>
                  <a:pt x="3648" y="6598"/>
                  <a:pt x="3648" y="6598"/>
                </a:cubicBezTo>
                <a:cubicBezTo>
                  <a:pt x="3655" y="6585"/>
                  <a:pt x="3655" y="6585"/>
                  <a:pt x="3655" y="6585"/>
                </a:cubicBezTo>
                <a:cubicBezTo>
                  <a:pt x="3636" y="6590"/>
                  <a:pt x="3636" y="6590"/>
                  <a:pt x="3636" y="6590"/>
                </a:cubicBezTo>
                <a:lnTo>
                  <a:pt x="3623" y="6590"/>
                </a:lnTo>
                <a:close/>
                <a:moveTo>
                  <a:pt x="3708" y="6864"/>
                </a:moveTo>
                <a:cubicBezTo>
                  <a:pt x="3713" y="6863"/>
                  <a:pt x="3716" y="6854"/>
                  <a:pt x="3716" y="6854"/>
                </a:cubicBezTo>
                <a:cubicBezTo>
                  <a:pt x="3736" y="6871"/>
                  <a:pt x="3736" y="6871"/>
                  <a:pt x="3736" y="6871"/>
                </a:cubicBezTo>
                <a:cubicBezTo>
                  <a:pt x="3737" y="6855"/>
                  <a:pt x="3737" y="6855"/>
                  <a:pt x="3737" y="6855"/>
                </a:cubicBezTo>
                <a:cubicBezTo>
                  <a:pt x="3717" y="6834"/>
                  <a:pt x="3717" y="6834"/>
                  <a:pt x="3717" y="6834"/>
                </a:cubicBezTo>
                <a:cubicBezTo>
                  <a:pt x="3717" y="6834"/>
                  <a:pt x="3701" y="6811"/>
                  <a:pt x="3701" y="6799"/>
                </a:cubicBezTo>
                <a:cubicBezTo>
                  <a:pt x="3701" y="6788"/>
                  <a:pt x="3690" y="6776"/>
                  <a:pt x="3679" y="6770"/>
                </a:cubicBezTo>
                <a:cubicBezTo>
                  <a:pt x="3669" y="6765"/>
                  <a:pt x="3669" y="6776"/>
                  <a:pt x="3669" y="6776"/>
                </a:cubicBezTo>
                <a:cubicBezTo>
                  <a:pt x="3655" y="6772"/>
                  <a:pt x="3655" y="6772"/>
                  <a:pt x="3655" y="6772"/>
                </a:cubicBezTo>
                <a:cubicBezTo>
                  <a:pt x="3655" y="6772"/>
                  <a:pt x="3640" y="6799"/>
                  <a:pt x="3651" y="6799"/>
                </a:cubicBezTo>
                <a:cubicBezTo>
                  <a:pt x="3661" y="6799"/>
                  <a:pt x="3681" y="6799"/>
                  <a:pt x="3681" y="6799"/>
                </a:cubicBezTo>
                <a:cubicBezTo>
                  <a:pt x="3668" y="6825"/>
                  <a:pt x="3668" y="6825"/>
                  <a:pt x="3668" y="6825"/>
                </a:cubicBezTo>
                <a:cubicBezTo>
                  <a:pt x="3677" y="6825"/>
                  <a:pt x="3677" y="6825"/>
                  <a:pt x="3677" y="6825"/>
                </a:cubicBezTo>
                <a:cubicBezTo>
                  <a:pt x="3691" y="6812"/>
                  <a:pt x="3691" y="6812"/>
                  <a:pt x="3691" y="6812"/>
                </a:cubicBezTo>
                <a:cubicBezTo>
                  <a:pt x="3690" y="6828"/>
                  <a:pt x="3690" y="6828"/>
                  <a:pt x="3690" y="6828"/>
                </a:cubicBezTo>
                <a:cubicBezTo>
                  <a:pt x="3690" y="6828"/>
                  <a:pt x="3704" y="6866"/>
                  <a:pt x="3708" y="6864"/>
                </a:cubicBezTo>
                <a:close/>
                <a:moveTo>
                  <a:pt x="3703" y="6889"/>
                </a:moveTo>
                <a:cubicBezTo>
                  <a:pt x="3714" y="6890"/>
                  <a:pt x="3714" y="6890"/>
                  <a:pt x="3714" y="6890"/>
                </a:cubicBezTo>
                <a:cubicBezTo>
                  <a:pt x="3721" y="6912"/>
                  <a:pt x="3721" y="6912"/>
                  <a:pt x="3721" y="6912"/>
                </a:cubicBezTo>
                <a:cubicBezTo>
                  <a:pt x="3726" y="6892"/>
                  <a:pt x="3726" y="6892"/>
                  <a:pt x="3726" y="6892"/>
                </a:cubicBezTo>
                <a:cubicBezTo>
                  <a:pt x="3727" y="6876"/>
                  <a:pt x="3727" y="6876"/>
                  <a:pt x="3727" y="6876"/>
                </a:cubicBezTo>
                <a:cubicBezTo>
                  <a:pt x="3710" y="6871"/>
                  <a:pt x="3710" y="6871"/>
                  <a:pt x="3710" y="6871"/>
                </a:cubicBezTo>
                <a:lnTo>
                  <a:pt x="3703" y="6889"/>
                </a:lnTo>
                <a:close/>
                <a:moveTo>
                  <a:pt x="3756" y="6964"/>
                </a:moveTo>
                <a:cubicBezTo>
                  <a:pt x="3779" y="6985"/>
                  <a:pt x="3779" y="6985"/>
                  <a:pt x="3779" y="6985"/>
                </a:cubicBezTo>
                <a:cubicBezTo>
                  <a:pt x="3786" y="6978"/>
                  <a:pt x="3786" y="6978"/>
                  <a:pt x="3786" y="6978"/>
                </a:cubicBezTo>
                <a:cubicBezTo>
                  <a:pt x="3766" y="6955"/>
                  <a:pt x="3766" y="6955"/>
                  <a:pt x="3766" y="6955"/>
                </a:cubicBezTo>
                <a:lnTo>
                  <a:pt x="3756" y="6964"/>
                </a:lnTo>
                <a:close/>
                <a:moveTo>
                  <a:pt x="3828" y="6972"/>
                </a:moveTo>
                <a:cubicBezTo>
                  <a:pt x="3815" y="6959"/>
                  <a:pt x="3815" y="6959"/>
                  <a:pt x="3815" y="6959"/>
                </a:cubicBezTo>
                <a:cubicBezTo>
                  <a:pt x="3811" y="6981"/>
                  <a:pt x="3811" y="6981"/>
                  <a:pt x="3811" y="6981"/>
                </a:cubicBezTo>
                <a:cubicBezTo>
                  <a:pt x="3796" y="6985"/>
                  <a:pt x="3796" y="6985"/>
                  <a:pt x="3796" y="6985"/>
                </a:cubicBezTo>
                <a:cubicBezTo>
                  <a:pt x="3825" y="6997"/>
                  <a:pt x="3825" y="6997"/>
                  <a:pt x="3825" y="6997"/>
                </a:cubicBezTo>
                <a:lnTo>
                  <a:pt x="3828" y="6972"/>
                </a:lnTo>
                <a:close/>
                <a:moveTo>
                  <a:pt x="3802" y="6957"/>
                </a:moveTo>
                <a:cubicBezTo>
                  <a:pt x="3795" y="6951"/>
                  <a:pt x="3795" y="6951"/>
                  <a:pt x="3795" y="6951"/>
                </a:cubicBezTo>
                <a:cubicBezTo>
                  <a:pt x="3789" y="6961"/>
                  <a:pt x="3789" y="6961"/>
                  <a:pt x="3789" y="6961"/>
                </a:cubicBezTo>
                <a:cubicBezTo>
                  <a:pt x="3796" y="6970"/>
                  <a:pt x="3796" y="6970"/>
                  <a:pt x="3796" y="6970"/>
                </a:cubicBezTo>
                <a:lnTo>
                  <a:pt x="3802" y="6957"/>
                </a:lnTo>
                <a:close/>
                <a:moveTo>
                  <a:pt x="9720" y="140"/>
                </a:moveTo>
                <a:cubicBezTo>
                  <a:pt x="9720" y="148"/>
                  <a:pt x="9786" y="154"/>
                  <a:pt x="9786" y="154"/>
                </a:cubicBezTo>
                <a:cubicBezTo>
                  <a:pt x="9820" y="150"/>
                  <a:pt x="9820" y="150"/>
                  <a:pt x="9820" y="150"/>
                </a:cubicBezTo>
                <a:cubicBezTo>
                  <a:pt x="9858" y="164"/>
                  <a:pt x="9858" y="164"/>
                  <a:pt x="9858" y="164"/>
                </a:cubicBezTo>
                <a:cubicBezTo>
                  <a:pt x="9900" y="162"/>
                  <a:pt x="9900" y="162"/>
                  <a:pt x="9900" y="162"/>
                </a:cubicBezTo>
                <a:cubicBezTo>
                  <a:pt x="9894" y="144"/>
                  <a:pt x="9876" y="118"/>
                  <a:pt x="9858" y="120"/>
                </a:cubicBezTo>
                <a:cubicBezTo>
                  <a:pt x="9840" y="122"/>
                  <a:pt x="9822" y="134"/>
                  <a:pt x="9822" y="134"/>
                </a:cubicBezTo>
                <a:cubicBezTo>
                  <a:pt x="9808" y="118"/>
                  <a:pt x="9808" y="118"/>
                  <a:pt x="9808" y="118"/>
                </a:cubicBezTo>
                <a:cubicBezTo>
                  <a:pt x="9808" y="118"/>
                  <a:pt x="9720" y="132"/>
                  <a:pt x="9720" y="140"/>
                </a:cubicBezTo>
                <a:close/>
                <a:moveTo>
                  <a:pt x="9682" y="142"/>
                </a:moveTo>
                <a:cubicBezTo>
                  <a:pt x="9692" y="132"/>
                  <a:pt x="9692" y="132"/>
                  <a:pt x="9692" y="132"/>
                </a:cubicBezTo>
                <a:cubicBezTo>
                  <a:pt x="9632" y="132"/>
                  <a:pt x="9632" y="132"/>
                  <a:pt x="9632" y="132"/>
                </a:cubicBezTo>
                <a:lnTo>
                  <a:pt x="9682" y="142"/>
                </a:lnTo>
                <a:close/>
                <a:moveTo>
                  <a:pt x="9658" y="124"/>
                </a:moveTo>
                <a:cubicBezTo>
                  <a:pt x="9658" y="124"/>
                  <a:pt x="9714" y="128"/>
                  <a:pt x="9726" y="124"/>
                </a:cubicBezTo>
                <a:cubicBezTo>
                  <a:pt x="9738" y="120"/>
                  <a:pt x="9780" y="124"/>
                  <a:pt x="9772" y="108"/>
                </a:cubicBezTo>
                <a:cubicBezTo>
                  <a:pt x="9764" y="92"/>
                  <a:pt x="9690" y="70"/>
                  <a:pt x="9690" y="70"/>
                </a:cubicBezTo>
                <a:cubicBezTo>
                  <a:pt x="9690" y="70"/>
                  <a:pt x="9634" y="60"/>
                  <a:pt x="9632" y="80"/>
                </a:cubicBezTo>
                <a:cubicBezTo>
                  <a:pt x="9630" y="100"/>
                  <a:pt x="9658" y="124"/>
                  <a:pt x="9658" y="124"/>
                </a:cubicBezTo>
                <a:close/>
                <a:moveTo>
                  <a:pt x="10000" y="192"/>
                </a:moveTo>
                <a:cubicBezTo>
                  <a:pt x="10106" y="186"/>
                  <a:pt x="10106" y="186"/>
                  <a:pt x="10106" y="186"/>
                </a:cubicBezTo>
                <a:cubicBezTo>
                  <a:pt x="10078" y="170"/>
                  <a:pt x="10078" y="170"/>
                  <a:pt x="10078" y="170"/>
                </a:cubicBezTo>
                <a:cubicBezTo>
                  <a:pt x="10078" y="170"/>
                  <a:pt x="10040" y="150"/>
                  <a:pt x="10030" y="150"/>
                </a:cubicBezTo>
                <a:cubicBezTo>
                  <a:pt x="10020" y="150"/>
                  <a:pt x="10002" y="162"/>
                  <a:pt x="10002" y="162"/>
                </a:cubicBezTo>
                <a:cubicBezTo>
                  <a:pt x="10002" y="162"/>
                  <a:pt x="9996" y="134"/>
                  <a:pt x="9974" y="134"/>
                </a:cubicBezTo>
                <a:cubicBezTo>
                  <a:pt x="9952" y="134"/>
                  <a:pt x="9940" y="200"/>
                  <a:pt x="9940" y="200"/>
                </a:cubicBezTo>
                <a:cubicBezTo>
                  <a:pt x="9956" y="208"/>
                  <a:pt x="9956" y="208"/>
                  <a:pt x="9956" y="208"/>
                </a:cubicBezTo>
                <a:cubicBezTo>
                  <a:pt x="9974" y="204"/>
                  <a:pt x="10000" y="192"/>
                  <a:pt x="10000" y="192"/>
                </a:cubicBezTo>
                <a:close/>
                <a:moveTo>
                  <a:pt x="11360" y="338"/>
                </a:moveTo>
                <a:cubicBezTo>
                  <a:pt x="11370" y="320"/>
                  <a:pt x="11370" y="320"/>
                  <a:pt x="11370" y="320"/>
                </a:cubicBezTo>
                <a:cubicBezTo>
                  <a:pt x="11370" y="320"/>
                  <a:pt x="11396" y="320"/>
                  <a:pt x="11406" y="320"/>
                </a:cubicBezTo>
                <a:cubicBezTo>
                  <a:pt x="11416" y="320"/>
                  <a:pt x="11446" y="318"/>
                  <a:pt x="11446" y="318"/>
                </a:cubicBezTo>
                <a:cubicBezTo>
                  <a:pt x="11404" y="298"/>
                  <a:pt x="11404" y="298"/>
                  <a:pt x="11404" y="298"/>
                </a:cubicBezTo>
                <a:cubicBezTo>
                  <a:pt x="11412" y="284"/>
                  <a:pt x="11412" y="284"/>
                  <a:pt x="11412" y="284"/>
                </a:cubicBezTo>
                <a:cubicBezTo>
                  <a:pt x="11352" y="272"/>
                  <a:pt x="11352" y="272"/>
                  <a:pt x="11352" y="272"/>
                </a:cubicBezTo>
                <a:cubicBezTo>
                  <a:pt x="11362" y="290"/>
                  <a:pt x="11362" y="290"/>
                  <a:pt x="11362" y="290"/>
                </a:cubicBezTo>
                <a:cubicBezTo>
                  <a:pt x="11362" y="290"/>
                  <a:pt x="11240" y="250"/>
                  <a:pt x="11242" y="280"/>
                </a:cubicBezTo>
                <a:cubicBezTo>
                  <a:pt x="11244" y="310"/>
                  <a:pt x="11360" y="338"/>
                  <a:pt x="11360" y="338"/>
                </a:cubicBezTo>
                <a:close/>
                <a:moveTo>
                  <a:pt x="11226" y="294"/>
                </a:moveTo>
                <a:cubicBezTo>
                  <a:pt x="11190" y="282"/>
                  <a:pt x="11190" y="282"/>
                  <a:pt x="11190" y="282"/>
                </a:cubicBezTo>
                <a:cubicBezTo>
                  <a:pt x="11206" y="304"/>
                  <a:pt x="11206" y="304"/>
                  <a:pt x="11206" y="304"/>
                </a:cubicBezTo>
                <a:lnTo>
                  <a:pt x="11226" y="294"/>
                </a:lnTo>
                <a:close/>
                <a:moveTo>
                  <a:pt x="10490" y="348"/>
                </a:moveTo>
                <a:cubicBezTo>
                  <a:pt x="10522" y="354"/>
                  <a:pt x="10522" y="354"/>
                  <a:pt x="10522" y="354"/>
                </a:cubicBezTo>
                <a:cubicBezTo>
                  <a:pt x="10542" y="356"/>
                  <a:pt x="10562" y="344"/>
                  <a:pt x="10532" y="338"/>
                </a:cubicBezTo>
                <a:cubicBezTo>
                  <a:pt x="10502" y="332"/>
                  <a:pt x="10490" y="348"/>
                  <a:pt x="10490" y="348"/>
                </a:cubicBezTo>
                <a:close/>
                <a:moveTo>
                  <a:pt x="9502" y="405"/>
                </a:moveTo>
                <a:cubicBezTo>
                  <a:pt x="9477" y="388"/>
                  <a:pt x="9484" y="411"/>
                  <a:pt x="9484" y="411"/>
                </a:cubicBezTo>
                <a:cubicBezTo>
                  <a:pt x="9509" y="421"/>
                  <a:pt x="9527" y="422"/>
                  <a:pt x="9502" y="405"/>
                </a:cubicBezTo>
                <a:close/>
                <a:moveTo>
                  <a:pt x="8214" y="2309"/>
                </a:moveTo>
                <a:cubicBezTo>
                  <a:pt x="8215" y="2323"/>
                  <a:pt x="8242" y="2338"/>
                  <a:pt x="8249" y="2335"/>
                </a:cubicBezTo>
                <a:cubicBezTo>
                  <a:pt x="8256" y="2332"/>
                  <a:pt x="8274" y="2316"/>
                  <a:pt x="8274" y="2316"/>
                </a:cubicBezTo>
                <a:cubicBezTo>
                  <a:pt x="8274" y="2316"/>
                  <a:pt x="8290" y="2323"/>
                  <a:pt x="8293" y="2317"/>
                </a:cubicBezTo>
                <a:cubicBezTo>
                  <a:pt x="8297" y="2311"/>
                  <a:pt x="8290" y="2302"/>
                  <a:pt x="8290" y="2302"/>
                </a:cubicBezTo>
                <a:cubicBezTo>
                  <a:pt x="8311" y="2278"/>
                  <a:pt x="8311" y="2278"/>
                  <a:pt x="8311" y="2278"/>
                </a:cubicBezTo>
                <a:cubicBezTo>
                  <a:pt x="8284" y="2295"/>
                  <a:pt x="8284" y="2295"/>
                  <a:pt x="8284" y="2295"/>
                </a:cubicBezTo>
                <a:cubicBezTo>
                  <a:pt x="8284" y="2295"/>
                  <a:pt x="8260" y="2291"/>
                  <a:pt x="8251" y="2293"/>
                </a:cubicBezTo>
                <a:cubicBezTo>
                  <a:pt x="8242" y="2295"/>
                  <a:pt x="8245" y="2304"/>
                  <a:pt x="8245" y="2304"/>
                </a:cubicBezTo>
                <a:cubicBezTo>
                  <a:pt x="8245" y="2304"/>
                  <a:pt x="8213" y="2298"/>
                  <a:pt x="8214" y="2309"/>
                </a:cubicBezTo>
                <a:close/>
                <a:moveTo>
                  <a:pt x="7882" y="2054"/>
                </a:moveTo>
                <a:cubicBezTo>
                  <a:pt x="7896" y="2053"/>
                  <a:pt x="7896" y="2053"/>
                  <a:pt x="7896" y="2053"/>
                </a:cubicBezTo>
                <a:cubicBezTo>
                  <a:pt x="7899" y="2044"/>
                  <a:pt x="7899" y="2044"/>
                  <a:pt x="7899" y="2044"/>
                </a:cubicBezTo>
                <a:cubicBezTo>
                  <a:pt x="7879" y="2044"/>
                  <a:pt x="7879" y="2044"/>
                  <a:pt x="7879" y="2044"/>
                </a:cubicBezTo>
                <a:lnTo>
                  <a:pt x="7882" y="2054"/>
                </a:lnTo>
                <a:close/>
                <a:moveTo>
                  <a:pt x="7906" y="2035"/>
                </a:moveTo>
                <a:cubicBezTo>
                  <a:pt x="7909" y="2044"/>
                  <a:pt x="7919" y="2050"/>
                  <a:pt x="7918" y="2034"/>
                </a:cubicBezTo>
                <a:cubicBezTo>
                  <a:pt x="7917" y="2018"/>
                  <a:pt x="7906" y="2035"/>
                  <a:pt x="7906" y="2035"/>
                </a:cubicBezTo>
                <a:close/>
                <a:moveTo>
                  <a:pt x="9198" y="400"/>
                </a:moveTo>
                <a:cubicBezTo>
                  <a:pt x="9231" y="392"/>
                  <a:pt x="9220" y="382"/>
                  <a:pt x="9212" y="378"/>
                </a:cubicBezTo>
                <a:cubicBezTo>
                  <a:pt x="9204" y="374"/>
                  <a:pt x="9174" y="378"/>
                  <a:pt x="9174" y="378"/>
                </a:cubicBezTo>
                <a:cubicBezTo>
                  <a:pt x="9174" y="378"/>
                  <a:pt x="9180" y="404"/>
                  <a:pt x="9198" y="400"/>
                </a:cubicBezTo>
                <a:close/>
                <a:moveTo>
                  <a:pt x="9474" y="423"/>
                </a:moveTo>
                <a:cubicBezTo>
                  <a:pt x="9453" y="418"/>
                  <a:pt x="9453" y="418"/>
                  <a:pt x="9453" y="418"/>
                </a:cubicBezTo>
                <a:cubicBezTo>
                  <a:pt x="9436" y="432"/>
                  <a:pt x="9436" y="432"/>
                  <a:pt x="9436" y="432"/>
                </a:cubicBezTo>
                <a:cubicBezTo>
                  <a:pt x="9462" y="439"/>
                  <a:pt x="9462" y="439"/>
                  <a:pt x="9462" y="439"/>
                </a:cubicBezTo>
                <a:lnTo>
                  <a:pt x="9474" y="423"/>
                </a:lnTo>
                <a:close/>
                <a:moveTo>
                  <a:pt x="7942" y="2021"/>
                </a:moveTo>
                <a:cubicBezTo>
                  <a:pt x="7924" y="2021"/>
                  <a:pt x="7924" y="2021"/>
                  <a:pt x="7924" y="2021"/>
                </a:cubicBezTo>
                <a:cubicBezTo>
                  <a:pt x="7924" y="2042"/>
                  <a:pt x="7924" y="2042"/>
                  <a:pt x="7924" y="2042"/>
                </a:cubicBezTo>
                <a:cubicBezTo>
                  <a:pt x="7931" y="2029"/>
                  <a:pt x="7931" y="2029"/>
                  <a:pt x="7931" y="2029"/>
                </a:cubicBezTo>
                <a:lnTo>
                  <a:pt x="7942" y="2021"/>
                </a:lnTo>
                <a:close/>
                <a:moveTo>
                  <a:pt x="11466" y="312"/>
                </a:moveTo>
                <a:cubicBezTo>
                  <a:pt x="11504" y="316"/>
                  <a:pt x="11504" y="316"/>
                  <a:pt x="11504" y="316"/>
                </a:cubicBezTo>
                <a:cubicBezTo>
                  <a:pt x="11514" y="306"/>
                  <a:pt x="11512" y="294"/>
                  <a:pt x="11494" y="294"/>
                </a:cubicBezTo>
                <a:cubicBezTo>
                  <a:pt x="11476" y="294"/>
                  <a:pt x="11416" y="280"/>
                  <a:pt x="11424" y="292"/>
                </a:cubicBezTo>
                <a:cubicBezTo>
                  <a:pt x="11432" y="304"/>
                  <a:pt x="11466" y="312"/>
                  <a:pt x="11466" y="312"/>
                </a:cubicBezTo>
                <a:close/>
                <a:moveTo>
                  <a:pt x="12678" y="554"/>
                </a:moveTo>
                <a:cubicBezTo>
                  <a:pt x="12686" y="544"/>
                  <a:pt x="12612" y="534"/>
                  <a:pt x="12612" y="534"/>
                </a:cubicBezTo>
                <a:cubicBezTo>
                  <a:pt x="12612" y="542"/>
                  <a:pt x="12670" y="564"/>
                  <a:pt x="12678" y="554"/>
                </a:cubicBezTo>
                <a:close/>
                <a:moveTo>
                  <a:pt x="11426" y="348"/>
                </a:moveTo>
                <a:cubicBezTo>
                  <a:pt x="11400" y="374"/>
                  <a:pt x="11456" y="372"/>
                  <a:pt x="11464" y="362"/>
                </a:cubicBezTo>
                <a:cubicBezTo>
                  <a:pt x="11472" y="352"/>
                  <a:pt x="11433" y="341"/>
                  <a:pt x="11426" y="348"/>
                </a:cubicBezTo>
                <a:close/>
                <a:moveTo>
                  <a:pt x="13194" y="1684"/>
                </a:moveTo>
                <a:cubicBezTo>
                  <a:pt x="13195" y="1663"/>
                  <a:pt x="13195" y="1663"/>
                  <a:pt x="13195" y="1663"/>
                </a:cubicBezTo>
                <a:cubicBezTo>
                  <a:pt x="13186" y="1680"/>
                  <a:pt x="13186" y="1680"/>
                  <a:pt x="13186" y="1680"/>
                </a:cubicBezTo>
                <a:lnTo>
                  <a:pt x="13194" y="1684"/>
                </a:lnTo>
                <a:close/>
                <a:moveTo>
                  <a:pt x="13193" y="1621"/>
                </a:moveTo>
                <a:cubicBezTo>
                  <a:pt x="13205" y="1619"/>
                  <a:pt x="13205" y="1619"/>
                  <a:pt x="13205" y="1619"/>
                </a:cubicBezTo>
                <a:cubicBezTo>
                  <a:pt x="13193" y="1607"/>
                  <a:pt x="13193" y="1607"/>
                  <a:pt x="13193" y="1607"/>
                </a:cubicBezTo>
                <a:lnTo>
                  <a:pt x="13193" y="1621"/>
                </a:lnTo>
                <a:close/>
                <a:moveTo>
                  <a:pt x="11925" y="3120"/>
                </a:moveTo>
                <a:cubicBezTo>
                  <a:pt x="11911" y="3110"/>
                  <a:pt x="11863" y="3116"/>
                  <a:pt x="11863" y="3116"/>
                </a:cubicBezTo>
                <a:cubicBezTo>
                  <a:pt x="11859" y="3128"/>
                  <a:pt x="11859" y="3128"/>
                  <a:pt x="11859" y="3128"/>
                </a:cubicBezTo>
                <a:cubicBezTo>
                  <a:pt x="11848" y="3122"/>
                  <a:pt x="11848" y="3122"/>
                  <a:pt x="11848" y="3122"/>
                </a:cubicBezTo>
                <a:cubicBezTo>
                  <a:pt x="11842" y="3139"/>
                  <a:pt x="11842" y="3139"/>
                  <a:pt x="11842" y="3139"/>
                </a:cubicBezTo>
                <a:cubicBezTo>
                  <a:pt x="11842" y="3139"/>
                  <a:pt x="11812" y="3162"/>
                  <a:pt x="11831" y="3186"/>
                </a:cubicBezTo>
                <a:cubicBezTo>
                  <a:pt x="11851" y="3209"/>
                  <a:pt x="11864" y="3209"/>
                  <a:pt x="11864" y="3209"/>
                </a:cubicBezTo>
                <a:cubicBezTo>
                  <a:pt x="11920" y="3208"/>
                  <a:pt x="11916" y="3191"/>
                  <a:pt x="11918" y="3184"/>
                </a:cubicBezTo>
                <a:cubicBezTo>
                  <a:pt x="11919" y="3178"/>
                  <a:pt x="11915" y="3163"/>
                  <a:pt x="11915" y="3163"/>
                </a:cubicBezTo>
                <a:cubicBezTo>
                  <a:pt x="11915" y="3163"/>
                  <a:pt x="11940" y="3131"/>
                  <a:pt x="11925" y="3120"/>
                </a:cubicBezTo>
                <a:close/>
                <a:moveTo>
                  <a:pt x="11975" y="3291"/>
                </a:moveTo>
                <a:cubicBezTo>
                  <a:pt x="11959" y="3291"/>
                  <a:pt x="11970" y="3309"/>
                  <a:pt x="11970" y="3309"/>
                </a:cubicBezTo>
                <a:cubicBezTo>
                  <a:pt x="11982" y="3309"/>
                  <a:pt x="11991" y="3291"/>
                  <a:pt x="11975" y="3291"/>
                </a:cubicBezTo>
                <a:close/>
                <a:moveTo>
                  <a:pt x="13029" y="2240"/>
                </a:moveTo>
                <a:cubicBezTo>
                  <a:pt x="13030" y="2226"/>
                  <a:pt x="13031" y="2200"/>
                  <a:pt x="13025" y="2188"/>
                </a:cubicBezTo>
                <a:cubicBezTo>
                  <a:pt x="13019" y="2176"/>
                  <a:pt x="12995" y="2159"/>
                  <a:pt x="12998" y="2142"/>
                </a:cubicBezTo>
                <a:cubicBezTo>
                  <a:pt x="13001" y="2125"/>
                  <a:pt x="13017" y="2130"/>
                  <a:pt x="13017" y="2130"/>
                </a:cubicBezTo>
                <a:cubicBezTo>
                  <a:pt x="13014" y="2103"/>
                  <a:pt x="13014" y="2103"/>
                  <a:pt x="13014" y="2103"/>
                </a:cubicBezTo>
                <a:cubicBezTo>
                  <a:pt x="13006" y="2097"/>
                  <a:pt x="13006" y="2097"/>
                  <a:pt x="13006" y="2097"/>
                </a:cubicBezTo>
                <a:cubicBezTo>
                  <a:pt x="13016" y="2090"/>
                  <a:pt x="13016" y="2090"/>
                  <a:pt x="13016" y="2090"/>
                </a:cubicBezTo>
                <a:cubicBezTo>
                  <a:pt x="13016" y="2090"/>
                  <a:pt x="13011" y="2072"/>
                  <a:pt x="13007" y="2062"/>
                </a:cubicBezTo>
                <a:cubicBezTo>
                  <a:pt x="13003" y="2052"/>
                  <a:pt x="12989" y="2044"/>
                  <a:pt x="12989" y="2044"/>
                </a:cubicBezTo>
                <a:cubicBezTo>
                  <a:pt x="12985" y="2031"/>
                  <a:pt x="12985" y="2031"/>
                  <a:pt x="12985" y="2031"/>
                </a:cubicBezTo>
                <a:cubicBezTo>
                  <a:pt x="12985" y="2031"/>
                  <a:pt x="12970" y="2024"/>
                  <a:pt x="12961" y="2017"/>
                </a:cubicBezTo>
                <a:cubicBezTo>
                  <a:pt x="12952" y="2010"/>
                  <a:pt x="12937" y="1994"/>
                  <a:pt x="12937" y="1985"/>
                </a:cubicBezTo>
                <a:cubicBezTo>
                  <a:pt x="12937" y="1976"/>
                  <a:pt x="12934" y="1972"/>
                  <a:pt x="12934" y="1972"/>
                </a:cubicBezTo>
                <a:cubicBezTo>
                  <a:pt x="12934" y="1972"/>
                  <a:pt x="12911" y="1955"/>
                  <a:pt x="12908" y="1967"/>
                </a:cubicBezTo>
                <a:cubicBezTo>
                  <a:pt x="12905" y="1979"/>
                  <a:pt x="12917" y="1982"/>
                  <a:pt x="12917" y="1982"/>
                </a:cubicBezTo>
                <a:cubicBezTo>
                  <a:pt x="12924" y="1978"/>
                  <a:pt x="12924" y="1978"/>
                  <a:pt x="12924" y="1978"/>
                </a:cubicBezTo>
                <a:cubicBezTo>
                  <a:pt x="12924" y="1978"/>
                  <a:pt x="12932" y="1997"/>
                  <a:pt x="12928" y="1997"/>
                </a:cubicBezTo>
                <a:cubicBezTo>
                  <a:pt x="12924" y="1997"/>
                  <a:pt x="12919" y="1990"/>
                  <a:pt x="12919" y="1990"/>
                </a:cubicBezTo>
                <a:cubicBezTo>
                  <a:pt x="12910" y="1999"/>
                  <a:pt x="12910" y="1999"/>
                  <a:pt x="12910" y="1999"/>
                </a:cubicBezTo>
                <a:cubicBezTo>
                  <a:pt x="12897" y="1978"/>
                  <a:pt x="12897" y="1978"/>
                  <a:pt x="12897" y="1978"/>
                </a:cubicBezTo>
                <a:cubicBezTo>
                  <a:pt x="12885" y="1978"/>
                  <a:pt x="12885" y="1978"/>
                  <a:pt x="12885" y="1978"/>
                </a:cubicBezTo>
                <a:cubicBezTo>
                  <a:pt x="12899" y="2002"/>
                  <a:pt x="12899" y="2002"/>
                  <a:pt x="12899" y="2002"/>
                </a:cubicBezTo>
                <a:cubicBezTo>
                  <a:pt x="12887" y="2005"/>
                  <a:pt x="12887" y="2005"/>
                  <a:pt x="12887" y="2005"/>
                </a:cubicBezTo>
                <a:cubicBezTo>
                  <a:pt x="12906" y="2037"/>
                  <a:pt x="12906" y="2037"/>
                  <a:pt x="12906" y="2037"/>
                </a:cubicBezTo>
                <a:cubicBezTo>
                  <a:pt x="12899" y="2045"/>
                  <a:pt x="12899" y="2045"/>
                  <a:pt x="12899" y="2045"/>
                </a:cubicBezTo>
                <a:cubicBezTo>
                  <a:pt x="12899" y="2045"/>
                  <a:pt x="12935" y="2063"/>
                  <a:pt x="12933" y="2078"/>
                </a:cubicBezTo>
                <a:cubicBezTo>
                  <a:pt x="12931" y="2093"/>
                  <a:pt x="12925" y="2114"/>
                  <a:pt x="12925" y="2114"/>
                </a:cubicBezTo>
                <a:cubicBezTo>
                  <a:pt x="12923" y="2132"/>
                  <a:pt x="12923" y="2132"/>
                  <a:pt x="12923" y="2132"/>
                </a:cubicBezTo>
                <a:cubicBezTo>
                  <a:pt x="12923" y="2132"/>
                  <a:pt x="12944" y="2145"/>
                  <a:pt x="12934" y="2152"/>
                </a:cubicBezTo>
                <a:cubicBezTo>
                  <a:pt x="12924" y="2159"/>
                  <a:pt x="12916" y="2155"/>
                  <a:pt x="12916" y="2155"/>
                </a:cubicBezTo>
                <a:cubicBezTo>
                  <a:pt x="12916" y="2155"/>
                  <a:pt x="12923" y="2185"/>
                  <a:pt x="12912" y="2191"/>
                </a:cubicBezTo>
                <a:cubicBezTo>
                  <a:pt x="12901" y="2197"/>
                  <a:pt x="12878" y="2205"/>
                  <a:pt x="12878" y="2205"/>
                </a:cubicBezTo>
                <a:cubicBezTo>
                  <a:pt x="12878" y="2214"/>
                  <a:pt x="12878" y="2214"/>
                  <a:pt x="12878" y="2214"/>
                </a:cubicBezTo>
                <a:cubicBezTo>
                  <a:pt x="12878" y="2214"/>
                  <a:pt x="12867" y="2218"/>
                  <a:pt x="12858" y="2208"/>
                </a:cubicBezTo>
                <a:cubicBezTo>
                  <a:pt x="12849" y="2198"/>
                  <a:pt x="12852" y="2189"/>
                  <a:pt x="12852" y="2189"/>
                </a:cubicBezTo>
                <a:cubicBezTo>
                  <a:pt x="12855" y="2176"/>
                  <a:pt x="12855" y="2176"/>
                  <a:pt x="12855" y="2176"/>
                </a:cubicBezTo>
                <a:cubicBezTo>
                  <a:pt x="12855" y="2176"/>
                  <a:pt x="12829" y="2181"/>
                  <a:pt x="12833" y="2191"/>
                </a:cubicBezTo>
                <a:cubicBezTo>
                  <a:pt x="12837" y="2201"/>
                  <a:pt x="12850" y="2215"/>
                  <a:pt x="12848" y="2222"/>
                </a:cubicBezTo>
                <a:cubicBezTo>
                  <a:pt x="12846" y="2229"/>
                  <a:pt x="12832" y="2245"/>
                  <a:pt x="12836" y="2255"/>
                </a:cubicBezTo>
                <a:cubicBezTo>
                  <a:pt x="12840" y="2265"/>
                  <a:pt x="12853" y="2280"/>
                  <a:pt x="12843" y="2281"/>
                </a:cubicBezTo>
                <a:cubicBezTo>
                  <a:pt x="12833" y="2282"/>
                  <a:pt x="12807" y="2270"/>
                  <a:pt x="12798" y="2271"/>
                </a:cubicBezTo>
                <a:cubicBezTo>
                  <a:pt x="12789" y="2272"/>
                  <a:pt x="12750" y="2287"/>
                  <a:pt x="12747" y="2287"/>
                </a:cubicBezTo>
                <a:cubicBezTo>
                  <a:pt x="12744" y="2287"/>
                  <a:pt x="12728" y="2287"/>
                  <a:pt x="12728" y="2287"/>
                </a:cubicBezTo>
                <a:cubicBezTo>
                  <a:pt x="12720" y="2279"/>
                  <a:pt x="12720" y="2279"/>
                  <a:pt x="12720" y="2279"/>
                </a:cubicBezTo>
                <a:cubicBezTo>
                  <a:pt x="12698" y="2296"/>
                  <a:pt x="12698" y="2296"/>
                  <a:pt x="12698" y="2296"/>
                </a:cubicBezTo>
                <a:cubicBezTo>
                  <a:pt x="12698" y="2296"/>
                  <a:pt x="12671" y="2341"/>
                  <a:pt x="12667" y="2341"/>
                </a:cubicBezTo>
                <a:cubicBezTo>
                  <a:pt x="12663" y="2341"/>
                  <a:pt x="12648" y="2342"/>
                  <a:pt x="12648" y="2342"/>
                </a:cubicBezTo>
                <a:cubicBezTo>
                  <a:pt x="12648" y="2342"/>
                  <a:pt x="12653" y="2366"/>
                  <a:pt x="12660" y="2366"/>
                </a:cubicBezTo>
                <a:cubicBezTo>
                  <a:pt x="12667" y="2366"/>
                  <a:pt x="12679" y="2362"/>
                  <a:pt x="12679" y="2362"/>
                </a:cubicBezTo>
                <a:cubicBezTo>
                  <a:pt x="12679" y="2362"/>
                  <a:pt x="12698" y="2373"/>
                  <a:pt x="12703" y="2371"/>
                </a:cubicBezTo>
                <a:cubicBezTo>
                  <a:pt x="12708" y="2369"/>
                  <a:pt x="12710" y="2348"/>
                  <a:pt x="12710" y="2348"/>
                </a:cubicBezTo>
                <a:cubicBezTo>
                  <a:pt x="12725" y="2356"/>
                  <a:pt x="12725" y="2356"/>
                  <a:pt x="12725" y="2356"/>
                </a:cubicBezTo>
                <a:cubicBezTo>
                  <a:pt x="12725" y="2356"/>
                  <a:pt x="12759" y="2339"/>
                  <a:pt x="12764" y="2336"/>
                </a:cubicBezTo>
                <a:cubicBezTo>
                  <a:pt x="12769" y="2333"/>
                  <a:pt x="12782" y="2342"/>
                  <a:pt x="12790" y="2341"/>
                </a:cubicBezTo>
                <a:cubicBezTo>
                  <a:pt x="12798" y="2340"/>
                  <a:pt x="12783" y="2325"/>
                  <a:pt x="12800" y="2325"/>
                </a:cubicBezTo>
                <a:cubicBezTo>
                  <a:pt x="12817" y="2325"/>
                  <a:pt x="12821" y="2334"/>
                  <a:pt x="12821" y="2334"/>
                </a:cubicBezTo>
                <a:cubicBezTo>
                  <a:pt x="12821" y="2334"/>
                  <a:pt x="12841" y="2321"/>
                  <a:pt x="12845" y="2329"/>
                </a:cubicBezTo>
                <a:cubicBezTo>
                  <a:pt x="12849" y="2337"/>
                  <a:pt x="12836" y="2356"/>
                  <a:pt x="12836" y="2356"/>
                </a:cubicBezTo>
                <a:cubicBezTo>
                  <a:pt x="12836" y="2356"/>
                  <a:pt x="12856" y="2395"/>
                  <a:pt x="12876" y="2395"/>
                </a:cubicBezTo>
                <a:cubicBezTo>
                  <a:pt x="12896" y="2395"/>
                  <a:pt x="12894" y="2357"/>
                  <a:pt x="12894" y="2357"/>
                </a:cubicBezTo>
                <a:cubicBezTo>
                  <a:pt x="12916" y="2353"/>
                  <a:pt x="12916" y="2353"/>
                  <a:pt x="12916" y="2353"/>
                </a:cubicBezTo>
                <a:cubicBezTo>
                  <a:pt x="12916" y="2353"/>
                  <a:pt x="12899" y="2333"/>
                  <a:pt x="12896" y="2332"/>
                </a:cubicBezTo>
                <a:cubicBezTo>
                  <a:pt x="12893" y="2331"/>
                  <a:pt x="12884" y="2324"/>
                  <a:pt x="12884" y="2324"/>
                </a:cubicBezTo>
                <a:cubicBezTo>
                  <a:pt x="12895" y="2309"/>
                  <a:pt x="12895" y="2309"/>
                  <a:pt x="12895" y="2309"/>
                </a:cubicBezTo>
                <a:cubicBezTo>
                  <a:pt x="12904" y="2308"/>
                  <a:pt x="12898" y="2322"/>
                  <a:pt x="12908" y="2322"/>
                </a:cubicBezTo>
                <a:cubicBezTo>
                  <a:pt x="12918" y="2322"/>
                  <a:pt x="12921" y="2335"/>
                  <a:pt x="12921" y="2335"/>
                </a:cubicBezTo>
                <a:cubicBezTo>
                  <a:pt x="12933" y="2326"/>
                  <a:pt x="12933" y="2326"/>
                  <a:pt x="12933" y="2326"/>
                </a:cubicBezTo>
                <a:cubicBezTo>
                  <a:pt x="12933" y="2326"/>
                  <a:pt x="12948" y="2334"/>
                  <a:pt x="12963" y="2330"/>
                </a:cubicBezTo>
                <a:cubicBezTo>
                  <a:pt x="12978" y="2326"/>
                  <a:pt x="12960" y="2305"/>
                  <a:pt x="12977" y="2307"/>
                </a:cubicBezTo>
                <a:cubicBezTo>
                  <a:pt x="12994" y="2309"/>
                  <a:pt x="12985" y="2337"/>
                  <a:pt x="12996" y="2331"/>
                </a:cubicBezTo>
                <a:cubicBezTo>
                  <a:pt x="13007" y="2325"/>
                  <a:pt x="12989" y="2302"/>
                  <a:pt x="12997" y="2297"/>
                </a:cubicBezTo>
                <a:cubicBezTo>
                  <a:pt x="13005" y="2292"/>
                  <a:pt x="13010" y="2294"/>
                  <a:pt x="13010" y="2294"/>
                </a:cubicBezTo>
                <a:cubicBezTo>
                  <a:pt x="13010" y="2294"/>
                  <a:pt x="13012" y="2263"/>
                  <a:pt x="13024" y="2275"/>
                </a:cubicBezTo>
                <a:cubicBezTo>
                  <a:pt x="13036" y="2287"/>
                  <a:pt x="13017" y="2312"/>
                  <a:pt x="13037" y="2311"/>
                </a:cubicBezTo>
                <a:cubicBezTo>
                  <a:pt x="13057" y="2310"/>
                  <a:pt x="13047" y="2279"/>
                  <a:pt x="13047" y="2279"/>
                </a:cubicBezTo>
                <a:cubicBezTo>
                  <a:pt x="13060" y="2272"/>
                  <a:pt x="13060" y="2272"/>
                  <a:pt x="13060" y="2272"/>
                </a:cubicBezTo>
                <a:cubicBezTo>
                  <a:pt x="13060" y="2272"/>
                  <a:pt x="13028" y="2254"/>
                  <a:pt x="13029" y="2240"/>
                </a:cubicBezTo>
                <a:close/>
                <a:moveTo>
                  <a:pt x="13208" y="1561"/>
                </a:moveTo>
                <a:cubicBezTo>
                  <a:pt x="13219" y="1547"/>
                  <a:pt x="13219" y="1547"/>
                  <a:pt x="13219" y="1547"/>
                </a:cubicBezTo>
                <a:cubicBezTo>
                  <a:pt x="13202" y="1533"/>
                  <a:pt x="13202" y="1533"/>
                  <a:pt x="13202" y="1533"/>
                </a:cubicBezTo>
                <a:lnTo>
                  <a:pt x="13208" y="1561"/>
                </a:lnTo>
                <a:close/>
                <a:moveTo>
                  <a:pt x="13141" y="1745"/>
                </a:moveTo>
                <a:cubicBezTo>
                  <a:pt x="13152" y="1749"/>
                  <a:pt x="13162" y="1723"/>
                  <a:pt x="13152" y="1720"/>
                </a:cubicBezTo>
                <a:cubicBezTo>
                  <a:pt x="13143" y="1718"/>
                  <a:pt x="13133" y="1742"/>
                  <a:pt x="13141" y="1745"/>
                </a:cubicBezTo>
                <a:close/>
                <a:moveTo>
                  <a:pt x="11702" y="332"/>
                </a:moveTo>
                <a:cubicBezTo>
                  <a:pt x="11730" y="318"/>
                  <a:pt x="11634" y="318"/>
                  <a:pt x="11634" y="318"/>
                </a:cubicBezTo>
                <a:cubicBezTo>
                  <a:pt x="11634" y="318"/>
                  <a:pt x="11614" y="300"/>
                  <a:pt x="11606" y="300"/>
                </a:cubicBezTo>
                <a:cubicBezTo>
                  <a:pt x="11598" y="300"/>
                  <a:pt x="11574" y="304"/>
                  <a:pt x="11574" y="304"/>
                </a:cubicBezTo>
                <a:cubicBezTo>
                  <a:pt x="11550" y="302"/>
                  <a:pt x="11550" y="302"/>
                  <a:pt x="11550" y="302"/>
                </a:cubicBezTo>
                <a:cubicBezTo>
                  <a:pt x="11574" y="318"/>
                  <a:pt x="11574" y="318"/>
                  <a:pt x="11574" y="318"/>
                </a:cubicBezTo>
                <a:cubicBezTo>
                  <a:pt x="11574" y="318"/>
                  <a:pt x="11674" y="346"/>
                  <a:pt x="11702" y="332"/>
                </a:cubicBezTo>
                <a:close/>
                <a:moveTo>
                  <a:pt x="7946" y="2117"/>
                </a:moveTo>
                <a:cubicBezTo>
                  <a:pt x="7942" y="2113"/>
                  <a:pt x="7940" y="2135"/>
                  <a:pt x="7946" y="2145"/>
                </a:cubicBezTo>
                <a:cubicBezTo>
                  <a:pt x="7951" y="2154"/>
                  <a:pt x="7958" y="2136"/>
                  <a:pt x="7960" y="2132"/>
                </a:cubicBezTo>
                <a:cubicBezTo>
                  <a:pt x="7962" y="2128"/>
                  <a:pt x="7950" y="2121"/>
                  <a:pt x="7946" y="2117"/>
                </a:cubicBezTo>
                <a:close/>
                <a:moveTo>
                  <a:pt x="11994" y="3265"/>
                </a:moveTo>
                <a:cubicBezTo>
                  <a:pt x="11987" y="3273"/>
                  <a:pt x="12006" y="3283"/>
                  <a:pt x="12006" y="3283"/>
                </a:cubicBezTo>
                <a:cubicBezTo>
                  <a:pt x="12017" y="3278"/>
                  <a:pt x="12017" y="3278"/>
                  <a:pt x="12017" y="3278"/>
                </a:cubicBezTo>
                <a:cubicBezTo>
                  <a:pt x="12017" y="3278"/>
                  <a:pt x="12000" y="3257"/>
                  <a:pt x="11994" y="3265"/>
                </a:cubicBezTo>
                <a:close/>
                <a:moveTo>
                  <a:pt x="11464" y="390"/>
                </a:moveTo>
                <a:cubicBezTo>
                  <a:pt x="11512" y="384"/>
                  <a:pt x="11512" y="384"/>
                  <a:pt x="11512" y="384"/>
                </a:cubicBezTo>
                <a:cubicBezTo>
                  <a:pt x="11584" y="394"/>
                  <a:pt x="11584" y="394"/>
                  <a:pt x="11584" y="394"/>
                </a:cubicBezTo>
                <a:cubicBezTo>
                  <a:pt x="11584" y="394"/>
                  <a:pt x="11562" y="370"/>
                  <a:pt x="11546" y="366"/>
                </a:cubicBezTo>
                <a:cubicBezTo>
                  <a:pt x="11530" y="362"/>
                  <a:pt x="11474" y="370"/>
                  <a:pt x="11474" y="370"/>
                </a:cubicBezTo>
                <a:lnTo>
                  <a:pt x="11464" y="390"/>
                </a:lnTo>
                <a:close/>
                <a:moveTo>
                  <a:pt x="13118" y="1086"/>
                </a:moveTo>
                <a:cubicBezTo>
                  <a:pt x="13138" y="1062"/>
                  <a:pt x="13138" y="1062"/>
                  <a:pt x="13138" y="1062"/>
                </a:cubicBezTo>
                <a:cubicBezTo>
                  <a:pt x="13130" y="1048"/>
                  <a:pt x="13130" y="1048"/>
                  <a:pt x="13130" y="1048"/>
                </a:cubicBezTo>
                <a:cubicBezTo>
                  <a:pt x="13106" y="1062"/>
                  <a:pt x="13106" y="1062"/>
                  <a:pt x="13106" y="1062"/>
                </a:cubicBezTo>
                <a:lnTo>
                  <a:pt x="13118" y="1086"/>
                </a:lnTo>
                <a:close/>
                <a:moveTo>
                  <a:pt x="12936" y="502"/>
                </a:moveTo>
                <a:cubicBezTo>
                  <a:pt x="12948" y="498"/>
                  <a:pt x="12966" y="496"/>
                  <a:pt x="12992" y="496"/>
                </a:cubicBezTo>
                <a:cubicBezTo>
                  <a:pt x="13018" y="496"/>
                  <a:pt x="13022" y="480"/>
                  <a:pt x="13004" y="478"/>
                </a:cubicBezTo>
                <a:cubicBezTo>
                  <a:pt x="12986" y="476"/>
                  <a:pt x="12954" y="464"/>
                  <a:pt x="12942" y="464"/>
                </a:cubicBezTo>
                <a:cubicBezTo>
                  <a:pt x="12930" y="464"/>
                  <a:pt x="12902" y="464"/>
                  <a:pt x="12902" y="486"/>
                </a:cubicBezTo>
                <a:cubicBezTo>
                  <a:pt x="12902" y="510"/>
                  <a:pt x="12924" y="506"/>
                  <a:pt x="12936" y="502"/>
                </a:cubicBezTo>
                <a:close/>
                <a:moveTo>
                  <a:pt x="13197" y="1517"/>
                </a:moveTo>
                <a:cubicBezTo>
                  <a:pt x="13213" y="1515"/>
                  <a:pt x="13213" y="1515"/>
                  <a:pt x="13213" y="1515"/>
                </a:cubicBezTo>
                <a:cubicBezTo>
                  <a:pt x="13222" y="1504"/>
                  <a:pt x="13222" y="1504"/>
                  <a:pt x="13222" y="1504"/>
                </a:cubicBezTo>
                <a:cubicBezTo>
                  <a:pt x="13213" y="1485"/>
                  <a:pt x="13213" y="1485"/>
                  <a:pt x="13213" y="1485"/>
                </a:cubicBezTo>
                <a:cubicBezTo>
                  <a:pt x="13223" y="1483"/>
                  <a:pt x="13223" y="1483"/>
                  <a:pt x="13223" y="1483"/>
                </a:cubicBezTo>
                <a:cubicBezTo>
                  <a:pt x="13213" y="1471"/>
                  <a:pt x="13213" y="1471"/>
                  <a:pt x="13213" y="1471"/>
                </a:cubicBezTo>
                <a:cubicBezTo>
                  <a:pt x="13201" y="1482"/>
                  <a:pt x="13201" y="1482"/>
                  <a:pt x="13201" y="1482"/>
                </a:cubicBezTo>
                <a:cubicBezTo>
                  <a:pt x="13209" y="1497"/>
                  <a:pt x="13209" y="1497"/>
                  <a:pt x="13209" y="1497"/>
                </a:cubicBezTo>
                <a:cubicBezTo>
                  <a:pt x="13197" y="1497"/>
                  <a:pt x="13197" y="1497"/>
                  <a:pt x="13197" y="1497"/>
                </a:cubicBezTo>
                <a:lnTo>
                  <a:pt x="13197" y="1517"/>
                </a:lnTo>
                <a:close/>
                <a:moveTo>
                  <a:pt x="12365" y="2831"/>
                </a:moveTo>
                <a:cubicBezTo>
                  <a:pt x="12348" y="2851"/>
                  <a:pt x="12348" y="2851"/>
                  <a:pt x="12348" y="2851"/>
                </a:cubicBezTo>
                <a:cubicBezTo>
                  <a:pt x="12348" y="2851"/>
                  <a:pt x="12309" y="2933"/>
                  <a:pt x="12317" y="2945"/>
                </a:cubicBezTo>
                <a:cubicBezTo>
                  <a:pt x="12325" y="2957"/>
                  <a:pt x="12343" y="2978"/>
                  <a:pt x="12343" y="2978"/>
                </a:cubicBezTo>
                <a:cubicBezTo>
                  <a:pt x="12343" y="2978"/>
                  <a:pt x="12356" y="3012"/>
                  <a:pt x="12371" y="3012"/>
                </a:cubicBezTo>
                <a:cubicBezTo>
                  <a:pt x="12371" y="2979"/>
                  <a:pt x="12371" y="2979"/>
                  <a:pt x="12371" y="2979"/>
                </a:cubicBezTo>
                <a:cubicBezTo>
                  <a:pt x="12371" y="2979"/>
                  <a:pt x="12384" y="2970"/>
                  <a:pt x="12384" y="2949"/>
                </a:cubicBezTo>
                <a:cubicBezTo>
                  <a:pt x="12384" y="2928"/>
                  <a:pt x="12384" y="2899"/>
                  <a:pt x="12384" y="2899"/>
                </a:cubicBezTo>
                <a:cubicBezTo>
                  <a:pt x="12384" y="2899"/>
                  <a:pt x="12394" y="2886"/>
                  <a:pt x="12393" y="2874"/>
                </a:cubicBezTo>
                <a:cubicBezTo>
                  <a:pt x="12392" y="2862"/>
                  <a:pt x="12394" y="2848"/>
                  <a:pt x="12394" y="2848"/>
                </a:cubicBezTo>
                <a:lnTo>
                  <a:pt x="12365" y="2831"/>
                </a:lnTo>
                <a:close/>
                <a:moveTo>
                  <a:pt x="12652" y="2434"/>
                </a:moveTo>
                <a:cubicBezTo>
                  <a:pt x="12641" y="2459"/>
                  <a:pt x="12641" y="2459"/>
                  <a:pt x="12641" y="2459"/>
                </a:cubicBezTo>
                <a:cubicBezTo>
                  <a:pt x="12653" y="2456"/>
                  <a:pt x="12653" y="2456"/>
                  <a:pt x="12653" y="2456"/>
                </a:cubicBezTo>
                <a:lnTo>
                  <a:pt x="12652" y="2434"/>
                </a:lnTo>
                <a:close/>
                <a:moveTo>
                  <a:pt x="12783" y="2395"/>
                </a:moveTo>
                <a:cubicBezTo>
                  <a:pt x="12798" y="2385"/>
                  <a:pt x="12820" y="2413"/>
                  <a:pt x="12820" y="2413"/>
                </a:cubicBezTo>
                <a:cubicBezTo>
                  <a:pt x="12820" y="2413"/>
                  <a:pt x="12825" y="2391"/>
                  <a:pt x="12827" y="2379"/>
                </a:cubicBezTo>
                <a:cubicBezTo>
                  <a:pt x="12829" y="2367"/>
                  <a:pt x="12820" y="2356"/>
                  <a:pt x="12820" y="2356"/>
                </a:cubicBezTo>
                <a:cubicBezTo>
                  <a:pt x="12807" y="2359"/>
                  <a:pt x="12807" y="2359"/>
                  <a:pt x="12807" y="2359"/>
                </a:cubicBezTo>
                <a:cubicBezTo>
                  <a:pt x="12807" y="2359"/>
                  <a:pt x="12790" y="2346"/>
                  <a:pt x="12781" y="2347"/>
                </a:cubicBezTo>
                <a:cubicBezTo>
                  <a:pt x="12761" y="2349"/>
                  <a:pt x="12768" y="2369"/>
                  <a:pt x="12768" y="2369"/>
                </a:cubicBezTo>
                <a:cubicBezTo>
                  <a:pt x="12768" y="2369"/>
                  <a:pt x="12751" y="2363"/>
                  <a:pt x="12741" y="2365"/>
                </a:cubicBezTo>
                <a:cubicBezTo>
                  <a:pt x="12731" y="2367"/>
                  <a:pt x="12738" y="2389"/>
                  <a:pt x="12738" y="2389"/>
                </a:cubicBezTo>
                <a:cubicBezTo>
                  <a:pt x="12726" y="2400"/>
                  <a:pt x="12726" y="2400"/>
                  <a:pt x="12726" y="2400"/>
                </a:cubicBezTo>
                <a:cubicBezTo>
                  <a:pt x="12726" y="2400"/>
                  <a:pt x="12739" y="2408"/>
                  <a:pt x="12745" y="2415"/>
                </a:cubicBezTo>
                <a:cubicBezTo>
                  <a:pt x="12751" y="2422"/>
                  <a:pt x="12774" y="2436"/>
                  <a:pt x="12774" y="2436"/>
                </a:cubicBezTo>
                <a:cubicBezTo>
                  <a:pt x="12774" y="2436"/>
                  <a:pt x="12768" y="2405"/>
                  <a:pt x="12783" y="2395"/>
                </a:cubicBezTo>
                <a:close/>
                <a:moveTo>
                  <a:pt x="12683" y="2697"/>
                </a:moveTo>
                <a:cubicBezTo>
                  <a:pt x="12673" y="2693"/>
                  <a:pt x="12674" y="2702"/>
                  <a:pt x="12674" y="2702"/>
                </a:cubicBezTo>
                <a:cubicBezTo>
                  <a:pt x="12689" y="2709"/>
                  <a:pt x="12694" y="2701"/>
                  <a:pt x="12683" y="2697"/>
                </a:cubicBezTo>
                <a:close/>
                <a:moveTo>
                  <a:pt x="12694" y="2675"/>
                </a:moveTo>
                <a:cubicBezTo>
                  <a:pt x="12694" y="2675"/>
                  <a:pt x="12709" y="2674"/>
                  <a:pt x="12702" y="2663"/>
                </a:cubicBezTo>
                <a:cubicBezTo>
                  <a:pt x="12695" y="2653"/>
                  <a:pt x="12674" y="2665"/>
                  <a:pt x="12677" y="2674"/>
                </a:cubicBezTo>
                <a:cubicBezTo>
                  <a:pt x="12679" y="2683"/>
                  <a:pt x="12683" y="2683"/>
                  <a:pt x="12683" y="2683"/>
                </a:cubicBezTo>
                <a:cubicBezTo>
                  <a:pt x="12693" y="2685"/>
                  <a:pt x="12694" y="2675"/>
                  <a:pt x="12694" y="2675"/>
                </a:cubicBezTo>
                <a:close/>
                <a:moveTo>
                  <a:pt x="8814" y="1489"/>
                </a:moveTo>
                <a:cubicBezTo>
                  <a:pt x="8814" y="1489"/>
                  <a:pt x="8814" y="1489"/>
                  <a:pt x="8814" y="1489"/>
                </a:cubicBezTo>
                <a:cubicBezTo>
                  <a:pt x="8814" y="1489"/>
                  <a:pt x="8814" y="1488"/>
                  <a:pt x="8814" y="1488"/>
                </a:cubicBezTo>
                <a:cubicBezTo>
                  <a:pt x="8814" y="1489"/>
                  <a:pt x="8814" y="1489"/>
                  <a:pt x="8814" y="1489"/>
                </a:cubicBezTo>
                <a:close/>
                <a:moveTo>
                  <a:pt x="12699" y="2551"/>
                </a:moveTo>
                <a:cubicBezTo>
                  <a:pt x="12699" y="2555"/>
                  <a:pt x="12686" y="2561"/>
                  <a:pt x="12686" y="2561"/>
                </a:cubicBezTo>
                <a:cubicBezTo>
                  <a:pt x="12703" y="2570"/>
                  <a:pt x="12703" y="2570"/>
                  <a:pt x="12703" y="2570"/>
                </a:cubicBezTo>
                <a:cubicBezTo>
                  <a:pt x="12703" y="2570"/>
                  <a:pt x="12699" y="2547"/>
                  <a:pt x="12699" y="2551"/>
                </a:cubicBezTo>
                <a:close/>
                <a:moveTo>
                  <a:pt x="12721" y="2533"/>
                </a:moveTo>
                <a:cubicBezTo>
                  <a:pt x="12721" y="2537"/>
                  <a:pt x="12717" y="2546"/>
                  <a:pt x="12717" y="2546"/>
                </a:cubicBezTo>
                <a:cubicBezTo>
                  <a:pt x="12726" y="2566"/>
                  <a:pt x="12726" y="2566"/>
                  <a:pt x="12726" y="2566"/>
                </a:cubicBezTo>
                <a:cubicBezTo>
                  <a:pt x="12727" y="2555"/>
                  <a:pt x="12727" y="2555"/>
                  <a:pt x="12727" y="2555"/>
                </a:cubicBezTo>
                <a:cubicBezTo>
                  <a:pt x="12727" y="2555"/>
                  <a:pt x="12721" y="2529"/>
                  <a:pt x="12721" y="2533"/>
                </a:cubicBezTo>
                <a:close/>
                <a:moveTo>
                  <a:pt x="10617" y="3750"/>
                </a:moveTo>
                <a:cubicBezTo>
                  <a:pt x="10600" y="3754"/>
                  <a:pt x="10600" y="3754"/>
                  <a:pt x="10600" y="3754"/>
                </a:cubicBezTo>
                <a:cubicBezTo>
                  <a:pt x="10604" y="3733"/>
                  <a:pt x="10604" y="3733"/>
                  <a:pt x="10604" y="3733"/>
                </a:cubicBezTo>
                <a:cubicBezTo>
                  <a:pt x="10604" y="3733"/>
                  <a:pt x="10591" y="3718"/>
                  <a:pt x="10575" y="3697"/>
                </a:cubicBezTo>
                <a:cubicBezTo>
                  <a:pt x="10559" y="3675"/>
                  <a:pt x="10548" y="3668"/>
                  <a:pt x="10532" y="3677"/>
                </a:cubicBezTo>
                <a:cubicBezTo>
                  <a:pt x="10531" y="3700"/>
                  <a:pt x="10531" y="3700"/>
                  <a:pt x="10531" y="3700"/>
                </a:cubicBezTo>
                <a:cubicBezTo>
                  <a:pt x="10518" y="3700"/>
                  <a:pt x="10518" y="3700"/>
                  <a:pt x="10518" y="3700"/>
                </a:cubicBezTo>
                <a:cubicBezTo>
                  <a:pt x="10538" y="3727"/>
                  <a:pt x="10538" y="3727"/>
                  <a:pt x="10538" y="3727"/>
                </a:cubicBezTo>
                <a:cubicBezTo>
                  <a:pt x="10538" y="3727"/>
                  <a:pt x="10534" y="3759"/>
                  <a:pt x="10523" y="3767"/>
                </a:cubicBezTo>
                <a:cubicBezTo>
                  <a:pt x="10513" y="3774"/>
                  <a:pt x="10514" y="3828"/>
                  <a:pt x="10532" y="3862"/>
                </a:cubicBezTo>
                <a:cubicBezTo>
                  <a:pt x="10550" y="3896"/>
                  <a:pt x="10588" y="3872"/>
                  <a:pt x="10618" y="3858"/>
                </a:cubicBezTo>
                <a:cubicBezTo>
                  <a:pt x="10649" y="3844"/>
                  <a:pt x="10618" y="3788"/>
                  <a:pt x="10618" y="3788"/>
                </a:cubicBezTo>
                <a:lnTo>
                  <a:pt x="10617" y="3750"/>
                </a:lnTo>
                <a:close/>
                <a:moveTo>
                  <a:pt x="11119" y="3612"/>
                </a:moveTo>
                <a:cubicBezTo>
                  <a:pt x="11104" y="3612"/>
                  <a:pt x="11120" y="3644"/>
                  <a:pt x="11120" y="3644"/>
                </a:cubicBezTo>
                <a:cubicBezTo>
                  <a:pt x="11120" y="3644"/>
                  <a:pt x="11133" y="3612"/>
                  <a:pt x="11119" y="3612"/>
                </a:cubicBezTo>
                <a:close/>
                <a:moveTo>
                  <a:pt x="12017" y="3299"/>
                </a:moveTo>
                <a:cubicBezTo>
                  <a:pt x="12027" y="3305"/>
                  <a:pt x="12035" y="3294"/>
                  <a:pt x="12030" y="3289"/>
                </a:cubicBezTo>
                <a:cubicBezTo>
                  <a:pt x="12025" y="3283"/>
                  <a:pt x="12010" y="3295"/>
                  <a:pt x="12017" y="3299"/>
                </a:cubicBezTo>
                <a:close/>
                <a:moveTo>
                  <a:pt x="11183" y="3798"/>
                </a:moveTo>
                <a:cubicBezTo>
                  <a:pt x="11175" y="3799"/>
                  <a:pt x="11179" y="3833"/>
                  <a:pt x="11194" y="3833"/>
                </a:cubicBezTo>
                <a:cubicBezTo>
                  <a:pt x="11194" y="3833"/>
                  <a:pt x="11191" y="3797"/>
                  <a:pt x="11183" y="3798"/>
                </a:cubicBezTo>
                <a:close/>
                <a:moveTo>
                  <a:pt x="12264" y="1244"/>
                </a:moveTo>
                <a:cubicBezTo>
                  <a:pt x="12258" y="1252"/>
                  <a:pt x="12270" y="1280"/>
                  <a:pt x="12292" y="1282"/>
                </a:cubicBezTo>
                <a:cubicBezTo>
                  <a:pt x="12310" y="1284"/>
                  <a:pt x="12270" y="1236"/>
                  <a:pt x="12264" y="1244"/>
                </a:cubicBezTo>
                <a:close/>
                <a:moveTo>
                  <a:pt x="11128" y="3451"/>
                </a:moveTo>
                <a:cubicBezTo>
                  <a:pt x="11108" y="3453"/>
                  <a:pt x="11112" y="3514"/>
                  <a:pt x="11112" y="3514"/>
                </a:cubicBezTo>
                <a:cubicBezTo>
                  <a:pt x="11115" y="3580"/>
                  <a:pt x="11115" y="3580"/>
                  <a:pt x="11115" y="3580"/>
                </a:cubicBezTo>
                <a:cubicBezTo>
                  <a:pt x="11126" y="3560"/>
                  <a:pt x="11126" y="3560"/>
                  <a:pt x="11126" y="3560"/>
                </a:cubicBezTo>
                <a:cubicBezTo>
                  <a:pt x="11126" y="3492"/>
                  <a:pt x="11126" y="3492"/>
                  <a:pt x="11126" y="3492"/>
                </a:cubicBezTo>
                <a:cubicBezTo>
                  <a:pt x="11126" y="3492"/>
                  <a:pt x="11144" y="3449"/>
                  <a:pt x="11128" y="3451"/>
                </a:cubicBezTo>
                <a:close/>
                <a:moveTo>
                  <a:pt x="13079" y="1781"/>
                </a:moveTo>
                <a:cubicBezTo>
                  <a:pt x="13112" y="1763"/>
                  <a:pt x="13112" y="1763"/>
                  <a:pt x="13112" y="1763"/>
                </a:cubicBezTo>
                <a:cubicBezTo>
                  <a:pt x="13103" y="1747"/>
                  <a:pt x="13103" y="1747"/>
                  <a:pt x="13103" y="1747"/>
                </a:cubicBezTo>
                <a:cubicBezTo>
                  <a:pt x="13100" y="1760"/>
                  <a:pt x="13100" y="1760"/>
                  <a:pt x="13100" y="1760"/>
                </a:cubicBezTo>
                <a:cubicBezTo>
                  <a:pt x="13073" y="1756"/>
                  <a:pt x="13073" y="1756"/>
                  <a:pt x="13073" y="1756"/>
                </a:cubicBezTo>
                <a:cubicBezTo>
                  <a:pt x="13060" y="1803"/>
                  <a:pt x="13060" y="1803"/>
                  <a:pt x="13060" y="1803"/>
                </a:cubicBezTo>
                <a:cubicBezTo>
                  <a:pt x="13067" y="1805"/>
                  <a:pt x="13067" y="1805"/>
                  <a:pt x="13067" y="1805"/>
                </a:cubicBezTo>
                <a:lnTo>
                  <a:pt x="13079" y="1781"/>
                </a:lnTo>
                <a:close/>
                <a:moveTo>
                  <a:pt x="12541" y="1334"/>
                </a:moveTo>
                <a:cubicBezTo>
                  <a:pt x="12536" y="1336"/>
                  <a:pt x="12523" y="1321"/>
                  <a:pt x="12521" y="1336"/>
                </a:cubicBezTo>
                <a:cubicBezTo>
                  <a:pt x="12518" y="1352"/>
                  <a:pt x="12547" y="1381"/>
                  <a:pt x="12547" y="1381"/>
                </a:cubicBezTo>
                <a:cubicBezTo>
                  <a:pt x="12547" y="1381"/>
                  <a:pt x="12554" y="1399"/>
                  <a:pt x="12561" y="1406"/>
                </a:cubicBezTo>
                <a:cubicBezTo>
                  <a:pt x="12568" y="1413"/>
                  <a:pt x="12615" y="1443"/>
                  <a:pt x="12626" y="1457"/>
                </a:cubicBezTo>
                <a:cubicBezTo>
                  <a:pt x="12637" y="1471"/>
                  <a:pt x="12636" y="1493"/>
                  <a:pt x="12649" y="1504"/>
                </a:cubicBezTo>
                <a:cubicBezTo>
                  <a:pt x="12663" y="1515"/>
                  <a:pt x="12695" y="1571"/>
                  <a:pt x="12695" y="1571"/>
                </a:cubicBezTo>
                <a:cubicBezTo>
                  <a:pt x="12695" y="1571"/>
                  <a:pt x="12701" y="1594"/>
                  <a:pt x="12708" y="1594"/>
                </a:cubicBezTo>
                <a:cubicBezTo>
                  <a:pt x="12715" y="1594"/>
                  <a:pt x="12728" y="1604"/>
                  <a:pt x="12735" y="1614"/>
                </a:cubicBezTo>
                <a:cubicBezTo>
                  <a:pt x="12742" y="1623"/>
                  <a:pt x="12742" y="1643"/>
                  <a:pt x="12742" y="1643"/>
                </a:cubicBezTo>
                <a:cubicBezTo>
                  <a:pt x="12770" y="1666"/>
                  <a:pt x="12770" y="1666"/>
                  <a:pt x="12770" y="1666"/>
                </a:cubicBezTo>
                <a:cubicBezTo>
                  <a:pt x="12780" y="1702"/>
                  <a:pt x="12780" y="1702"/>
                  <a:pt x="12780" y="1702"/>
                </a:cubicBezTo>
                <a:cubicBezTo>
                  <a:pt x="12806" y="1730"/>
                  <a:pt x="12806" y="1730"/>
                  <a:pt x="12806" y="1730"/>
                </a:cubicBezTo>
                <a:cubicBezTo>
                  <a:pt x="12806" y="1730"/>
                  <a:pt x="12792" y="1691"/>
                  <a:pt x="12801" y="1688"/>
                </a:cubicBezTo>
                <a:cubicBezTo>
                  <a:pt x="12809" y="1686"/>
                  <a:pt x="12813" y="1695"/>
                  <a:pt x="12813" y="1695"/>
                </a:cubicBezTo>
                <a:cubicBezTo>
                  <a:pt x="12834" y="1695"/>
                  <a:pt x="12834" y="1695"/>
                  <a:pt x="12834" y="1695"/>
                </a:cubicBezTo>
                <a:cubicBezTo>
                  <a:pt x="12856" y="1722"/>
                  <a:pt x="12856" y="1722"/>
                  <a:pt x="12856" y="1722"/>
                </a:cubicBezTo>
                <a:cubicBezTo>
                  <a:pt x="12857" y="1705"/>
                  <a:pt x="12857" y="1705"/>
                  <a:pt x="12857" y="1705"/>
                </a:cubicBezTo>
                <a:cubicBezTo>
                  <a:pt x="12837" y="1680"/>
                  <a:pt x="12837" y="1680"/>
                  <a:pt x="12837" y="1680"/>
                </a:cubicBezTo>
                <a:cubicBezTo>
                  <a:pt x="12821" y="1681"/>
                  <a:pt x="12821" y="1681"/>
                  <a:pt x="12821" y="1681"/>
                </a:cubicBezTo>
                <a:cubicBezTo>
                  <a:pt x="12799" y="1658"/>
                  <a:pt x="12799" y="1658"/>
                  <a:pt x="12799" y="1658"/>
                </a:cubicBezTo>
                <a:cubicBezTo>
                  <a:pt x="12799" y="1658"/>
                  <a:pt x="12777" y="1652"/>
                  <a:pt x="12764" y="1634"/>
                </a:cubicBezTo>
                <a:cubicBezTo>
                  <a:pt x="12752" y="1616"/>
                  <a:pt x="12744" y="1575"/>
                  <a:pt x="12744" y="1575"/>
                </a:cubicBezTo>
                <a:cubicBezTo>
                  <a:pt x="12744" y="1575"/>
                  <a:pt x="12720" y="1561"/>
                  <a:pt x="12733" y="1554"/>
                </a:cubicBezTo>
                <a:cubicBezTo>
                  <a:pt x="12745" y="1547"/>
                  <a:pt x="12821" y="1585"/>
                  <a:pt x="12821" y="1585"/>
                </a:cubicBezTo>
                <a:cubicBezTo>
                  <a:pt x="12771" y="1548"/>
                  <a:pt x="12771" y="1548"/>
                  <a:pt x="12771" y="1548"/>
                </a:cubicBezTo>
                <a:cubicBezTo>
                  <a:pt x="12771" y="1548"/>
                  <a:pt x="12752" y="1518"/>
                  <a:pt x="12742" y="1511"/>
                </a:cubicBezTo>
                <a:cubicBezTo>
                  <a:pt x="12733" y="1504"/>
                  <a:pt x="12717" y="1494"/>
                  <a:pt x="12717" y="1494"/>
                </a:cubicBezTo>
                <a:cubicBezTo>
                  <a:pt x="12665" y="1438"/>
                  <a:pt x="12665" y="1438"/>
                  <a:pt x="12665" y="1438"/>
                </a:cubicBezTo>
                <a:cubicBezTo>
                  <a:pt x="12648" y="1439"/>
                  <a:pt x="12648" y="1439"/>
                  <a:pt x="12648" y="1439"/>
                </a:cubicBezTo>
                <a:cubicBezTo>
                  <a:pt x="12641" y="1420"/>
                  <a:pt x="12641" y="1420"/>
                  <a:pt x="12641" y="1420"/>
                </a:cubicBezTo>
                <a:cubicBezTo>
                  <a:pt x="12641" y="1420"/>
                  <a:pt x="12631" y="1422"/>
                  <a:pt x="12619" y="1410"/>
                </a:cubicBezTo>
                <a:cubicBezTo>
                  <a:pt x="12607" y="1397"/>
                  <a:pt x="12611" y="1381"/>
                  <a:pt x="12611" y="1381"/>
                </a:cubicBezTo>
                <a:cubicBezTo>
                  <a:pt x="12591" y="1356"/>
                  <a:pt x="12591" y="1356"/>
                  <a:pt x="12591" y="1356"/>
                </a:cubicBezTo>
                <a:cubicBezTo>
                  <a:pt x="12577" y="1357"/>
                  <a:pt x="12577" y="1357"/>
                  <a:pt x="12577" y="1357"/>
                </a:cubicBezTo>
                <a:cubicBezTo>
                  <a:pt x="12568" y="1338"/>
                  <a:pt x="12568" y="1338"/>
                  <a:pt x="12568" y="1338"/>
                </a:cubicBezTo>
                <a:cubicBezTo>
                  <a:pt x="12541" y="1318"/>
                  <a:pt x="12541" y="1318"/>
                  <a:pt x="12541" y="1318"/>
                </a:cubicBezTo>
                <a:cubicBezTo>
                  <a:pt x="12533" y="1302"/>
                  <a:pt x="12533" y="1302"/>
                  <a:pt x="12533" y="1302"/>
                </a:cubicBezTo>
                <a:cubicBezTo>
                  <a:pt x="12533" y="1302"/>
                  <a:pt x="12515" y="1289"/>
                  <a:pt x="12508" y="1294"/>
                </a:cubicBezTo>
                <a:cubicBezTo>
                  <a:pt x="12501" y="1298"/>
                  <a:pt x="12547" y="1331"/>
                  <a:pt x="12541" y="1334"/>
                </a:cubicBezTo>
                <a:close/>
                <a:moveTo>
                  <a:pt x="12478" y="2891"/>
                </a:moveTo>
                <a:cubicBezTo>
                  <a:pt x="12490" y="2894"/>
                  <a:pt x="12501" y="2877"/>
                  <a:pt x="12485" y="2875"/>
                </a:cubicBezTo>
                <a:cubicBezTo>
                  <a:pt x="12469" y="2874"/>
                  <a:pt x="12478" y="2891"/>
                  <a:pt x="12478" y="2891"/>
                </a:cubicBezTo>
                <a:close/>
                <a:moveTo>
                  <a:pt x="12587" y="2774"/>
                </a:moveTo>
                <a:cubicBezTo>
                  <a:pt x="12587" y="2782"/>
                  <a:pt x="12598" y="2782"/>
                  <a:pt x="12598" y="2782"/>
                </a:cubicBezTo>
                <a:cubicBezTo>
                  <a:pt x="12605" y="2770"/>
                  <a:pt x="12587" y="2766"/>
                  <a:pt x="12587" y="2774"/>
                </a:cubicBezTo>
                <a:close/>
                <a:moveTo>
                  <a:pt x="12559" y="2866"/>
                </a:moveTo>
                <a:cubicBezTo>
                  <a:pt x="12565" y="2858"/>
                  <a:pt x="12550" y="2858"/>
                  <a:pt x="12550" y="2858"/>
                </a:cubicBezTo>
                <a:cubicBezTo>
                  <a:pt x="12541" y="2841"/>
                  <a:pt x="12541" y="2841"/>
                  <a:pt x="12541" y="2841"/>
                </a:cubicBezTo>
                <a:cubicBezTo>
                  <a:pt x="12541" y="2851"/>
                  <a:pt x="12541" y="2851"/>
                  <a:pt x="12541" y="2851"/>
                </a:cubicBezTo>
                <a:cubicBezTo>
                  <a:pt x="12539" y="2867"/>
                  <a:pt x="12554" y="2874"/>
                  <a:pt x="12559" y="2866"/>
                </a:cubicBezTo>
                <a:close/>
                <a:moveTo>
                  <a:pt x="12523" y="2879"/>
                </a:moveTo>
                <a:cubicBezTo>
                  <a:pt x="12505" y="2870"/>
                  <a:pt x="12505" y="2870"/>
                  <a:pt x="12505" y="2870"/>
                </a:cubicBezTo>
                <a:cubicBezTo>
                  <a:pt x="12505" y="2870"/>
                  <a:pt x="12497" y="2885"/>
                  <a:pt x="12501" y="2885"/>
                </a:cubicBezTo>
                <a:cubicBezTo>
                  <a:pt x="12505" y="2885"/>
                  <a:pt x="12523" y="2879"/>
                  <a:pt x="12523" y="2879"/>
                </a:cubicBezTo>
                <a:close/>
                <a:moveTo>
                  <a:pt x="12471" y="2390"/>
                </a:moveTo>
                <a:cubicBezTo>
                  <a:pt x="12447" y="2398"/>
                  <a:pt x="12457" y="2407"/>
                  <a:pt x="12472" y="2407"/>
                </a:cubicBezTo>
                <a:cubicBezTo>
                  <a:pt x="12491" y="2407"/>
                  <a:pt x="12495" y="2382"/>
                  <a:pt x="12471" y="2390"/>
                </a:cubicBezTo>
                <a:close/>
                <a:moveTo>
                  <a:pt x="11286" y="3255"/>
                </a:moveTo>
                <a:cubicBezTo>
                  <a:pt x="11294" y="3249"/>
                  <a:pt x="11309" y="3276"/>
                  <a:pt x="11309" y="3276"/>
                </a:cubicBezTo>
                <a:cubicBezTo>
                  <a:pt x="11308" y="3297"/>
                  <a:pt x="11308" y="3297"/>
                  <a:pt x="11308" y="3297"/>
                </a:cubicBezTo>
                <a:cubicBezTo>
                  <a:pt x="11308" y="3297"/>
                  <a:pt x="11329" y="3298"/>
                  <a:pt x="11330" y="3315"/>
                </a:cubicBezTo>
                <a:cubicBezTo>
                  <a:pt x="11330" y="3332"/>
                  <a:pt x="11337" y="3344"/>
                  <a:pt x="11339" y="3357"/>
                </a:cubicBezTo>
                <a:cubicBezTo>
                  <a:pt x="11341" y="3371"/>
                  <a:pt x="11344" y="3404"/>
                  <a:pt x="11344" y="3404"/>
                </a:cubicBezTo>
                <a:cubicBezTo>
                  <a:pt x="11344" y="3404"/>
                  <a:pt x="11345" y="3416"/>
                  <a:pt x="11352" y="3425"/>
                </a:cubicBezTo>
                <a:cubicBezTo>
                  <a:pt x="11360" y="3434"/>
                  <a:pt x="11363" y="3447"/>
                  <a:pt x="11363" y="3447"/>
                </a:cubicBezTo>
                <a:cubicBezTo>
                  <a:pt x="11391" y="3508"/>
                  <a:pt x="11391" y="3508"/>
                  <a:pt x="11391" y="3508"/>
                </a:cubicBezTo>
                <a:cubicBezTo>
                  <a:pt x="11401" y="3538"/>
                  <a:pt x="11401" y="3538"/>
                  <a:pt x="11401" y="3538"/>
                </a:cubicBezTo>
                <a:cubicBezTo>
                  <a:pt x="11401" y="3538"/>
                  <a:pt x="11387" y="3535"/>
                  <a:pt x="11386" y="3543"/>
                </a:cubicBezTo>
                <a:cubicBezTo>
                  <a:pt x="11384" y="3552"/>
                  <a:pt x="11378" y="3577"/>
                  <a:pt x="11378" y="3577"/>
                </a:cubicBezTo>
                <a:cubicBezTo>
                  <a:pt x="11407" y="3567"/>
                  <a:pt x="11407" y="3567"/>
                  <a:pt x="11407" y="3567"/>
                </a:cubicBezTo>
                <a:cubicBezTo>
                  <a:pt x="11399" y="3604"/>
                  <a:pt x="11399" y="3604"/>
                  <a:pt x="11399" y="3604"/>
                </a:cubicBezTo>
                <a:cubicBezTo>
                  <a:pt x="11399" y="3604"/>
                  <a:pt x="11395" y="3616"/>
                  <a:pt x="11396" y="3629"/>
                </a:cubicBezTo>
                <a:cubicBezTo>
                  <a:pt x="11397" y="3641"/>
                  <a:pt x="11404" y="3660"/>
                  <a:pt x="11404" y="3660"/>
                </a:cubicBezTo>
                <a:cubicBezTo>
                  <a:pt x="11404" y="3660"/>
                  <a:pt x="11392" y="3692"/>
                  <a:pt x="11390" y="3708"/>
                </a:cubicBezTo>
                <a:cubicBezTo>
                  <a:pt x="11388" y="3724"/>
                  <a:pt x="11390" y="3769"/>
                  <a:pt x="11390" y="3769"/>
                </a:cubicBezTo>
                <a:cubicBezTo>
                  <a:pt x="11390" y="3769"/>
                  <a:pt x="11400" y="3779"/>
                  <a:pt x="11402" y="3769"/>
                </a:cubicBezTo>
                <a:cubicBezTo>
                  <a:pt x="11403" y="3759"/>
                  <a:pt x="11403" y="3735"/>
                  <a:pt x="11407" y="3746"/>
                </a:cubicBezTo>
                <a:cubicBezTo>
                  <a:pt x="11410" y="3758"/>
                  <a:pt x="11402" y="3758"/>
                  <a:pt x="11416" y="3760"/>
                </a:cubicBezTo>
                <a:cubicBezTo>
                  <a:pt x="11430" y="3761"/>
                  <a:pt x="11438" y="3791"/>
                  <a:pt x="11438" y="3791"/>
                </a:cubicBezTo>
                <a:cubicBezTo>
                  <a:pt x="11461" y="3811"/>
                  <a:pt x="11461" y="3811"/>
                  <a:pt x="11461" y="3811"/>
                </a:cubicBezTo>
                <a:cubicBezTo>
                  <a:pt x="11461" y="3811"/>
                  <a:pt x="11456" y="3822"/>
                  <a:pt x="11465" y="3836"/>
                </a:cubicBezTo>
                <a:cubicBezTo>
                  <a:pt x="11471" y="3847"/>
                  <a:pt x="11479" y="3855"/>
                  <a:pt x="11483" y="3859"/>
                </a:cubicBezTo>
                <a:cubicBezTo>
                  <a:pt x="11484" y="3859"/>
                  <a:pt x="11484" y="3860"/>
                  <a:pt x="11484" y="3860"/>
                </a:cubicBezTo>
                <a:cubicBezTo>
                  <a:pt x="11489" y="3921"/>
                  <a:pt x="11489" y="3921"/>
                  <a:pt x="11489" y="3921"/>
                </a:cubicBezTo>
                <a:cubicBezTo>
                  <a:pt x="11489" y="3921"/>
                  <a:pt x="11521" y="3909"/>
                  <a:pt x="11521" y="3929"/>
                </a:cubicBezTo>
                <a:cubicBezTo>
                  <a:pt x="11520" y="3949"/>
                  <a:pt x="11511" y="3971"/>
                  <a:pt x="11522" y="3983"/>
                </a:cubicBezTo>
                <a:cubicBezTo>
                  <a:pt x="11533" y="3996"/>
                  <a:pt x="11545" y="3983"/>
                  <a:pt x="11545" y="3983"/>
                </a:cubicBezTo>
                <a:cubicBezTo>
                  <a:pt x="11545" y="3983"/>
                  <a:pt x="11538" y="4024"/>
                  <a:pt x="11548" y="4033"/>
                </a:cubicBezTo>
                <a:cubicBezTo>
                  <a:pt x="11558" y="4042"/>
                  <a:pt x="11597" y="4066"/>
                  <a:pt x="11597" y="4066"/>
                </a:cubicBezTo>
                <a:cubicBezTo>
                  <a:pt x="11597" y="4066"/>
                  <a:pt x="11599" y="4086"/>
                  <a:pt x="11604" y="4088"/>
                </a:cubicBezTo>
                <a:cubicBezTo>
                  <a:pt x="11609" y="4089"/>
                  <a:pt x="11636" y="4101"/>
                  <a:pt x="11636" y="4101"/>
                </a:cubicBezTo>
                <a:cubicBezTo>
                  <a:pt x="11652" y="4123"/>
                  <a:pt x="11652" y="4123"/>
                  <a:pt x="11652" y="4123"/>
                </a:cubicBezTo>
                <a:cubicBezTo>
                  <a:pt x="11685" y="4120"/>
                  <a:pt x="11685" y="4120"/>
                  <a:pt x="11685" y="4120"/>
                </a:cubicBezTo>
                <a:cubicBezTo>
                  <a:pt x="11685" y="4120"/>
                  <a:pt x="11690" y="4100"/>
                  <a:pt x="11688" y="4082"/>
                </a:cubicBezTo>
                <a:cubicBezTo>
                  <a:pt x="11686" y="4065"/>
                  <a:pt x="11656" y="4045"/>
                  <a:pt x="11655" y="4040"/>
                </a:cubicBezTo>
                <a:cubicBezTo>
                  <a:pt x="11654" y="4035"/>
                  <a:pt x="11660" y="4023"/>
                  <a:pt x="11653" y="4014"/>
                </a:cubicBezTo>
                <a:cubicBezTo>
                  <a:pt x="11645" y="4005"/>
                  <a:pt x="11651" y="4003"/>
                  <a:pt x="11651" y="3990"/>
                </a:cubicBezTo>
                <a:cubicBezTo>
                  <a:pt x="11652" y="3978"/>
                  <a:pt x="11655" y="3939"/>
                  <a:pt x="11650" y="3917"/>
                </a:cubicBezTo>
                <a:cubicBezTo>
                  <a:pt x="11646" y="3895"/>
                  <a:pt x="11604" y="3880"/>
                  <a:pt x="11598" y="3871"/>
                </a:cubicBezTo>
                <a:cubicBezTo>
                  <a:pt x="11596" y="3868"/>
                  <a:pt x="11591" y="3864"/>
                  <a:pt x="11586" y="3861"/>
                </a:cubicBezTo>
                <a:cubicBezTo>
                  <a:pt x="11586" y="3861"/>
                  <a:pt x="11586" y="3861"/>
                  <a:pt x="11586" y="3861"/>
                </a:cubicBezTo>
                <a:cubicBezTo>
                  <a:pt x="11577" y="3854"/>
                  <a:pt x="11567" y="3848"/>
                  <a:pt x="11567" y="3848"/>
                </a:cubicBezTo>
                <a:cubicBezTo>
                  <a:pt x="11567" y="3848"/>
                  <a:pt x="11562" y="3824"/>
                  <a:pt x="11559" y="3814"/>
                </a:cubicBezTo>
                <a:cubicBezTo>
                  <a:pt x="11556" y="3804"/>
                  <a:pt x="11529" y="3824"/>
                  <a:pt x="11521" y="3820"/>
                </a:cubicBezTo>
                <a:cubicBezTo>
                  <a:pt x="11514" y="3816"/>
                  <a:pt x="11507" y="3779"/>
                  <a:pt x="11502" y="3782"/>
                </a:cubicBezTo>
                <a:cubicBezTo>
                  <a:pt x="11497" y="3786"/>
                  <a:pt x="11502" y="3797"/>
                  <a:pt x="11496" y="3798"/>
                </a:cubicBezTo>
                <a:cubicBezTo>
                  <a:pt x="11490" y="3799"/>
                  <a:pt x="11475" y="3776"/>
                  <a:pt x="11483" y="3768"/>
                </a:cubicBezTo>
                <a:cubicBezTo>
                  <a:pt x="11491" y="3760"/>
                  <a:pt x="11488" y="3775"/>
                  <a:pt x="11496" y="3772"/>
                </a:cubicBezTo>
                <a:cubicBezTo>
                  <a:pt x="11504" y="3769"/>
                  <a:pt x="11486" y="3738"/>
                  <a:pt x="11484" y="3732"/>
                </a:cubicBezTo>
                <a:cubicBezTo>
                  <a:pt x="11482" y="3726"/>
                  <a:pt x="11471" y="3728"/>
                  <a:pt x="11471" y="3728"/>
                </a:cubicBezTo>
                <a:cubicBezTo>
                  <a:pt x="11472" y="3691"/>
                  <a:pt x="11472" y="3691"/>
                  <a:pt x="11472" y="3691"/>
                </a:cubicBezTo>
                <a:cubicBezTo>
                  <a:pt x="11437" y="3701"/>
                  <a:pt x="11437" y="3701"/>
                  <a:pt x="11437" y="3701"/>
                </a:cubicBezTo>
                <a:cubicBezTo>
                  <a:pt x="11437" y="3701"/>
                  <a:pt x="11433" y="3642"/>
                  <a:pt x="11432" y="3635"/>
                </a:cubicBezTo>
                <a:cubicBezTo>
                  <a:pt x="11431" y="3627"/>
                  <a:pt x="11426" y="3617"/>
                  <a:pt x="11426" y="3617"/>
                </a:cubicBezTo>
                <a:cubicBezTo>
                  <a:pt x="11426" y="3617"/>
                  <a:pt x="11442" y="3609"/>
                  <a:pt x="11443" y="3591"/>
                </a:cubicBezTo>
                <a:cubicBezTo>
                  <a:pt x="11444" y="3572"/>
                  <a:pt x="11444" y="3549"/>
                  <a:pt x="11444" y="3549"/>
                </a:cubicBezTo>
                <a:cubicBezTo>
                  <a:pt x="11444" y="3549"/>
                  <a:pt x="11458" y="3542"/>
                  <a:pt x="11459" y="3518"/>
                </a:cubicBezTo>
                <a:cubicBezTo>
                  <a:pt x="11460" y="3493"/>
                  <a:pt x="11453" y="3489"/>
                  <a:pt x="11453" y="3489"/>
                </a:cubicBezTo>
                <a:cubicBezTo>
                  <a:pt x="11457" y="3467"/>
                  <a:pt x="11457" y="3467"/>
                  <a:pt x="11457" y="3467"/>
                </a:cubicBezTo>
                <a:cubicBezTo>
                  <a:pt x="11464" y="3467"/>
                  <a:pt x="11464" y="3467"/>
                  <a:pt x="11464" y="3467"/>
                </a:cubicBezTo>
                <a:cubicBezTo>
                  <a:pt x="11464" y="3467"/>
                  <a:pt x="11465" y="3459"/>
                  <a:pt x="11477" y="3460"/>
                </a:cubicBezTo>
                <a:cubicBezTo>
                  <a:pt x="11488" y="3460"/>
                  <a:pt x="11507" y="3474"/>
                  <a:pt x="11507" y="3474"/>
                </a:cubicBezTo>
                <a:cubicBezTo>
                  <a:pt x="11499" y="3480"/>
                  <a:pt x="11499" y="3480"/>
                  <a:pt x="11499" y="3480"/>
                </a:cubicBezTo>
                <a:cubicBezTo>
                  <a:pt x="11499" y="3480"/>
                  <a:pt x="11494" y="3512"/>
                  <a:pt x="11505" y="3512"/>
                </a:cubicBezTo>
                <a:cubicBezTo>
                  <a:pt x="11517" y="3513"/>
                  <a:pt x="11553" y="3496"/>
                  <a:pt x="11553" y="3496"/>
                </a:cubicBezTo>
                <a:cubicBezTo>
                  <a:pt x="11571" y="3550"/>
                  <a:pt x="11571" y="3550"/>
                  <a:pt x="11571" y="3550"/>
                </a:cubicBezTo>
                <a:cubicBezTo>
                  <a:pt x="11571" y="3550"/>
                  <a:pt x="11579" y="3538"/>
                  <a:pt x="11590" y="3543"/>
                </a:cubicBezTo>
                <a:cubicBezTo>
                  <a:pt x="11593" y="3544"/>
                  <a:pt x="11596" y="3546"/>
                  <a:pt x="11599" y="3549"/>
                </a:cubicBezTo>
                <a:cubicBezTo>
                  <a:pt x="11614" y="3566"/>
                  <a:pt x="11600" y="3578"/>
                  <a:pt x="11600" y="3578"/>
                </a:cubicBezTo>
                <a:cubicBezTo>
                  <a:pt x="11600" y="3578"/>
                  <a:pt x="11609" y="3600"/>
                  <a:pt x="11619" y="3601"/>
                </a:cubicBezTo>
                <a:cubicBezTo>
                  <a:pt x="11629" y="3601"/>
                  <a:pt x="11632" y="3588"/>
                  <a:pt x="11632" y="3588"/>
                </a:cubicBezTo>
                <a:cubicBezTo>
                  <a:pt x="11632" y="3588"/>
                  <a:pt x="11631" y="3612"/>
                  <a:pt x="11641" y="3614"/>
                </a:cubicBezTo>
                <a:cubicBezTo>
                  <a:pt x="11652" y="3616"/>
                  <a:pt x="11662" y="3608"/>
                  <a:pt x="11664" y="3618"/>
                </a:cubicBezTo>
                <a:cubicBezTo>
                  <a:pt x="11665" y="3622"/>
                  <a:pt x="11668" y="3628"/>
                  <a:pt x="11670" y="3633"/>
                </a:cubicBezTo>
                <a:cubicBezTo>
                  <a:pt x="11683" y="3634"/>
                  <a:pt x="11683" y="3634"/>
                  <a:pt x="11683" y="3634"/>
                </a:cubicBezTo>
                <a:cubicBezTo>
                  <a:pt x="11682" y="3636"/>
                  <a:pt x="11683" y="3638"/>
                  <a:pt x="11684" y="3640"/>
                </a:cubicBezTo>
                <a:cubicBezTo>
                  <a:pt x="11690" y="3648"/>
                  <a:pt x="11713" y="3660"/>
                  <a:pt x="11713" y="3660"/>
                </a:cubicBezTo>
                <a:cubicBezTo>
                  <a:pt x="11700" y="3671"/>
                  <a:pt x="11700" y="3671"/>
                  <a:pt x="11700" y="3671"/>
                </a:cubicBezTo>
                <a:cubicBezTo>
                  <a:pt x="11700" y="3671"/>
                  <a:pt x="11714" y="3706"/>
                  <a:pt x="11707" y="3712"/>
                </a:cubicBezTo>
                <a:cubicBezTo>
                  <a:pt x="11703" y="3715"/>
                  <a:pt x="11700" y="3721"/>
                  <a:pt x="11698" y="3726"/>
                </a:cubicBezTo>
                <a:cubicBezTo>
                  <a:pt x="11699" y="3726"/>
                  <a:pt x="11699" y="3726"/>
                  <a:pt x="11699" y="3726"/>
                </a:cubicBezTo>
                <a:cubicBezTo>
                  <a:pt x="11708" y="3732"/>
                  <a:pt x="11722" y="3732"/>
                  <a:pt x="11732" y="3720"/>
                </a:cubicBezTo>
                <a:cubicBezTo>
                  <a:pt x="11743" y="3709"/>
                  <a:pt x="11756" y="3705"/>
                  <a:pt x="11756" y="3705"/>
                </a:cubicBezTo>
                <a:cubicBezTo>
                  <a:pt x="11759" y="3689"/>
                  <a:pt x="11759" y="3689"/>
                  <a:pt x="11759" y="3689"/>
                </a:cubicBezTo>
                <a:cubicBezTo>
                  <a:pt x="11759" y="3673"/>
                  <a:pt x="11759" y="3673"/>
                  <a:pt x="11759" y="3673"/>
                </a:cubicBezTo>
                <a:cubicBezTo>
                  <a:pt x="11759" y="3673"/>
                  <a:pt x="11784" y="3684"/>
                  <a:pt x="11789" y="3672"/>
                </a:cubicBezTo>
                <a:cubicBezTo>
                  <a:pt x="11793" y="3660"/>
                  <a:pt x="11773" y="3648"/>
                  <a:pt x="11777" y="3645"/>
                </a:cubicBezTo>
                <a:cubicBezTo>
                  <a:pt x="11781" y="3641"/>
                  <a:pt x="11804" y="3630"/>
                  <a:pt x="11804" y="3630"/>
                </a:cubicBezTo>
                <a:cubicBezTo>
                  <a:pt x="11804" y="3630"/>
                  <a:pt x="11815" y="3639"/>
                  <a:pt x="11838" y="3627"/>
                </a:cubicBezTo>
                <a:cubicBezTo>
                  <a:pt x="11860" y="3616"/>
                  <a:pt x="11891" y="3593"/>
                  <a:pt x="11895" y="3576"/>
                </a:cubicBezTo>
                <a:cubicBezTo>
                  <a:pt x="11898" y="3559"/>
                  <a:pt x="11911" y="3514"/>
                  <a:pt x="11909" y="3504"/>
                </a:cubicBezTo>
                <a:cubicBezTo>
                  <a:pt x="11907" y="3494"/>
                  <a:pt x="11889" y="3476"/>
                  <a:pt x="11889" y="3476"/>
                </a:cubicBezTo>
                <a:cubicBezTo>
                  <a:pt x="11899" y="3472"/>
                  <a:pt x="11899" y="3472"/>
                  <a:pt x="11899" y="3472"/>
                </a:cubicBezTo>
                <a:cubicBezTo>
                  <a:pt x="11899" y="3472"/>
                  <a:pt x="11899" y="3435"/>
                  <a:pt x="11894" y="3422"/>
                </a:cubicBezTo>
                <a:cubicBezTo>
                  <a:pt x="11888" y="3408"/>
                  <a:pt x="11872" y="3385"/>
                  <a:pt x="11872" y="3385"/>
                </a:cubicBezTo>
                <a:cubicBezTo>
                  <a:pt x="11872" y="3385"/>
                  <a:pt x="11883" y="3371"/>
                  <a:pt x="11867" y="3355"/>
                </a:cubicBezTo>
                <a:cubicBezTo>
                  <a:pt x="11851" y="3340"/>
                  <a:pt x="11806" y="3298"/>
                  <a:pt x="11792" y="3291"/>
                </a:cubicBezTo>
                <a:cubicBezTo>
                  <a:pt x="11778" y="3285"/>
                  <a:pt x="11763" y="3277"/>
                  <a:pt x="11760" y="3269"/>
                </a:cubicBezTo>
                <a:cubicBezTo>
                  <a:pt x="11756" y="3262"/>
                  <a:pt x="11764" y="3256"/>
                  <a:pt x="11758" y="3246"/>
                </a:cubicBezTo>
                <a:cubicBezTo>
                  <a:pt x="11752" y="3236"/>
                  <a:pt x="11704" y="3195"/>
                  <a:pt x="11697" y="3172"/>
                </a:cubicBezTo>
                <a:cubicBezTo>
                  <a:pt x="11691" y="3148"/>
                  <a:pt x="11686" y="3122"/>
                  <a:pt x="11692" y="3117"/>
                </a:cubicBezTo>
                <a:cubicBezTo>
                  <a:pt x="11699" y="3113"/>
                  <a:pt x="11701" y="3097"/>
                  <a:pt x="11701" y="3097"/>
                </a:cubicBezTo>
                <a:cubicBezTo>
                  <a:pt x="11701" y="3097"/>
                  <a:pt x="11719" y="3084"/>
                  <a:pt x="11724" y="3080"/>
                </a:cubicBezTo>
                <a:cubicBezTo>
                  <a:pt x="11730" y="3077"/>
                  <a:pt x="11733" y="3066"/>
                  <a:pt x="11733" y="3066"/>
                </a:cubicBezTo>
                <a:cubicBezTo>
                  <a:pt x="11733" y="3066"/>
                  <a:pt x="11752" y="3069"/>
                  <a:pt x="11758" y="3064"/>
                </a:cubicBezTo>
                <a:cubicBezTo>
                  <a:pt x="11763" y="3059"/>
                  <a:pt x="11763" y="3037"/>
                  <a:pt x="11763" y="3037"/>
                </a:cubicBezTo>
                <a:cubicBezTo>
                  <a:pt x="11770" y="3032"/>
                  <a:pt x="11770" y="3032"/>
                  <a:pt x="11770" y="3032"/>
                </a:cubicBezTo>
                <a:cubicBezTo>
                  <a:pt x="11799" y="3013"/>
                  <a:pt x="11799" y="3013"/>
                  <a:pt x="11799" y="3013"/>
                </a:cubicBezTo>
                <a:cubicBezTo>
                  <a:pt x="11811" y="3021"/>
                  <a:pt x="11811" y="3021"/>
                  <a:pt x="11811" y="3021"/>
                </a:cubicBezTo>
                <a:cubicBezTo>
                  <a:pt x="11811" y="3021"/>
                  <a:pt x="11856" y="3021"/>
                  <a:pt x="11862" y="3032"/>
                </a:cubicBezTo>
                <a:cubicBezTo>
                  <a:pt x="11867" y="3044"/>
                  <a:pt x="11852" y="3066"/>
                  <a:pt x="11859" y="3077"/>
                </a:cubicBezTo>
                <a:cubicBezTo>
                  <a:pt x="11867" y="3088"/>
                  <a:pt x="11888" y="3103"/>
                  <a:pt x="11888" y="3103"/>
                </a:cubicBezTo>
                <a:cubicBezTo>
                  <a:pt x="11902" y="3101"/>
                  <a:pt x="11902" y="3101"/>
                  <a:pt x="11902" y="3101"/>
                </a:cubicBezTo>
                <a:cubicBezTo>
                  <a:pt x="11902" y="3089"/>
                  <a:pt x="11902" y="3089"/>
                  <a:pt x="11902" y="3089"/>
                </a:cubicBezTo>
                <a:cubicBezTo>
                  <a:pt x="11902" y="3089"/>
                  <a:pt x="11893" y="3057"/>
                  <a:pt x="11905" y="3040"/>
                </a:cubicBezTo>
                <a:cubicBezTo>
                  <a:pt x="11917" y="3024"/>
                  <a:pt x="11944" y="3026"/>
                  <a:pt x="11958" y="3023"/>
                </a:cubicBezTo>
                <a:cubicBezTo>
                  <a:pt x="11971" y="3020"/>
                  <a:pt x="12014" y="3011"/>
                  <a:pt x="12014" y="3001"/>
                </a:cubicBezTo>
                <a:cubicBezTo>
                  <a:pt x="12015" y="2991"/>
                  <a:pt x="12015" y="2961"/>
                  <a:pt x="12024" y="2959"/>
                </a:cubicBezTo>
                <a:cubicBezTo>
                  <a:pt x="12033" y="2957"/>
                  <a:pt x="12040" y="2991"/>
                  <a:pt x="12049" y="2987"/>
                </a:cubicBezTo>
                <a:cubicBezTo>
                  <a:pt x="12059" y="2984"/>
                  <a:pt x="12079" y="2953"/>
                  <a:pt x="12079" y="2953"/>
                </a:cubicBezTo>
                <a:cubicBezTo>
                  <a:pt x="12090" y="2963"/>
                  <a:pt x="12090" y="2963"/>
                  <a:pt x="12090" y="2963"/>
                </a:cubicBezTo>
                <a:cubicBezTo>
                  <a:pt x="12112" y="2956"/>
                  <a:pt x="12112" y="2956"/>
                  <a:pt x="12112" y="2956"/>
                </a:cubicBezTo>
                <a:cubicBezTo>
                  <a:pt x="12112" y="2956"/>
                  <a:pt x="12137" y="2963"/>
                  <a:pt x="12149" y="2956"/>
                </a:cubicBezTo>
                <a:cubicBezTo>
                  <a:pt x="12162" y="2949"/>
                  <a:pt x="12167" y="2946"/>
                  <a:pt x="12174" y="2941"/>
                </a:cubicBezTo>
                <a:cubicBezTo>
                  <a:pt x="12180" y="2936"/>
                  <a:pt x="12209" y="2911"/>
                  <a:pt x="12214" y="2901"/>
                </a:cubicBezTo>
                <a:cubicBezTo>
                  <a:pt x="12218" y="2891"/>
                  <a:pt x="12205" y="2871"/>
                  <a:pt x="12205" y="2871"/>
                </a:cubicBezTo>
                <a:cubicBezTo>
                  <a:pt x="12218" y="2871"/>
                  <a:pt x="12218" y="2871"/>
                  <a:pt x="12218" y="2871"/>
                </a:cubicBezTo>
                <a:cubicBezTo>
                  <a:pt x="12224" y="2851"/>
                  <a:pt x="12224" y="2851"/>
                  <a:pt x="12224" y="2851"/>
                </a:cubicBezTo>
                <a:cubicBezTo>
                  <a:pt x="12239" y="2852"/>
                  <a:pt x="12239" y="2852"/>
                  <a:pt x="12239" y="2852"/>
                </a:cubicBezTo>
                <a:cubicBezTo>
                  <a:pt x="12246" y="2827"/>
                  <a:pt x="12246" y="2827"/>
                  <a:pt x="12246" y="2827"/>
                </a:cubicBezTo>
                <a:cubicBezTo>
                  <a:pt x="12254" y="2827"/>
                  <a:pt x="12254" y="2827"/>
                  <a:pt x="12254" y="2827"/>
                </a:cubicBezTo>
                <a:cubicBezTo>
                  <a:pt x="12258" y="2800"/>
                  <a:pt x="12258" y="2800"/>
                  <a:pt x="12258" y="2800"/>
                </a:cubicBezTo>
                <a:cubicBezTo>
                  <a:pt x="12258" y="2800"/>
                  <a:pt x="12272" y="2805"/>
                  <a:pt x="12272" y="2783"/>
                </a:cubicBezTo>
                <a:cubicBezTo>
                  <a:pt x="12272" y="2761"/>
                  <a:pt x="12259" y="2764"/>
                  <a:pt x="12264" y="2756"/>
                </a:cubicBezTo>
                <a:cubicBezTo>
                  <a:pt x="12268" y="2747"/>
                  <a:pt x="12287" y="2750"/>
                  <a:pt x="12287" y="2732"/>
                </a:cubicBezTo>
                <a:cubicBezTo>
                  <a:pt x="12288" y="2715"/>
                  <a:pt x="12276" y="2715"/>
                  <a:pt x="12277" y="2708"/>
                </a:cubicBezTo>
                <a:cubicBezTo>
                  <a:pt x="12277" y="2700"/>
                  <a:pt x="12288" y="2697"/>
                  <a:pt x="12288" y="2697"/>
                </a:cubicBezTo>
                <a:cubicBezTo>
                  <a:pt x="12289" y="2671"/>
                  <a:pt x="12289" y="2671"/>
                  <a:pt x="12289" y="2671"/>
                </a:cubicBezTo>
                <a:cubicBezTo>
                  <a:pt x="12289" y="2671"/>
                  <a:pt x="12316" y="2663"/>
                  <a:pt x="12323" y="2647"/>
                </a:cubicBezTo>
                <a:cubicBezTo>
                  <a:pt x="12330" y="2631"/>
                  <a:pt x="12313" y="2630"/>
                  <a:pt x="12313" y="2630"/>
                </a:cubicBezTo>
                <a:cubicBezTo>
                  <a:pt x="12313" y="2630"/>
                  <a:pt x="12345" y="2625"/>
                  <a:pt x="12345" y="2616"/>
                </a:cubicBezTo>
                <a:cubicBezTo>
                  <a:pt x="12346" y="2607"/>
                  <a:pt x="12327" y="2602"/>
                  <a:pt x="12327" y="2602"/>
                </a:cubicBezTo>
                <a:cubicBezTo>
                  <a:pt x="12327" y="2602"/>
                  <a:pt x="12365" y="2568"/>
                  <a:pt x="12348" y="2558"/>
                </a:cubicBezTo>
                <a:cubicBezTo>
                  <a:pt x="12331" y="2549"/>
                  <a:pt x="12251" y="2571"/>
                  <a:pt x="12251" y="2571"/>
                </a:cubicBezTo>
                <a:cubicBezTo>
                  <a:pt x="12241" y="2560"/>
                  <a:pt x="12241" y="2560"/>
                  <a:pt x="12241" y="2560"/>
                </a:cubicBezTo>
                <a:cubicBezTo>
                  <a:pt x="12266" y="2559"/>
                  <a:pt x="12266" y="2559"/>
                  <a:pt x="12266" y="2559"/>
                </a:cubicBezTo>
                <a:cubicBezTo>
                  <a:pt x="12266" y="2559"/>
                  <a:pt x="12266" y="2544"/>
                  <a:pt x="12276" y="2540"/>
                </a:cubicBezTo>
                <a:cubicBezTo>
                  <a:pt x="12286" y="2536"/>
                  <a:pt x="12305" y="2534"/>
                  <a:pt x="12305" y="2534"/>
                </a:cubicBezTo>
                <a:cubicBezTo>
                  <a:pt x="12305" y="2534"/>
                  <a:pt x="12292" y="2510"/>
                  <a:pt x="12288" y="2509"/>
                </a:cubicBezTo>
                <a:cubicBezTo>
                  <a:pt x="12284" y="2508"/>
                  <a:pt x="12261" y="2502"/>
                  <a:pt x="12261" y="2502"/>
                </a:cubicBezTo>
                <a:cubicBezTo>
                  <a:pt x="12253" y="2491"/>
                  <a:pt x="12253" y="2491"/>
                  <a:pt x="12253" y="2491"/>
                </a:cubicBezTo>
                <a:cubicBezTo>
                  <a:pt x="12244" y="2492"/>
                  <a:pt x="12244" y="2492"/>
                  <a:pt x="12244" y="2492"/>
                </a:cubicBezTo>
                <a:cubicBezTo>
                  <a:pt x="12244" y="2492"/>
                  <a:pt x="12235" y="2480"/>
                  <a:pt x="12228" y="2479"/>
                </a:cubicBezTo>
                <a:cubicBezTo>
                  <a:pt x="12221" y="2478"/>
                  <a:pt x="12203" y="2484"/>
                  <a:pt x="12203" y="2484"/>
                </a:cubicBezTo>
                <a:cubicBezTo>
                  <a:pt x="12180" y="2453"/>
                  <a:pt x="12180" y="2453"/>
                  <a:pt x="12180" y="2453"/>
                </a:cubicBezTo>
                <a:cubicBezTo>
                  <a:pt x="12180" y="2453"/>
                  <a:pt x="12201" y="2474"/>
                  <a:pt x="12207" y="2472"/>
                </a:cubicBezTo>
                <a:cubicBezTo>
                  <a:pt x="12213" y="2470"/>
                  <a:pt x="12220" y="2466"/>
                  <a:pt x="12220" y="2466"/>
                </a:cubicBezTo>
                <a:cubicBezTo>
                  <a:pt x="12239" y="2471"/>
                  <a:pt x="12239" y="2471"/>
                  <a:pt x="12239" y="2471"/>
                </a:cubicBezTo>
                <a:cubicBezTo>
                  <a:pt x="12249" y="2482"/>
                  <a:pt x="12249" y="2482"/>
                  <a:pt x="12249" y="2482"/>
                </a:cubicBezTo>
                <a:cubicBezTo>
                  <a:pt x="12258" y="2478"/>
                  <a:pt x="12258" y="2478"/>
                  <a:pt x="12258" y="2478"/>
                </a:cubicBezTo>
                <a:cubicBezTo>
                  <a:pt x="12289" y="2488"/>
                  <a:pt x="12289" y="2488"/>
                  <a:pt x="12289" y="2488"/>
                </a:cubicBezTo>
                <a:cubicBezTo>
                  <a:pt x="12276" y="2471"/>
                  <a:pt x="12276" y="2471"/>
                  <a:pt x="12276" y="2471"/>
                </a:cubicBezTo>
                <a:cubicBezTo>
                  <a:pt x="12265" y="2469"/>
                  <a:pt x="12265" y="2469"/>
                  <a:pt x="12265" y="2469"/>
                </a:cubicBezTo>
                <a:cubicBezTo>
                  <a:pt x="12265" y="2469"/>
                  <a:pt x="12264" y="2447"/>
                  <a:pt x="12256" y="2446"/>
                </a:cubicBezTo>
                <a:cubicBezTo>
                  <a:pt x="12248" y="2445"/>
                  <a:pt x="12236" y="2442"/>
                  <a:pt x="12231" y="2438"/>
                </a:cubicBezTo>
                <a:cubicBezTo>
                  <a:pt x="12226" y="2434"/>
                  <a:pt x="12224" y="2415"/>
                  <a:pt x="12224" y="2415"/>
                </a:cubicBezTo>
                <a:cubicBezTo>
                  <a:pt x="12170" y="2349"/>
                  <a:pt x="12170" y="2349"/>
                  <a:pt x="12170" y="2349"/>
                </a:cubicBezTo>
                <a:cubicBezTo>
                  <a:pt x="12148" y="2343"/>
                  <a:pt x="12148" y="2343"/>
                  <a:pt x="12148" y="2343"/>
                </a:cubicBezTo>
                <a:cubicBezTo>
                  <a:pt x="12125" y="2325"/>
                  <a:pt x="12125" y="2325"/>
                  <a:pt x="12125" y="2325"/>
                </a:cubicBezTo>
                <a:cubicBezTo>
                  <a:pt x="12110" y="2327"/>
                  <a:pt x="12110" y="2327"/>
                  <a:pt x="12110" y="2327"/>
                </a:cubicBezTo>
                <a:cubicBezTo>
                  <a:pt x="12110" y="2327"/>
                  <a:pt x="12097" y="2302"/>
                  <a:pt x="12103" y="2298"/>
                </a:cubicBezTo>
                <a:cubicBezTo>
                  <a:pt x="12109" y="2294"/>
                  <a:pt x="12127" y="2282"/>
                  <a:pt x="12127" y="2273"/>
                </a:cubicBezTo>
                <a:cubicBezTo>
                  <a:pt x="12127" y="2264"/>
                  <a:pt x="12120" y="2246"/>
                  <a:pt x="12120" y="2246"/>
                </a:cubicBezTo>
                <a:cubicBezTo>
                  <a:pt x="12120" y="2246"/>
                  <a:pt x="12137" y="2263"/>
                  <a:pt x="12145" y="2257"/>
                </a:cubicBezTo>
                <a:cubicBezTo>
                  <a:pt x="12153" y="2251"/>
                  <a:pt x="12144" y="2224"/>
                  <a:pt x="12144" y="2224"/>
                </a:cubicBezTo>
                <a:cubicBezTo>
                  <a:pt x="12159" y="2225"/>
                  <a:pt x="12159" y="2225"/>
                  <a:pt x="12159" y="2225"/>
                </a:cubicBezTo>
                <a:cubicBezTo>
                  <a:pt x="12184" y="2206"/>
                  <a:pt x="12184" y="2206"/>
                  <a:pt x="12184" y="2206"/>
                </a:cubicBezTo>
                <a:cubicBezTo>
                  <a:pt x="12184" y="2206"/>
                  <a:pt x="12204" y="2212"/>
                  <a:pt x="12209" y="2211"/>
                </a:cubicBezTo>
                <a:cubicBezTo>
                  <a:pt x="12214" y="2210"/>
                  <a:pt x="12205" y="2196"/>
                  <a:pt x="12205" y="2196"/>
                </a:cubicBezTo>
                <a:cubicBezTo>
                  <a:pt x="12209" y="2180"/>
                  <a:pt x="12209" y="2180"/>
                  <a:pt x="12209" y="2180"/>
                </a:cubicBezTo>
                <a:cubicBezTo>
                  <a:pt x="12187" y="2180"/>
                  <a:pt x="12187" y="2180"/>
                  <a:pt x="12187" y="2180"/>
                </a:cubicBezTo>
                <a:cubicBezTo>
                  <a:pt x="12179" y="2173"/>
                  <a:pt x="12179" y="2173"/>
                  <a:pt x="12179" y="2173"/>
                </a:cubicBezTo>
                <a:cubicBezTo>
                  <a:pt x="12174" y="2181"/>
                  <a:pt x="12174" y="2181"/>
                  <a:pt x="12174" y="2181"/>
                </a:cubicBezTo>
                <a:cubicBezTo>
                  <a:pt x="12153" y="2178"/>
                  <a:pt x="12153" y="2178"/>
                  <a:pt x="12153" y="2178"/>
                </a:cubicBezTo>
                <a:cubicBezTo>
                  <a:pt x="12153" y="2178"/>
                  <a:pt x="12137" y="2160"/>
                  <a:pt x="12124" y="2160"/>
                </a:cubicBezTo>
                <a:cubicBezTo>
                  <a:pt x="12111" y="2160"/>
                  <a:pt x="12093" y="2183"/>
                  <a:pt x="12092" y="2188"/>
                </a:cubicBezTo>
                <a:cubicBezTo>
                  <a:pt x="12091" y="2193"/>
                  <a:pt x="12087" y="2202"/>
                  <a:pt x="12077" y="2200"/>
                </a:cubicBezTo>
                <a:cubicBezTo>
                  <a:pt x="12067" y="2198"/>
                  <a:pt x="12045" y="2192"/>
                  <a:pt x="12043" y="2178"/>
                </a:cubicBezTo>
                <a:cubicBezTo>
                  <a:pt x="12041" y="2164"/>
                  <a:pt x="12033" y="2147"/>
                  <a:pt x="12027" y="2143"/>
                </a:cubicBezTo>
                <a:cubicBezTo>
                  <a:pt x="12021" y="2139"/>
                  <a:pt x="12017" y="2146"/>
                  <a:pt x="12017" y="2146"/>
                </a:cubicBezTo>
                <a:cubicBezTo>
                  <a:pt x="12017" y="2155"/>
                  <a:pt x="12017" y="2155"/>
                  <a:pt x="12017" y="2155"/>
                </a:cubicBezTo>
                <a:cubicBezTo>
                  <a:pt x="12009" y="2143"/>
                  <a:pt x="12009" y="2143"/>
                  <a:pt x="12009" y="2143"/>
                </a:cubicBezTo>
                <a:cubicBezTo>
                  <a:pt x="12009" y="2143"/>
                  <a:pt x="11981" y="2146"/>
                  <a:pt x="11972" y="2137"/>
                </a:cubicBezTo>
                <a:cubicBezTo>
                  <a:pt x="11963" y="2128"/>
                  <a:pt x="11952" y="2109"/>
                  <a:pt x="11955" y="2103"/>
                </a:cubicBezTo>
                <a:cubicBezTo>
                  <a:pt x="11958" y="2097"/>
                  <a:pt x="11957" y="2087"/>
                  <a:pt x="11957" y="2087"/>
                </a:cubicBezTo>
                <a:cubicBezTo>
                  <a:pt x="11968" y="2086"/>
                  <a:pt x="11968" y="2086"/>
                  <a:pt x="11968" y="2086"/>
                </a:cubicBezTo>
                <a:cubicBezTo>
                  <a:pt x="11968" y="2086"/>
                  <a:pt x="11974" y="2095"/>
                  <a:pt x="11978" y="2094"/>
                </a:cubicBezTo>
                <a:cubicBezTo>
                  <a:pt x="11982" y="2093"/>
                  <a:pt x="11988" y="2085"/>
                  <a:pt x="11988" y="2085"/>
                </a:cubicBezTo>
                <a:cubicBezTo>
                  <a:pt x="11988" y="2085"/>
                  <a:pt x="12001" y="2093"/>
                  <a:pt x="12010" y="2085"/>
                </a:cubicBezTo>
                <a:cubicBezTo>
                  <a:pt x="12019" y="2077"/>
                  <a:pt x="12011" y="2069"/>
                  <a:pt x="12011" y="2069"/>
                </a:cubicBezTo>
                <a:cubicBezTo>
                  <a:pt x="12011" y="2069"/>
                  <a:pt x="12010" y="2045"/>
                  <a:pt x="12016" y="2041"/>
                </a:cubicBezTo>
                <a:cubicBezTo>
                  <a:pt x="12022" y="2037"/>
                  <a:pt x="12041" y="2045"/>
                  <a:pt x="12045" y="2034"/>
                </a:cubicBezTo>
                <a:cubicBezTo>
                  <a:pt x="12049" y="2023"/>
                  <a:pt x="12050" y="2010"/>
                  <a:pt x="12050" y="2010"/>
                </a:cubicBezTo>
                <a:cubicBezTo>
                  <a:pt x="12062" y="2003"/>
                  <a:pt x="12062" y="2003"/>
                  <a:pt x="12062" y="2003"/>
                </a:cubicBezTo>
                <a:cubicBezTo>
                  <a:pt x="12056" y="1995"/>
                  <a:pt x="12056" y="1995"/>
                  <a:pt x="12056" y="1995"/>
                </a:cubicBezTo>
                <a:cubicBezTo>
                  <a:pt x="12081" y="2002"/>
                  <a:pt x="12081" y="2002"/>
                  <a:pt x="12081" y="2002"/>
                </a:cubicBezTo>
                <a:cubicBezTo>
                  <a:pt x="12092" y="1992"/>
                  <a:pt x="12092" y="1992"/>
                  <a:pt x="12092" y="1992"/>
                </a:cubicBezTo>
                <a:cubicBezTo>
                  <a:pt x="12092" y="1992"/>
                  <a:pt x="12123" y="2015"/>
                  <a:pt x="12121" y="2029"/>
                </a:cubicBezTo>
                <a:cubicBezTo>
                  <a:pt x="12119" y="2043"/>
                  <a:pt x="12101" y="2046"/>
                  <a:pt x="12100" y="2055"/>
                </a:cubicBezTo>
                <a:cubicBezTo>
                  <a:pt x="12099" y="2064"/>
                  <a:pt x="12104" y="2079"/>
                  <a:pt x="12111" y="2079"/>
                </a:cubicBezTo>
                <a:cubicBezTo>
                  <a:pt x="12118" y="2079"/>
                  <a:pt x="12127" y="2076"/>
                  <a:pt x="12127" y="2076"/>
                </a:cubicBezTo>
                <a:cubicBezTo>
                  <a:pt x="12122" y="2094"/>
                  <a:pt x="12122" y="2094"/>
                  <a:pt x="12122" y="2094"/>
                </a:cubicBezTo>
                <a:cubicBezTo>
                  <a:pt x="12122" y="2094"/>
                  <a:pt x="12103" y="2111"/>
                  <a:pt x="12112" y="2113"/>
                </a:cubicBezTo>
                <a:cubicBezTo>
                  <a:pt x="12121" y="2115"/>
                  <a:pt x="12135" y="2101"/>
                  <a:pt x="12135" y="2101"/>
                </a:cubicBezTo>
                <a:cubicBezTo>
                  <a:pt x="12135" y="2101"/>
                  <a:pt x="12139" y="2102"/>
                  <a:pt x="12144" y="2097"/>
                </a:cubicBezTo>
                <a:cubicBezTo>
                  <a:pt x="12149" y="2092"/>
                  <a:pt x="12148" y="2077"/>
                  <a:pt x="12148" y="2077"/>
                </a:cubicBezTo>
                <a:cubicBezTo>
                  <a:pt x="12148" y="2077"/>
                  <a:pt x="12189" y="2056"/>
                  <a:pt x="12193" y="2053"/>
                </a:cubicBezTo>
                <a:cubicBezTo>
                  <a:pt x="12197" y="2050"/>
                  <a:pt x="12218" y="2052"/>
                  <a:pt x="12218" y="2052"/>
                </a:cubicBezTo>
                <a:cubicBezTo>
                  <a:pt x="12226" y="2039"/>
                  <a:pt x="12226" y="2039"/>
                  <a:pt x="12226" y="2039"/>
                </a:cubicBezTo>
                <a:cubicBezTo>
                  <a:pt x="12232" y="2053"/>
                  <a:pt x="12232" y="2053"/>
                  <a:pt x="12232" y="2053"/>
                </a:cubicBezTo>
                <a:cubicBezTo>
                  <a:pt x="12244" y="2067"/>
                  <a:pt x="12244" y="2067"/>
                  <a:pt x="12244" y="2067"/>
                </a:cubicBezTo>
                <a:cubicBezTo>
                  <a:pt x="12251" y="2055"/>
                  <a:pt x="12251" y="2055"/>
                  <a:pt x="12251" y="2055"/>
                </a:cubicBezTo>
                <a:cubicBezTo>
                  <a:pt x="12251" y="2055"/>
                  <a:pt x="12260" y="2068"/>
                  <a:pt x="12265" y="2068"/>
                </a:cubicBezTo>
                <a:cubicBezTo>
                  <a:pt x="12270" y="2068"/>
                  <a:pt x="12278" y="2062"/>
                  <a:pt x="12282" y="2069"/>
                </a:cubicBezTo>
                <a:cubicBezTo>
                  <a:pt x="12286" y="2076"/>
                  <a:pt x="12286" y="2110"/>
                  <a:pt x="12286" y="2110"/>
                </a:cubicBezTo>
                <a:cubicBezTo>
                  <a:pt x="12311" y="2110"/>
                  <a:pt x="12311" y="2110"/>
                  <a:pt x="12311" y="2110"/>
                </a:cubicBezTo>
                <a:cubicBezTo>
                  <a:pt x="12314" y="2120"/>
                  <a:pt x="12314" y="2120"/>
                  <a:pt x="12314" y="2120"/>
                </a:cubicBezTo>
                <a:cubicBezTo>
                  <a:pt x="12314" y="2120"/>
                  <a:pt x="12291" y="2108"/>
                  <a:pt x="12287" y="2121"/>
                </a:cubicBezTo>
                <a:cubicBezTo>
                  <a:pt x="12283" y="2134"/>
                  <a:pt x="12298" y="2150"/>
                  <a:pt x="12298" y="2150"/>
                </a:cubicBezTo>
                <a:cubicBezTo>
                  <a:pt x="12305" y="2161"/>
                  <a:pt x="12305" y="2161"/>
                  <a:pt x="12305" y="2161"/>
                </a:cubicBezTo>
                <a:cubicBezTo>
                  <a:pt x="12324" y="2153"/>
                  <a:pt x="12324" y="2153"/>
                  <a:pt x="12324" y="2153"/>
                </a:cubicBezTo>
                <a:cubicBezTo>
                  <a:pt x="12324" y="2153"/>
                  <a:pt x="12344" y="2167"/>
                  <a:pt x="12353" y="2166"/>
                </a:cubicBezTo>
                <a:cubicBezTo>
                  <a:pt x="12362" y="2165"/>
                  <a:pt x="12371" y="2162"/>
                  <a:pt x="12371" y="2162"/>
                </a:cubicBezTo>
                <a:cubicBezTo>
                  <a:pt x="12371" y="2162"/>
                  <a:pt x="12372" y="2173"/>
                  <a:pt x="12379" y="2179"/>
                </a:cubicBezTo>
                <a:cubicBezTo>
                  <a:pt x="12386" y="2185"/>
                  <a:pt x="12401" y="2187"/>
                  <a:pt x="12401" y="2187"/>
                </a:cubicBezTo>
                <a:cubicBezTo>
                  <a:pt x="12412" y="2212"/>
                  <a:pt x="12412" y="2212"/>
                  <a:pt x="12412" y="2212"/>
                </a:cubicBezTo>
                <a:cubicBezTo>
                  <a:pt x="12412" y="2212"/>
                  <a:pt x="12378" y="2198"/>
                  <a:pt x="12377" y="2205"/>
                </a:cubicBezTo>
                <a:cubicBezTo>
                  <a:pt x="12376" y="2212"/>
                  <a:pt x="12398" y="2225"/>
                  <a:pt x="12398" y="2225"/>
                </a:cubicBezTo>
                <a:cubicBezTo>
                  <a:pt x="12408" y="2253"/>
                  <a:pt x="12408" y="2253"/>
                  <a:pt x="12408" y="2253"/>
                </a:cubicBezTo>
                <a:cubicBezTo>
                  <a:pt x="12431" y="2257"/>
                  <a:pt x="12431" y="2257"/>
                  <a:pt x="12431" y="2257"/>
                </a:cubicBezTo>
                <a:cubicBezTo>
                  <a:pt x="12431" y="2276"/>
                  <a:pt x="12431" y="2276"/>
                  <a:pt x="12431" y="2276"/>
                </a:cubicBezTo>
                <a:cubicBezTo>
                  <a:pt x="12431" y="2276"/>
                  <a:pt x="12420" y="2284"/>
                  <a:pt x="12425" y="2303"/>
                </a:cubicBezTo>
                <a:cubicBezTo>
                  <a:pt x="12430" y="2322"/>
                  <a:pt x="12445" y="2322"/>
                  <a:pt x="12445" y="2322"/>
                </a:cubicBezTo>
                <a:cubicBezTo>
                  <a:pt x="12445" y="2322"/>
                  <a:pt x="12432" y="2348"/>
                  <a:pt x="12451" y="2345"/>
                </a:cubicBezTo>
                <a:cubicBezTo>
                  <a:pt x="12470" y="2342"/>
                  <a:pt x="12471" y="2326"/>
                  <a:pt x="12471" y="2326"/>
                </a:cubicBezTo>
                <a:cubicBezTo>
                  <a:pt x="12504" y="2311"/>
                  <a:pt x="12504" y="2311"/>
                  <a:pt x="12504" y="2311"/>
                </a:cubicBezTo>
                <a:cubicBezTo>
                  <a:pt x="12521" y="2316"/>
                  <a:pt x="12521" y="2316"/>
                  <a:pt x="12521" y="2316"/>
                </a:cubicBezTo>
                <a:cubicBezTo>
                  <a:pt x="12526" y="2304"/>
                  <a:pt x="12526" y="2304"/>
                  <a:pt x="12526" y="2304"/>
                </a:cubicBezTo>
                <a:cubicBezTo>
                  <a:pt x="12526" y="2304"/>
                  <a:pt x="12562" y="2307"/>
                  <a:pt x="12556" y="2288"/>
                </a:cubicBezTo>
                <a:cubicBezTo>
                  <a:pt x="12550" y="2269"/>
                  <a:pt x="12537" y="2255"/>
                  <a:pt x="12537" y="2255"/>
                </a:cubicBezTo>
                <a:cubicBezTo>
                  <a:pt x="12537" y="2255"/>
                  <a:pt x="12542" y="2238"/>
                  <a:pt x="12533" y="2224"/>
                </a:cubicBezTo>
                <a:cubicBezTo>
                  <a:pt x="12524" y="2210"/>
                  <a:pt x="12482" y="2173"/>
                  <a:pt x="12482" y="2173"/>
                </a:cubicBezTo>
                <a:cubicBezTo>
                  <a:pt x="12469" y="2168"/>
                  <a:pt x="12469" y="2168"/>
                  <a:pt x="12469" y="2168"/>
                </a:cubicBezTo>
                <a:cubicBezTo>
                  <a:pt x="12469" y="2168"/>
                  <a:pt x="12465" y="2157"/>
                  <a:pt x="12453" y="2144"/>
                </a:cubicBezTo>
                <a:cubicBezTo>
                  <a:pt x="12447" y="2137"/>
                  <a:pt x="12440" y="2129"/>
                  <a:pt x="12435" y="2123"/>
                </a:cubicBezTo>
                <a:cubicBezTo>
                  <a:pt x="12430" y="2116"/>
                  <a:pt x="12426" y="2111"/>
                  <a:pt x="12426" y="2111"/>
                </a:cubicBezTo>
                <a:cubicBezTo>
                  <a:pt x="12395" y="2094"/>
                  <a:pt x="12395" y="2094"/>
                  <a:pt x="12395" y="2094"/>
                </a:cubicBezTo>
                <a:cubicBezTo>
                  <a:pt x="12395" y="2094"/>
                  <a:pt x="12373" y="2102"/>
                  <a:pt x="12380" y="2089"/>
                </a:cubicBezTo>
                <a:cubicBezTo>
                  <a:pt x="12387" y="2076"/>
                  <a:pt x="12387" y="2076"/>
                  <a:pt x="12387" y="2076"/>
                </a:cubicBezTo>
                <a:cubicBezTo>
                  <a:pt x="12387" y="2076"/>
                  <a:pt x="12362" y="2065"/>
                  <a:pt x="12372" y="2054"/>
                </a:cubicBezTo>
                <a:cubicBezTo>
                  <a:pt x="12382" y="2043"/>
                  <a:pt x="12403" y="2047"/>
                  <a:pt x="12408" y="2033"/>
                </a:cubicBezTo>
                <a:cubicBezTo>
                  <a:pt x="12413" y="2019"/>
                  <a:pt x="12418" y="2004"/>
                  <a:pt x="12418" y="2004"/>
                </a:cubicBezTo>
                <a:cubicBezTo>
                  <a:pt x="12434" y="1996"/>
                  <a:pt x="12434" y="1996"/>
                  <a:pt x="12434" y="1996"/>
                </a:cubicBezTo>
                <a:cubicBezTo>
                  <a:pt x="12429" y="1975"/>
                  <a:pt x="12429" y="1975"/>
                  <a:pt x="12429" y="1975"/>
                </a:cubicBezTo>
                <a:cubicBezTo>
                  <a:pt x="12429" y="1975"/>
                  <a:pt x="12413" y="1964"/>
                  <a:pt x="12414" y="1947"/>
                </a:cubicBezTo>
                <a:cubicBezTo>
                  <a:pt x="12415" y="1930"/>
                  <a:pt x="12438" y="1925"/>
                  <a:pt x="12438" y="1925"/>
                </a:cubicBezTo>
                <a:cubicBezTo>
                  <a:pt x="12429" y="1910"/>
                  <a:pt x="12429" y="1910"/>
                  <a:pt x="12429" y="1910"/>
                </a:cubicBezTo>
                <a:cubicBezTo>
                  <a:pt x="12452" y="1911"/>
                  <a:pt x="12452" y="1911"/>
                  <a:pt x="12452" y="1911"/>
                </a:cubicBezTo>
                <a:cubicBezTo>
                  <a:pt x="12452" y="1911"/>
                  <a:pt x="12446" y="1870"/>
                  <a:pt x="12455" y="1866"/>
                </a:cubicBezTo>
                <a:cubicBezTo>
                  <a:pt x="12464" y="1862"/>
                  <a:pt x="12471" y="1875"/>
                  <a:pt x="12471" y="1875"/>
                </a:cubicBezTo>
                <a:cubicBezTo>
                  <a:pt x="12480" y="1867"/>
                  <a:pt x="12480" y="1867"/>
                  <a:pt x="12480" y="1867"/>
                </a:cubicBezTo>
                <a:cubicBezTo>
                  <a:pt x="12480" y="1867"/>
                  <a:pt x="12496" y="1899"/>
                  <a:pt x="12504" y="1897"/>
                </a:cubicBezTo>
                <a:cubicBezTo>
                  <a:pt x="12512" y="1895"/>
                  <a:pt x="12531" y="1889"/>
                  <a:pt x="12531" y="1889"/>
                </a:cubicBezTo>
                <a:cubicBezTo>
                  <a:pt x="12531" y="1901"/>
                  <a:pt x="12531" y="1901"/>
                  <a:pt x="12531" y="1901"/>
                </a:cubicBezTo>
                <a:cubicBezTo>
                  <a:pt x="12531" y="1901"/>
                  <a:pt x="12586" y="1881"/>
                  <a:pt x="12588" y="1861"/>
                </a:cubicBezTo>
                <a:cubicBezTo>
                  <a:pt x="12590" y="1841"/>
                  <a:pt x="12593" y="1813"/>
                  <a:pt x="12593" y="1813"/>
                </a:cubicBezTo>
                <a:cubicBezTo>
                  <a:pt x="12607" y="1806"/>
                  <a:pt x="12607" y="1806"/>
                  <a:pt x="12607" y="1806"/>
                </a:cubicBezTo>
                <a:cubicBezTo>
                  <a:pt x="12607" y="1806"/>
                  <a:pt x="12605" y="1763"/>
                  <a:pt x="12614" y="1756"/>
                </a:cubicBezTo>
                <a:cubicBezTo>
                  <a:pt x="12623" y="1749"/>
                  <a:pt x="12625" y="1725"/>
                  <a:pt x="12627" y="1709"/>
                </a:cubicBezTo>
                <a:cubicBezTo>
                  <a:pt x="12629" y="1693"/>
                  <a:pt x="12618" y="1666"/>
                  <a:pt x="12618" y="1666"/>
                </a:cubicBezTo>
                <a:cubicBezTo>
                  <a:pt x="12618" y="1666"/>
                  <a:pt x="12632" y="1644"/>
                  <a:pt x="12632" y="1639"/>
                </a:cubicBezTo>
                <a:cubicBezTo>
                  <a:pt x="12632" y="1634"/>
                  <a:pt x="12624" y="1624"/>
                  <a:pt x="12624" y="1624"/>
                </a:cubicBezTo>
                <a:cubicBezTo>
                  <a:pt x="12624" y="1624"/>
                  <a:pt x="12641" y="1600"/>
                  <a:pt x="12637" y="1591"/>
                </a:cubicBezTo>
                <a:cubicBezTo>
                  <a:pt x="12633" y="1582"/>
                  <a:pt x="12621" y="1555"/>
                  <a:pt x="12621" y="1555"/>
                </a:cubicBezTo>
                <a:cubicBezTo>
                  <a:pt x="12621" y="1555"/>
                  <a:pt x="12613" y="1527"/>
                  <a:pt x="12606" y="1524"/>
                </a:cubicBezTo>
                <a:cubicBezTo>
                  <a:pt x="12599" y="1521"/>
                  <a:pt x="12594" y="1517"/>
                  <a:pt x="12594" y="1517"/>
                </a:cubicBezTo>
                <a:cubicBezTo>
                  <a:pt x="12598" y="1510"/>
                  <a:pt x="12598" y="1510"/>
                  <a:pt x="12598" y="1510"/>
                </a:cubicBezTo>
                <a:cubicBezTo>
                  <a:pt x="12598" y="1510"/>
                  <a:pt x="12579" y="1502"/>
                  <a:pt x="12573" y="1487"/>
                </a:cubicBezTo>
                <a:cubicBezTo>
                  <a:pt x="12567" y="1472"/>
                  <a:pt x="12565" y="1460"/>
                  <a:pt x="12565" y="1460"/>
                </a:cubicBezTo>
                <a:cubicBezTo>
                  <a:pt x="12556" y="1454"/>
                  <a:pt x="12556" y="1454"/>
                  <a:pt x="12556" y="1454"/>
                </a:cubicBezTo>
                <a:cubicBezTo>
                  <a:pt x="12556" y="1454"/>
                  <a:pt x="12563" y="1424"/>
                  <a:pt x="12556" y="1415"/>
                </a:cubicBezTo>
                <a:cubicBezTo>
                  <a:pt x="12549" y="1406"/>
                  <a:pt x="12544" y="1399"/>
                  <a:pt x="12544" y="1399"/>
                </a:cubicBezTo>
                <a:cubicBezTo>
                  <a:pt x="12532" y="1395"/>
                  <a:pt x="12532" y="1395"/>
                  <a:pt x="12532" y="1395"/>
                </a:cubicBezTo>
                <a:cubicBezTo>
                  <a:pt x="12532" y="1395"/>
                  <a:pt x="12528" y="1381"/>
                  <a:pt x="12521" y="1376"/>
                </a:cubicBezTo>
                <a:cubicBezTo>
                  <a:pt x="12514" y="1371"/>
                  <a:pt x="12497" y="1363"/>
                  <a:pt x="12497" y="1363"/>
                </a:cubicBezTo>
                <a:cubicBezTo>
                  <a:pt x="12483" y="1359"/>
                  <a:pt x="12483" y="1359"/>
                  <a:pt x="12483" y="1359"/>
                </a:cubicBezTo>
                <a:cubicBezTo>
                  <a:pt x="12480" y="1350"/>
                  <a:pt x="12480" y="1350"/>
                  <a:pt x="12480" y="1350"/>
                </a:cubicBezTo>
                <a:cubicBezTo>
                  <a:pt x="12480" y="1350"/>
                  <a:pt x="12508" y="1363"/>
                  <a:pt x="12511" y="1357"/>
                </a:cubicBezTo>
                <a:cubicBezTo>
                  <a:pt x="12514" y="1351"/>
                  <a:pt x="12493" y="1345"/>
                  <a:pt x="12493" y="1345"/>
                </a:cubicBezTo>
                <a:cubicBezTo>
                  <a:pt x="12438" y="1319"/>
                  <a:pt x="12438" y="1319"/>
                  <a:pt x="12438" y="1319"/>
                </a:cubicBezTo>
                <a:cubicBezTo>
                  <a:pt x="12438" y="1319"/>
                  <a:pt x="12410" y="1302"/>
                  <a:pt x="12402" y="1297"/>
                </a:cubicBezTo>
                <a:cubicBezTo>
                  <a:pt x="12394" y="1292"/>
                  <a:pt x="12380" y="1302"/>
                  <a:pt x="12380" y="1302"/>
                </a:cubicBezTo>
                <a:cubicBezTo>
                  <a:pt x="12354" y="1295"/>
                  <a:pt x="12354" y="1295"/>
                  <a:pt x="12354" y="1295"/>
                </a:cubicBezTo>
                <a:cubicBezTo>
                  <a:pt x="12379" y="1323"/>
                  <a:pt x="12379" y="1323"/>
                  <a:pt x="12379" y="1323"/>
                </a:cubicBezTo>
                <a:cubicBezTo>
                  <a:pt x="12375" y="1340"/>
                  <a:pt x="12375" y="1340"/>
                  <a:pt x="12375" y="1340"/>
                </a:cubicBezTo>
                <a:cubicBezTo>
                  <a:pt x="12367" y="1338"/>
                  <a:pt x="12367" y="1338"/>
                  <a:pt x="12367" y="1338"/>
                </a:cubicBezTo>
                <a:cubicBezTo>
                  <a:pt x="12366" y="1318"/>
                  <a:pt x="12366" y="1318"/>
                  <a:pt x="12366" y="1318"/>
                </a:cubicBezTo>
                <a:cubicBezTo>
                  <a:pt x="12356" y="1311"/>
                  <a:pt x="12356" y="1311"/>
                  <a:pt x="12356" y="1311"/>
                </a:cubicBezTo>
                <a:cubicBezTo>
                  <a:pt x="12354" y="1330"/>
                  <a:pt x="12354" y="1330"/>
                  <a:pt x="12354" y="1330"/>
                </a:cubicBezTo>
                <a:cubicBezTo>
                  <a:pt x="12325" y="1332"/>
                  <a:pt x="12325" y="1332"/>
                  <a:pt x="12325" y="1332"/>
                </a:cubicBezTo>
                <a:cubicBezTo>
                  <a:pt x="12325" y="1332"/>
                  <a:pt x="12332" y="1322"/>
                  <a:pt x="12327" y="1316"/>
                </a:cubicBezTo>
                <a:cubicBezTo>
                  <a:pt x="12322" y="1310"/>
                  <a:pt x="12309" y="1312"/>
                  <a:pt x="12309" y="1312"/>
                </a:cubicBezTo>
                <a:cubicBezTo>
                  <a:pt x="12304" y="1319"/>
                  <a:pt x="12304" y="1319"/>
                  <a:pt x="12304" y="1319"/>
                </a:cubicBezTo>
                <a:cubicBezTo>
                  <a:pt x="12289" y="1320"/>
                  <a:pt x="12289" y="1320"/>
                  <a:pt x="12289" y="1320"/>
                </a:cubicBezTo>
                <a:cubicBezTo>
                  <a:pt x="12280" y="1295"/>
                  <a:pt x="12280" y="1295"/>
                  <a:pt x="12280" y="1295"/>
                </a:cubicBezTo>
                <a:cubicBezTo>
                  <a:pt x="12276" y="1294"/>
                  <a:pt x="12276" y="1294"/>
                  <a:pt x="12276" y="1294"/>
                </a:cubicBezTo>
                <a:cubicBezTo>
                  <a:pt x="12268" y="1281"/>
                  <a:pt x="12268" y="1281"/>
                  <a:pt x="12268" y="1281"/>
                </a:cubicBezTo>
                <a:cubicBezTo>
                  <a:pt x="12220" y="1283"/>
                  <a:pt x="12220" y="1283"/>
                  <a:pt x="12220" y="1283"/>
                </a:cubicBezTo>
                <a:cubicBezTo>
                  <a:pt x="12214" y="1277"/>
                  <a:pt x="12214" y="1277"/>
                  <a:pt x="12214" y="1277"/>
                </a:cubicBezTo>
                <a:cubicBezTo>
                  <a:pt x="12214" y="1277"/>
                  <a:pt x="12188" y="1281"/>
                  <a:pt x="12188" y="1264"/>
                </a:cubicBezTo>
                <a:cubicBezTo>
                  <a:pt x="12188" y="1247"/>
                  <a:pt x="12210" y="1245"/>
                  <a:pt x="12210" y="1245"/>
                </a:cubicBezTo>
                <a:cubicBezTo>
                  <a:pt x="12210" y="1229"/>
                  <a:pt x="12210" y="1229"/>
                  <a:pt x="12210" y="1229"/>
                </a:cubicBezTo>
                <a:cubicBezTo>
                  <a:pt x="12210" y="1229"/>
                  <a:pt x="12229" y="1228"/>
                  <a:pt x="12230" y="1217"/>
                </a:cubicBezTo>
                <a:cubicBezTo>
                  <a:pt x="12231" y="1206"/>
                  <a:pt x="12241" y="1191"/>
                  <a:pt x="12241" y="1191"/>
                </a:cubicBezTo>
                <a:cubicBezTo>
                  <a:pt x="12231" y="1182"/>
                  <a:pt x="12231" y="1182"/>
                  <a:pt x="12231" y="1182"/>
                </a:cubicBezTo>
                <a:cubicBezTo>
                  <a:pt x="12238" y="1169"/>
                  <a:pt x="12238" y="1169"/>
                  <a:pt x="12238" y="1169"/>
                </a:cubicBezTo>
                <a:cubicBezTo>
                  <a:pt x="12231" y="1159"/>
                  <a:pt x="12231" y="1159"/>
                  <a:pt x="12231" y="1159"/>
                </a:cubicBezTo>
                <a:cubicBezTo>
                  <a:pt x="12245" y="1148"/>
                  <a:pt x="12245" y="1148"/>
                  <a:pt x="12245" y="1148"/>
                </a:cubicBezTo>
                <a:cubicBezTo>
                  <a:pt x="12259" y="1145"/>
                  <a:pt x="12259" y="1145"/>
                  <a:pt x="12259" y="1145"/>
                </a:cubicBezTo>
                <a:cubicBezTo>
                  <a:pt x="12253" y="1123"/>
                  <a:pt x="12253" y="1123"/>
                  <a:pt x="12253" y="1123"/>
                </a:cubicBezTo>
                <a:cubicBezTo>
                  <a:pt x="12268" y="1118"/>
                  <a:pt x="12268" y="1118"/>
                  <a:pt x="12268" y="1118"/>
                </a:cubicBezTo>
                <a:cubicBezTo>
                  <a:pt x="12250" y="1095"/>
                  <a:pt x="12250" y="1095"/>
                  <a:pt x="12250" y="1095"/>
                </a:cubicBezTo>
                <a:cubicBezTo>
                  <a:pt x="12272" y="1086"/>
                  <a:pt x="12272" y="1086"/>
                  <a:pt x="12272" y="1086"/>
                </a:cubicBezTo>
                <a:cubicBezTo>
                  <a:pt x="12272" y="1086"/>
                  <a:pt x="12265" y="1056"/>
                  <a:pt x="12281" y="1046"/>
                </a:cubicBezTo>
                <a:cubicBezTo>
                  <a:pt x="12297" y="1036"/>
                  <a:pt x="12303" y="1035"/>
                  <a:pt x="12303" y="1035"/>
                </a:cubicBezTo>
                <a:cubicBezTo>
                  <a:pt x="12303" y="1035"/>
                  <a:pt x="12328" y="1039"/>
                  <a:pt x="12340" y="1038"/>
                </a:cubicBezTo>
                <a:cubicBezTo>
                  <a:pt x="12352" y="1037"/>
                  <a:pt x="12404" y="1041"/>
                  <a:pt x="12404" y="1041"/>
                </a:cubicBezTo>
                <a:cubicBezTo>
                  <a:pt x="12415" y="1052"/>
                  <a:pt x="12415" y="1052"/>
                  <a:pt x="12415" y="1052"/>
                </a:cubicBezTo>
                <a:cubicBezTo>
                  <a:pt x="12428" y="1047"/>
                  <a:pt x="12428" y="1047"/>
                  <a:pt x="12428" y="1047"/>
                </a:cubicBezTo>
                <a:cubicBezTo>
                  <a:pt x="12423" y="1035"/>
                  <a:pt x="12423" y="1035"/>
                  <a:pt x="12423" y="1035"/>
                </a:cubicBezTo>
                <a:cubicBezTo>
                  <a:pt x="12473" y="1048"/>
                  <a:pt x="12473" y="1048"/>
                  <a:pt x="12473" y="1048"/>
                </a:cubicBezTo>
                <a:cubicBezTo>
                  <a:pt x="12493" y="1036"/>
                  <a:pt x="12493" y="1036"/>
                  <a:pt x="12493" y="1036"/>
                </a:cubicBezTo>
                <a:cubicBezTo>
                  <a:pt x="12512" y="1051"/>
                  <a:pt x="12512" y="1051"/>
                  <a:pt x="12512" y="1051"/>
                </a:cubicBezTo>
                <a:cubicBezTo>
                  <a:pt x="12517" y="1027"/>
                  <a:pt x="12517" y="1027"/>
                  <a:pt x="12517" y="1027"/>
                </a:cubicBezTo>
                <a:cubicBezTo>
                  <a:pt x="12517" y="1027"/>
                  <a:pt x="12540" y="1025"/>
                  <a:pt x="12556" y="1026"/>
                </a:cubicBezTo>
                <a:cubicBezTo>
                  <a:pt x="12572" y="1027"/>
                  <a:pt x="12578" y="1041"/>
                  <a:pt x="12584" y="1039"/>
                </a:cubicBezTo>
                <a:cubicBezTo>
                  <a:pt x="12590" y="1037"/>
                  <a:pt x="12608" y="1026"/>
                  <a:pt x="12608" y="1026"/>
                </a:cubicBezTo>
                <a:cubicBezTo>
                  <a:pt x="12624" y="1040"/>
                  <a:pt x="12624" y="1040"/>
                  <a:pt x="12624" y="1040"/>
                </a:cubicBezTo>
                <a:cubicBezTo>
                  <a:pt x="12652" y="1045"/>
                  <a:pt x="12652" y="1045"/>
                  <a:pt x="12652" y="1045"/>
                </a:cubicBezTo>
                <a:cubicBezTo>
                  <a:pt x="12616" y="1052"/>
                  <a:pt x="12616" y="1052"/>
                  <a:pt x="12616" y="1052"/>
                </a:cubicBezTo>
                <a:cubicBezTo>
                  <a:pt x="12616" y="1052"/>
                  <a:pt x="12627" y="1073"/>
                  <a:pt x="12638" y="1068"/>
                </a:cubicBezTo>
                <a:cubicBezTo>
                  <a:pt x="12649" y="1063"/>
                  <a:pt x="12669" y="1055"/>
                  <a:pt x="12669" y="1055"/>
                </a:cubicBezTo>
                <a:cubicBezTo>
                  <a:pt x="12687" y="1064"/>
                  <a:pt x="12687" y="1064"/>
                  <a:pt x="12687" y="1064"/>
                </a:cubicBezTo>
                <a:cubicBezTo>
                  <a:pt x="12702" y="1052"/>
                  <a:pt x="12702" y="1052"/>
                  <a:pt x="12702" y="1052"/>
                </a:cubicBezTo>
                <a:cubicBezTo>
                  <a:pt x="12702" y="1052"/>
                  <a:pt x="12729" y="1061"/>
                  <a:pt x="12737" y="1057"/>
                </a:cubicBezTo>
                <a:cubicBezTo>
                  <a:pt x="12745" y="1053"/>
                  <a:pt x="12739" y="1045"/>
                  <a:pt x="12739" y="1045"/>
                </a:cubicBezTo>
                <a:cubicBezTo>
                  <a:pt x="12763" y="1047"/>
                  <a:pt x="12763" y="1047"/>
                  <a:pt x="12763" y="1047"/>
                </a:cubicBezTo>
                <a:cubicBezTo>
                  <a:pt x="12730" y="1029"/>
                  <a:pt x="12730" y="1029"/>
                  <a:pt x="12730" y="1029"/>
                </a:cubicBezTo>
                <a:cubicBezTo>
                  <a:pt x="12712" y="1036"/>
                  <a:pt x="12712" y="1036"/>
                  <a:pt x="12712" y="1036"/>
                </a:cubicBezTo>
                <a:cubicBezTo>
                  <a:pt x="12707" y="1024"/>
                  <a:pt x="12707" y="1024"/>
                  <a:pt x="12707" y="1024"/>
                </a:cubicBezTo>
                <a:cubicBezTo>
                  <a:pt x="12707" y="1024"/>
                  <a:pt x="12692" y="1001"/>
                  <a:pt x="12694" y="996"/>
                </a:cubicBezTo>
                <a:cubicBezTo>
                  <a:pt x="12696" y="991"/>
                  <a:pt x="12713" y="977"/>
                  <a:pt x="12713" y="977"/>
                </a:cubicBezTo>
                <a:cubicBezTo>
                  <a:pt x="12709" y="957"/>
                  <a:pt x="12709" y="957"/>
                  <a:pt x="12709" y="957"/>
                </a:cubicBezTo>
                <a:cubicBezTo>
                  <a:pt x="12718" y="949"/>
                  <a:pt x="12718" y="949"/>
                  <a:pt x="12718" y="949"/>
                </a:cubicBezTo>
                <a:cubicBezTo>
                  <a:pt x="12718" y="949"/>
                  <a:pt x="12692" y="936"/>
                  <a:pt x="12709" y="925"/>
                </a:cubicBezTo>
                <a:cubicBezTo>
                  <a:pt x="12726" y="914"/>
                  <a:pt x="12762" y="925"/>
                  <a:pt x="12762" y="925"/>
                </a:cubicBezTo>
                <a:cubicBezTo>
                  <a:pt x="12776" y="911"/>
                  <a:pt x="12776" y="911"/>
                  <a:pt x="12776" y="911"/>
                </a:cubicBezTo>
                <a:cubicBezTo>
                  <a:pt x="12798" y="930"/>
                  <a:pt x="12798" y="930"/>
                  <a:pt x="12798" y="930"/>
                </a:cubicBezTo>
                <a:cubicBezTo>
                  <a:pt x="12817" y="919"/>
                  <a:pt x="12817" y="919"/>
                  <a:pt x="12817" y="919"/>
                </a:cubicBezTo>
                <a:cubicBezTo>
                  <a:pt x="12817" y="919"/>
                  <a:pt x="12830" y="952"/>
                  <a:pt x="12837" y="955"/>
                </a:cubicBezTo>
                <a:cubicBezTo>
                  <a:pt x="12844" y="958"/>
                  <a:pt x="12865" y="954"/>
                  <a:pt x="12865" y="954"/>
                </a:cubicBezTo>
                <a:cubicBezTo>
                  <a:pt x="12865" y="954"/>
                  <a:pt x="12865" y="985"/>
                  <a:pt x="12876" y="981"/>
                </a:cubicBezTo>
                <a:cubicBezTo>
                  <a:pt x="12887" y="977"/>
                  <a:pt x="12902" y="937"/>
                  <a:pt x="12902" y="937"/>
                </a:cubicBezTo>
                <a:cubicBezTo>
                  <a:pt x="12918" y="928"/>
                  <a:pt x="12918" y="928"/>
                  <a:pt x="12918" y="928"/>
                </a:cubicBezTo>
                <a:cubicBezTo>
                  <a:pt x="12938" y="935"/>
                  <a:pt x="12938" y="935"/>
                  <a:pt x="12938" y="935"/>
                </a:cubicBezTo>
                <a:cubicBezTo>
                  <a:pt x="12937" y="926"/>
                  <a:pt x="12937" y="926"/>
                  <a:pt x="12937" y="926"/>
                </a:cubicBezTo>
                <a:cubicBezTo>
                  <a:pt x="12918" y="916"/>
                  <a:pt x="12918" y="916"/>
                  <a:pt x="12918" y="916"/>
                </a:cubicBezTo>
                <a:cubicBezTo>
                  <a:pt x="12918" y="916"/>
                  <a:pt x="12871" y="882"/>
                  <a:pt x="12882" y="881"/>
                </a:cubicBezTo>
                <a:cubicBezTo>
                  <a:pt x="12893" y="880"/>
                  <a:pt x="12947" y="882"/>
                  <a:pt x="12947" y="882"/>
                </a:cubicBezTo>
                <a:cubicBezTo>
                  <a:pt x="12981" y="882"/>
                  <a:pt x="12981" y="882"/>
                  <a:pt x="12981" y="882"/>
                </a:cubicBezTo>
                <a:cubicBezTo>
                  <a:pt x="12981" y="882"/>
                  <a:pt x="12984" y="896"/>
                  <a:pt x="12980" y="895"/>
                </a:cubicBezTo>
                <a:cubicBezTo>
                  <a:pt x="12976" y="894"/>
                  <a:pt x="12937" y="882"/>
                  <a:pt x="12939" y="896"/>
                </a:cubicBezTo>
                <a:cubicBezTo>
                  <a:pt x="12941" y="910"/>
                  <a:pt x="12964" y="923"/>
                  <a:pt x="12964" y="923"/>
                </a:cubicBezTo>
                <a:cubicBezTo>
                  <a:pt x="12966" y="940"/>
                  <a:pt x="12966" y="940"/>
                  <a:pt x="12966" y="940"/>
                </a:cubicBezTo>
                <a:cubicBezTo>
                  <a:pt x="12986" y="943"/>
                  <a:pt x="12986" y="943"/>
                  <a:pt x="12986" y="943"/>
                </a:cubicBezTo>
                <a:cubicBezTo>
                  <a:pt x="12982" y="956"/>
                  <a:pt x="12982" y="956"/>
                  <a:pt x="12982" y="956"/>
                </a:cubicBezTo>
                <a:cubicBezTo>
                  <a:pt x="12995" y="967"/>
                  <a:pt x="12995" y="967"/>
                  <a:pt x="12995" y="967"/>
                </a:cubicBezTo>
                <a:cubicBezTo>
                  <a:pt x="12977" y="970"/>
                  <a:pt x="12977" y="970"/>
                  <a:pt x="12977" y="970"/>
                </a:cubicBezTo>
                <a:cubicBezTo>
                  <a:pt x="12972" y="981"/>
                  <a:pt x="12972" y="981"/>
                  <a:pt x="12972" y="981"/>
                </a:cubicBezTo>
                <a:cubicBezTo>
                  <a:pt x="12960" y="985"/>
                  <a:pt x="12960" y="985"/>
                  <a:pt x="12960" y="985"/>
                </a:cubicBezTo>
                <a:cubicBezTo>
                  <a:pt x="12960" y="985"/>
                  <a:pt x="12973" y="1007"/>
                  <a:pt x="12966" y="1019"/>
                </a:cubicBezTo>
                <a:cubicBezTo>
                  <a:pt x="12959" y="1031"/>
                  <a:pt x="12948" y="1051"/>
                  <a:pt x="12948" y="1058"/>
                </a:cubicBezTo>
                <a:cubicBezTo>
                  <a:pt x="12948" y="1065"/>
                  <a:pt x="12966" y="1071"/>
                  <a:pt x="12953" y="1088"/>
                </a:cubicBezTo>
                <a:cubicBezTo>
                  <a:pt x="12940" y="1105"/>
                  <a:pt x="12918" y="1110"/>
                  <a:pt x="12918" y="1110"/>
                </a:cubicBezTo>
                <a:cubicBezTo>
                  <a:pt x="12921" y="1122"/>
                  <a:pt x="12921" y="1122"/>
                  <a:pt x="12921" y="1122"/>
                </a:cubicBezTo>
                <a:cubicBezTo>
                  <a:pt x="12908" y="1122"/>
                  <a:pt x="12908" y="1122"/>
                  <a:pt x="12908" y="1122"/>
                </a:cubicBezTo>
                <a:cubicBezTo>
                  <a:pt x="12908" y="1122"/>
                  <a:pt x="12932" y="1132"/>
                  <a:pt x="12930" y="1149"/>
                </a:cubicBezTo>
                <a:cubicBezTo>
                  <a:pt x="12928" y="1166"/>
                  <a:pt x="12921" y="1177"/>
                  <a:pt x="12928" y="1194"/>
                </a:cubicBezTo>
                <a:cubicBezTo>
                  <a:pt x="12935" y="1211"/>
                  <a:pt x="13000" y="1265"/>
                  <a:pt x="13000" y="1265"/>
                </a:cubicBezTo>
                <a:cubicBezTo>
                  <a:pt x="13040" y="1306"/>
                  <a:pt x="13040" y="1306"/>
                  <a:pt x="13040" y="1306"/>
                </a:cubicBezTo>
                <a:cubicBezTo>
                  <a:pt x="13049" y="1303"/>
                  <a:pt x="13049" y="1303"/>
                  <a:pt x="13049" y="1303"/>
                </a:cubicBezTo>
                <a:cubicBezTo>
                  <a:pt x="13102" y="1367"/>
                  <a:pt x="13102" y="1367"/>
                  <a:pt x="13102" y="1367"/>
                </a:cubicBezTo>
                <a:cubicBezTo>
                  <a:pt x="13137" y="1378"/>
                  <a:pt x="13137" y="1378"/>
                  <a:pt x="13137" y="1378"/>
                </a:cubicBezTo>
                <a:cubicBezTo>
                  <a:pt x="13152" y="1396"/>
                  <a:pt x="13152" y="1396"/>
                  <a:pt x="13152" y="1396"/>
                </a:cubicBezTo>
                <a:cubicBezTo>
                  <a:pt x="13152" y="1396"/>
                  <a:pt x="13191" y="1444"/>
                  <a:pt x="13198" y="1448"/>
                </a:cubicBezTo>
                <a:cubicBezTo>
                  <a:pt x="13205" y="1452"/>
                  <a:pt x="13216" y="1452"/>
                  <a:pt x="13216" y="1452"/>
                </a:cubicBezTo>
                <a:cubicBezTo>
                  <a:pt x="13216" y="1452"/>
                  <a:pt x="13210" y="1470"/>
                  <a:pt x="13225" y="1464"/>
                </a:cubicBezTo>
                <a:cubicBezTo>
                  <a:pt x="13240" y="1458"/>
                  <a:pt x="13238" y="1445"/>
                  <a:pt x="13238" y="1445"/>
                </a:cubicBezTo>
                <a:cubicBezTo>
                  <a:pt x="13231" y="1437"/>
                  <a:pt x="13231" y="1437"/>
                  <a:pt x="13231" y="1437"/>
                </a:cubicBezTo>
                <a:cubicBezTo>
                  <a:pt x="13231" y="1437"/>
                  <a:pt x="13246" y="1417"/>
                  <a:pt x="13243" y="1408"/>
                </a:cubicBezTo>
                <a:cubicBezTo>
                  <a:pt x="13240" y="1399"/>
                  <a:pt x="13209" y="1382"/>
                  <a:pt x="13216" y="1369"/>
                </a:cubicBezTo>
                <a:cubicBezTo>
                  <a:pt x="13223" y="1356"/>
                  <a:pt x="13232" y="1348"/>
                  <a:pt x="13235" y="1347"/>
                </a:cubicBezTo>
                <a:cubicBezTo>
                  <a:pt x="13238" y="1346"/>
                  <a:pt x="13258" y="1354"/>
                  <a:pt x="13258" y="1354"/>
                </a:cubicBezTo>
                <a:cubicBezTo>
                  <a:pt x="13258" y="1354"/>
                  <a:pt x="13236" y="1328"/>
                  <a:pt x="13230" y="1324"/>
                </a:cubicBezTo>
                <a:cubicBezTo>
                  <a:pt x="13224" y="1320"/>
                  <a:pt x="13209" y="1314"/>
                  <a:pt x="13212" y="1299"/>
                </a:cubicBezTo>
                <a:cubicBezTo>
                  <a:pt x="13215" y="1284"/>
                  <a:pt x="13233" y="1279"/>
                  <a:pt x="13233" y="1279"/>
                </a:cubicBezTo>
                <a:cubicBezTo>
                  <a:pt x="13233" y="1279"/>
                  <a:pt x="13262" y="1291"/>
                  <a:pt x="13260" y="1276"/>
                </a:cubicBezTo>
                <a:cubicBezTo>
                  <a:pt x="13258" y="1261"/>
                  <a:pt x="13245" y="1257"/>
                  <a:pt x="13229" y="1249"/>
                </a:cubicBezTo>
                <a:cubicBezTo>
                  <a:pt x="13213" y="1241"/>
                  <a:pt x="13199" y="1222"/>
                  <a:pt x="13198" y="1211"/>
                </a:cubicBezTo>
                <a:cubicBezTo>
                  <a:pt x="13197" y="1200"/>
                  <a:pt x="13191" y="1188"/>
                  <a:pt x="13191" y="1188"/>
                </a:cubicBezTo>
                <a:cubicBezTo>
                  <a:pt x="13198" y="1185"/>
                  <a:pt x="13198" y="1185"/>
                  <a:pt x="13198" y="1185"/>
                </a:cubicBezTo>
                <a:cubicBezTo>
                  <a:pt x="13198" y="1185"/>
                  <a:pt x="13224" y="1210"/>
                  <a:pt x="13230" y="1205"/>
                </a:cubicBezTo>
                <a:cubicBezTo>
                  <a:pt x="13236" y="1200"/>
                  <a:pt x="13212" y="1173"/>
                  <a:pt x="13212" y="1173"/>
                </a:cubicBezTo>
                <a:cubicBezTo>
                  <a:pt x="13189" y="1170"/>
                  <a:pt x="13189" y="1170"/>
                  <a:pt x="13189" y="1170"/>
                </a:cubicBezTo>
                <a:cubicBezTo>
                  <a:pt x="13156" y="1142"/>
                  <a:pt x="13156" y="1142"/>
                  <a:pt x="13156" y="1142"/>
                </a:cubicBezTo>
                <a:cubicBezTo>
                  <a:pt x="13156" y="1142"/>
                  <a:pt x="13160" y="1121"/>
                  <a:pt x="13144" y="1114"/>
                </a:cubicBezTo>
                <a:cubicBezTo>
                  <a:pt x="13128" y="1107"/>
                  <a:pt x="13116" y="1107"/>
                  <a:pt x="13116" y="1107"/>
                </a:cubicBezTo>
                <a:cubicBezTo>
                  <a:pt x="13117" y="1119"/>
                  <a:pt x="13117" y="1119"/>
                  <a:pt x="13117" y="1119"/>
                </a:cubicBezTo>
                <a:cubicBezTo>
                  <a:pt x="13117" y="1119"/>
                  <a:pt x="13073" y="1109"/>
                  <a:pt x="13072" y="1093"/>
                </a:cubicBezTo>
                <a:cubicBezTo>
                  <a:pt x="13071" y="1077"/>
                  <a:pt x="13079" y="1066"/>
                  <a:pt x="13071" y="1051"/>
                </a:cubicBezTo>
                <a:cubicBezTo>
                  <a:pt x="13063" y="1036"/>
                  <a:pt x="13047" y="1028"/>
                  <a:pt x="13047" y="1028"/>
                </a:cubicBezTo>
                <a:cubicBezTo>
                  <a:pt x="13047" y="1028"/>
                  <a:pt x="13049" y="1012"/>
                  <a:pt x="13053" y="1010"/>
                </a:cubicBezTo>
                <a:cubicBezTo>
                  <a:pt x="13057" y="1008"/>
                  <a:pt x="13066" y="1015"/>
                  <a:pt x="13066" y="1015"/>
                </a:cubicBezTo>
                <a:cubicBezTo>
                  <a:pt x="13075" y="1004"/>
                  <a:pt x="13075" y="1004"/>
                  <a:pt x="13075" y="1004"/>
                </a:cubicBezTo>
                <a:cubicBezTo>
                  <a:pt x="13100" y="1023"/>
                  <a:pt x="13100" y="1023"/>
                  <a:pt x="13100" y="1023"/>
                </a:cubicBezTo>
                <a:cubicBezTo>
                  <a:pt x="13105" y="1018"/>
                  <a:pt x="13105" y="1018"/>
                  <a:pt x="13105" y="1018"/>
                </a:cubicBezTo>
                <a:cubicBezTo>
                  <a:pt x="13097" y="1010"/>
                  <a:pt x="13097" y="1010"/>
                  <a:pt x="13097" y="1010"/>
                </a:cubicBezTo>
                <a:cubicBezTo>
                  <a:pt x="13097" y="1010"/>
                  <a:pt x="13103" y="978"/>
                  <a:pt x="13114" y="984"/>
                </a:cubicBezTo>
                <a:cubicBezTo>
                  <a:pt x="13125" y="990"/>
                  <a:pt x="13152" y="1023"/>
                  <a:pt x="13152" y="1023"/>
                </a:cubicBezTo>
                <a:cubicBezTo>
                  <a:pt x="13159" y="990"/>
                  <a:pt x="13159" y="990"/>
                  <a:pt x="13159" y="990"/>
                </a:cubicBezTo>
                <a:cubicBezTo>
                  <a:pt x="13159" y="990"/>
                  <a:pt x="13216" y="983"/>
                  <a:pt x="13225" y="983"/>
                </a:cubicBezTo>
                <a:cubicBezTo>
                  <a:pt x="13234" y="983"/>
                  <a:pt x="13271" y="1003"/>
                  <a:pt x="13271" y="1003"/>
                </a:cubicBezTo>
                <a:cubicBezTo>
                  <a:pt x="13299" y="1014"/>
                  <a:pt x="13299" y="1014"/>
                  <a:pt x="13299" y="1014"/>
                </a:cubicBezTo>
                <a:cubicBezTo>
                  <a:pt x="13279" y="974"/>
                  <a:pt x="13279" y="974"/>
                  <a:pt x="13279" y="974"/>
                </a:cubicBezTo>
                <a:cubicBezTo>
                  <a:pt x="13279" y="974"/>
                  <a:pt x="13311" y="975"/>
                  <a:pt x="13313" y="964"/>
                </a:cubicBezTo>
                <a:cubicBezTo>
                  <a:pt x="13315" y="953"/>
                  <a:pt x="13305" y="935"/>
                  <a:pt x="13305" y="935"/>
                </a:cubicBezTo>
                <a:cubicBezTo>
                  <a:pt x="13318" y="936"/>
                  <a:pt x="13318" y="936"/>
                  <a:pt x="13318" y="936"/>
                </a:cubicBezTo>
                <a:cubicBezTo>
                  <a:pt x="13321" y="920"/>
                  <a:pt x="13321" y="920"/>
                  <a:pt x="13321" y="920"/>
                </a:cubicBezTo>
                <a:cubicBezTo>
                  <a:pt x="13321" y="920"/>
                  <a:pt x="13360" y="929"/>
                  <a:pt x="13366" y="914"/>
                </a:cubicBezTo>
                <a:cubicBezTo>
                  <a:pt x="13372" y="899"/>
                  <a:pt x="13392" y="887"/>
                  <a:pt x="13392" y="887"/>
                </a:cubicBezTo>
                <a:cubicBezTo>
                  <a:pt x="13378" y="870"/>
                  <a:pt x="13378" y="870"/>
                  <a:pt x="13378" y="870"/>
                </a:cubicBezTo>
                <a:cubicBezTo>
                  <a:pt x="13399" y="872"/>
                  <a:pt x="13399" y="872"/>
                  <a:pt x="13399" y="872"/>
                </a:cubicBezTo>
                <a:cubicBezTo>
                  <a:pt x="13402" y="884"/>
                  <a:pt x="13402" y="884"/>
                  <a:pt x="13402" y="884"/>
                </a:cubicBezTo>
                <a:cubicBezTo>
                  <a:pt x="13443" y="887"/>
                  <a:pt x="13443" y="887"/>
                  <a:pt x="13443" y="887"/>
                </a:cubicBezTo>
                <a:cubicBezTo>
                  <a:pt x="13443" y="887"/>
                  <a:pt x="13485" y="897"/>
                  <a:pt x="13485" y="891"/>
                </a:cubicBezTo>
                <a:cubicBezTo>
                  <a:pt x="13485" y="885"/>
                  <a:pt x="13481" y="873"/>
                  <a:pt x="13481" y="873"/>
                </a:cubicBezTo>
                <a:cubicBezTo>
                  <a:pt x="13456" y="870"/>
                  <a:pt x="13456" y="870"/>
                  <a:pt x="13456" y="870"/>
                </a:cubicBezTo>
                <a:cubicBezTo>
                  <a:pt x="13452" y="856"/>
                  <a:pt x="13452" y="856"/>
                  <a:pt x="13452" y="856"/>
                </a:cubicBezTo>
                <a:cubicBezTo>
                  <a:pt x="13452" y="856"/>
                  <a:pt x="13415" y="843"/>
                  <a:pt x="13403" y="839"/>
                </a:cubicBezTo>
                <a:cubicBezTo>
                  <a:pt x="13391" y="835"/>
                  <a:pt x="13382" y="841"/>
                  <a:pt x="13382" y="841"/>
                </a:cubicBezTo>
                <a:cubicBezTo>
                  <a:pt x="13386" y="829"/>
                  <a:pt x="13386" y="829"/>
                  <a:pt x="13386" y="829"/>
                </a:cubicBezTo>
                <a:cubicBezTo>
                  <a:pt x="13338" y="795"/>
                  <a:pt x="13338" y="795"/>
                  <a:pt x="13338" y="795"/>
                </a:cubicBezTo>
                <a:cubicBezTo>
                  <a:pt x="13327" y="806"/>
                  <a:pt x="13327" y="806"/>
                  <a:pt x="13327" y="806"/>
                </a:cubicBezTo>
                <a:cubicBezTo>
                  <a:pt x="13327" y="806"/>
                  <a:pt x="13307" y="801"/>
                  <a:pt x="13299" y="798"/>
                </a:cubicBezTo>
                <a:cubicBezTo>
                  <a:pt x="13291" y="795"/>
                  <a:pt x="13280" y="786"/>
                  <a:pt x="13280" y="786"/>
                </a:cubicBezTo>
                <a:cubicBezTo>
                  <a:pt x="13257" y="791"/>
                  <a:pt x="13257" y="791"/>
                  <a:pt x="13257" y="791"/>
                </a:cubicBezTo>
                <a:cubicBezTo>
                  <a:pt x="13238" y="789"/>
                  <a:pt x="13238" y="789"/>
                  <a:pt x="13238" y="789"/>
                </a:cubicBezTo>
                <a:cubicBezTo>
                  <a:pt x="13238" y="789"/>
                  <a:pt x="13207" y="771"/>
                  <a:pt x="13219" y="768"/>
                </a:cubicBezTo>
                <a:cubicBezTo>
                  <a:pt x="13231" y="765"/>
                  <a:pt x="13243" y="772"/>
                  <a:pt x="13252" y="774"/>
                </a:cubicBezTo>
                <a:cubicBezTo>
                  <a:pt x="13261" y="776"/>
                  <a:pt x="13305" y="783"/>
                  <a:pt x="13305" y="783"/>
                </a:cubicBezTo>
                <a:cubicBezTo>
                  <a:pt x="13305" y="783"/>
                  <a:pt x="13357" y="768"/>
                  <a:pt x="13357" y="761"/>
                </a:cubicBezTo>
                <a:cubicBezTo>
                  <a:pt x="13357" y="754"/>
                  <a:pt x="13327" y="738"/>
                  <a:pt x="13324" y="736"/>
                </a:cubicBezTo>
                <a:cubicBezTo>
                  <a:pt x="13321" y="734"/>
                  <a:pt x="13272" y="717"/>
                  <a:pt x="13287" y="708"/>
                </a:cubicBezTo>
                <a:cubicBezTo>
                  <a:pt x="13302" y="699"/>
                  <a:pt x="13327" y="719"/>
                  <a:pt x="13327" y="719"/>
                </a:cubicBezTo>
                <a:cubicBezTo>
                  <a:pt x="13327" y="719"/>
                  <a:pt x="13374" y="748"/>
                  <a:pt x="13388" y="746"/>
                </a:cubicBezTo>
                <a:cubicBezTo>
                  <a:pt x="13402" y="744"/>
                  <a:pt x="13407" y="730"/>
                  <a:pt x="13446" y="743"/>
                </a:cubicBezTo>
                <a:cubicBezTo>
                  <a:pt x="13485" y="756"/>
                  <a:pt x="13519" y="770"/>
                  <a:pt x="13530" y="772"/>
                </a:cubicBezTo>
                <a:cubicBezTo>
                  <a:pt x="13541" y="774"/>
                  <a:pt x="13584" y="786"/>
                  <a:pt x="13584" y="786"/>
                </a:cubicBezTo>
                <a:cubicBezTo>
                  <a:pt x="13584" y="786"/>
                  <a:pt x="13643" y="821"/>
                  <a:pt x="13639" y="803"/>
                </a:cubicBezTo>
                <a:cubicBezTo>
                  <a:pt x="13635" y="785"/>
                  <a:pt x="13615" y="774"/>
                  <a:pt x="13615" y="774"/>
                </a:cubicBezTo>
                <a:cubicBezTo>
                  <a:pt x="13627" y="765"/>
                  <a:pt x="13627" y="765"/>
                  <a:pt x="13627" y="765"/>
                </a:cubicBezTo>
                <a:cubicBezTo>
                  <a:pt x="13597" y="752"/>
                  <a:pt x="13597" y="752"/>
                  <a:pt x="13597" y="752"/>
                </a:cubicBezTo>
                <a:cubicBezTo>
                  <a:pt x="13603" y="748"/>
                  <a:pt x="13603" y="748"/>
                  <a:pt x="13603" y="748"/>
                </a:cubicBezTo>
                <a:cubicBezTo>
                  <a:pt x="13570" y="731"/>
                  <a:pt x="13570" y="731"/>
                  <a:pt x="13570" y="731"/>
                </a:cubicBezTo>
                <a:cubicBezTo>
                  <a:pt x="13606" y="738"/>
                  <a:pt x="13606" y="738"/>
                  <a:pt x="13606" y="738"/>
                </a:cubicBezTo>
                <a:cubicBezTo>
                  <a:pt x="13602" y="725"/>
                  <a:pt x="13602" y="725"/>
                  <a:pt x="13602" y="725"/>
                </a:cubicBezTo>
                <a:cubicBezTo>
                  <a:pt x="13602" y="725"/>
                  <a:pt x="13653" y="737"/>
                  <a:pt x="13642" y="723"/>
                </a:cubicBezTo>
                <a:cubicBezTo>
                  <a:pt x="13631" y="709"/>
                  <a:pt x="13601" y="704"/>
                  <a:pt x="13601" y="704"/>
                </a:cubicBezTo>
                <a:cubicBezTo>
                  <a:pt x="13570" y="690"/>
                  <a:pt x="13570" y="690"/>
                  <a:pt x="13570" y="690"/>
                </a:cubicBezTo>
                <a:cubicBezTo>
                  <a:pt x="13543" y="691"/>
                  <a:pt x="13543" y="691"/>
                  <a:pt x="13543" y="691"/>
                </a:cubicBezTo>
                <a:cubicBezTo>
                  <a:pt x="13523" y="678"/>
                  <a:pt x="13523" y="678"/>
                  <a:pt x="13523" y="678"/>
                </a:cubicBezTo>
                <a:cubicBezTo>
                  <a:pt x="13462" y="674"/>
                  <a:pt x="13462" y="674"/>
                  <a:pt x="13462" y="674"/>
                </a:cubicBezTo>
                <a:cubicBezTo>
                  <a:pt x="13437" y="662"/>
                  <a:pt x="13437" y="662"/>
                  <a:pt x="13437" y="662"/>
                </a:cubicBezTo>
                <a:cubicBezTo>
                  <a:pt x="13413" y="664"/>
                  <a:pt x="13413" y="664"/>
                  <a:pt x="13413" y="664"/>
                </a:cubicBezTo>
                <a:cubicBezTo>
                  <a:pt x="13446" y="689"/>
                  <a:pt x="13446" y="689"/>
                  <a:pt x="13446" y="689"/>
                </a:cubicBezTo>
                <a:cubicBezTo>
                  <a:pt x="13482" y="705"/>
                  <a:pt x="13482" y="705"/>
                  <a:pt x="13482" y="705"/>
                </a:cubicBezTo>
                <a:cubicBezTo>
                  <a:pt x="13482" y="705"/>
                  <a:pt x="13442" y="711"/>
                  <a:pt x="13430" y="701"/>
                </a:cubicBezTo>
                <a:cubicBezTo>
                  <a:pt x="13418" y="691"/>
                  <a:pt x="13417" y="669"/>
                  <a:pt x="13364" y="651"/>
                </a:cubicBezTo>
                <a:cubicBezTo>
                  <a:pt x="13311" y="633"/>
                  <a:pt x="13295" y="626"/>
                  <a:pt x="13241" y="617"/>
                </a:cubicBezTo>
                <a:cubicBezTo>
                  <a:pt x="13187" y="608"/>
                  <a:pt x="13074" y="582"/>
                  <a:pt x="13020" y="569"/>
                </a:cubicBezTo>
                <a:cubicBezTo>
                  <a:pt x="12966" y="556"/>
                  <a:pt x="12905" y="547"/>
                  <a:pt x="12905" y="547"/>
                </a:cubicBezTo>
                <a:cubicBezTo>
                  <a:pt x="12783" y="549"/>
                  <a:pt x="12783" y="549"/>
                  <a:pt x="12783" y="549"/>
                </a:cubicBezTo>
                <a:cubicBezTo>
                  <a:pt x="12774" y="537"/>
                  <a:pt x="12774" y="537"/>
                  <a:pt x="12774" y="537"/>
                </a:cubicBezTo>
                <a:cubicBezTo>
                  <a:pt x="12743" y="539"/>
                  <a:pt x="12743" y="539"/>
                  <a:pt x="12743" y="539"/>
                </a:cubicBezTo>
                <a:cubicBezTo>
                  <a:pt x="12732" y="531"/>
                  <a:pt x="12732" y="531"/>
                  <a:pt x="12732" y="531"/>
                </a:cubicBezTo>
                <a:cubicBezTo>
                  <a:pt x="12696" y="530"/>
                  <a:pt x="12696" y="530"/>
                  <a:pt x="12696" y="530"/>
                </a:cubicBezTo>
                <a:cubicBezTo>
                  <a:pt x="12713" y="542"/>
                  <a:pt x="12713" y="542"/>
                  <a:pt x="12713" y="542"/>
                </a:cubicBezTo>
                <a:cubicBezTo>
                  <a:pt x="12708" y="556"/>
                  <a:pt x="12708" y="556"/>
                  <a:pt x="12708" y="556"/>
                </a:cubicBezTo>
                <a:cubicBezTo>
                  <a:pt x="12708" y="556"/>
                  <a:pt x="12807" y="579"/>
                  <a:pt x="12778" y="592"/>
                </a:cubicBezTo>
                <a:cubicBezTo>
                  <a:pt x="12749" y="605"/>
                  <a:pt x="12731" y="588"/>
                  <a:pt x="12731" y="588"/>
                </a:cubicBezTo>
                <a:cubicBezTo>
                  <a:pt x="12714" y="574"/>
                  <a:pt x="12714" y="574"/>
                  <a:pt x="12714" y="574"/>
                </a:cubicBezTo>
                <a:cubicBezTo>
                  <a:pt x="12669" y="574"/>
                  <a:pt x="12669" y="574"/>
                  <a:pt x="12669" y="574"/>
                </a:cubicBezTo>
                <a:cubicBezTo>
                  <a:pt x="12632" y="551"/>
                  <a:pt x="12632" y="551"/>
                  <a:pt x="12632" y="551"/>
                </a:cubicBezTo>
                <a:cubicBezTo>
                  <a:pt x="12632" y="551"/>
                  <a:pt x="12614" y="555"/>
                  <a:pt x="12610" y="558"/>
                </a:cubicBezTo>
                <a:cubicBezTo>
                  <a:pt x="12606" y="561"/>
                  <a:pt x="12574" y="560"/>
                  <a:pt x="12574" y="560"/>
                </a:cubicBezTo>
                <a:cubicBezTo>
                  <a:pt x="12570" y="552"/>
                  <a:pt x="12570" y="552"/>
                  <a:pt x="12570" y="552"/>
                </a:cubicBezTo>
                <a:cubicBezTo>
                  <a:pt x="12508" y="555"/>
                  <a:pt x="12508" y="555"/>
                  <a:pt x="12508" y="555"/>
                </a:cubicBezTo>
                <a:cubicBezTo>
                  <a:pt x="12492" y="543"/>
                  <a:pt x="12492" y="543"/>
                  <a:pt x="12492" y="543"/>
                </a:cubicBezTo>
                <a:cubicBezTo>
                  <a:pt x="12487" y="549"/>
                  <a:pt x="12487" y="549"/>
                  <a:pt x="12487" y="549"/>
                </a:cubicBezTo>
                <a:cubicBezTo>
                  <a:pt x="12487" y="549"/>
                  <a:pt x="12409" y="542"/>
                  <a:pt x="12414" y="552"/>
                </a:cubicBezTo>
                <a:cubicBezTo>
                  <a:pt x="12419" y="562"/>
                  <a:pt x="12448" y="586"/>
                  <a:pt x="12448" y="586"/>
                </a:cubicBezTo>
                <a:cubicBezTo>
                  <a:pt x="12448" y="586"/>
                  <a:pt x="12412" y="565"/>
                  <a:pt x="12407" y="560"/>
                </a:cubicBezTo>
                <a:cubicBezTo>
                  <a:pt x="12402" y="555"/>
                  <a:pt x="12336" y="547"/>
                  <a:pt x="12336" y="547"/>
                </a:cubicBezTo>
                <a:cubicBezTo>
                  <a:pt x="12336" y="547"/>
                  <a:pt x="12326" y="529"/>
                  <a:pt x="12301" y="516"/>
                </a:cubicBezTo>
                <a:cubicBezTo>
                  <a:pt x="12276" y="503"/>
                  <a:pt x="12238" y="497"/>
                  <a:pt x="12221" y="496"/>
                </a:cubicBezTo>
                <a:cubicBezTo>
                  <a:pt x="12204" y="495"/>
                  <a:pt x="12169" y="491"/>
                  <a:pt x="12169" y="491"/>
                </a:cubicBezTo>
                <a:cubicBezTo>
                  <a:pt x="12135" y="484"/>
                  <a:pt x="12135" y="484"/>
                  <a:pt x="12135" y="484"/>
                </a:cubicBezTo>
                <a:cubicBezTo>
                  <a:pt x="12126" y="488"/>
                  <a:pt x="12126" y="488"/>
                  <a:pt x="12126" y="488"/>
                </a:cubicBezTo>
                <a:cubicBezTo>
                  <a:pt x="12086" y="486"/>
                  <a:pt x="12086" y="486"/>
                  <a:pt x="12086" y="486"/>
                </a:cubicBezTo>
                <a:cubicBezTo>
                  <a:pt x="12086" y="486"/>
                  <a:pt x="12081" y="506"/>
                  <a:pt x="12059" y="503"/>
                </a:cubicBezTo>
                <a:cubicBezTo>
                  <a:pt x="12037" y="500"/>
                  <a:pt x="12008" y="498"/>
                  <a:pt x="12008" y="498"/>
                </a:cubicBezTo>
                <a:cubicBezTo>
                  <a:pt x="12008" y="498"/>
                  <a:pt x="11978" y="478"/>
                  <a:pt x="11961" y="477"/>
                </a:cubicBezTo>
                <a:cubicBezTo>
                  <a:pt x="11944" y="476"/>
                  <a:pt x="11935" y="479"/>
                  <a:pt x="11935" y="479"/>
                </a:cubicBezTo>
                <a:cubicBezTo>
                  <a:pt x="11929" y="468"/>
                  <a:pt x="11929" y="468"/>
                  <a:pt x="11929" y="468"/>
                </a:cubicBezTo>
                <a:cubicBezTo>
                  <a:pt x="11904" y="466"/>
                  <a:pt x="11904" y="466"/>
                  <a:pt x="11904" y="466"/>
                </a:cubicBezTo>
                <a:cubicBezTo>
                  <a:pt x="11861" y="462"/>
                  <a:pt x="11861" y="462"/>
                  <a:pt x="11861" y="462"/>
                </a:cubicBezTo>
                <a:cubicBezTo>
                  <a:pt x="11885" y="454"/>
                  <a:pt x="11885" y="454"/>
                  <a:pt x="11885" y="454"/>
                </a:cubicBezTo>
                <a:cubicBezTo>
                  <a:pt x="11859" y="441"/>
                  <a:pt x="11859" y="441"/>
                  <a:pt x="11859" y="441"/>
                </a:cubicBezTo>
                <a:cubicBezTo>
                  <a:pt x="11859" y="441"/>
                  <a:pt x="11766" y="428"/>
                  <a:pt x="11763" y="434"/>
                </a:cubicBezTo>
                <a:cubicBezTo>
                  <a:pt x="11760" y="440"/>
                  <a:pt x="11772" y="459"/>
                  <a:pt x="11757" y="460"/>
                </a:cubicBezTo>
                <a:cubicBezTo>
                  <a:pt x="11742" y="461"/>
                  <a:pt x="11722" y="457"/>
                  <a:pt x="11722" y="457"/>
                </a:cubicBezTo>
                <a:cubicBezTo>
                  <a:pt x="11734" y="449"/>
                  <a:pt x="11734" y="449"/>
                  <a:pt x="11734" y="449"/>
                </a:cubicBezTo>
                <a:cubicBezTo>
                  <a:pt x="11724" y="439"/>
                  <a:pt x="11724" y="439"/>
                  <a:pt x="11724" y="439"/>
                </a:cubicBezTo>
                <a:cubicBezTo>
                  <a:pt x="11724" y="439"/>
                  <a:pt x="11718" y="439"/>
                  <a:pt x="11704" y="441"/>
                </a:cubicBezTo>
                <a:cubicBezTo>
                  <a:pt x="11690" y="443"/>
                  <a:pt x="11676" y="438"/>
                  <a:pt x="11676" y="438"/>
                </a:cubicBezTo>
                <a:cubicBezTo>
                  <a:pt x="11687" y="433"/>
                  <a:pt x="11687" y="433"/>
                  <a:pt x="11687" y="433"/>
                </a:cubicBezTo>
                <a:cubicBezTo>
                  <a:pt x="11717" y="430"/>
                  <a:pt x="11717" y="430"/>
                  <a:pt x="11717" y="430"/>
                </a:cubicBezTo>
                <a:cubicBezTo>
                  <a:pt x="11755" y="453"/>
                  <a:pt x="11755" y="453"/>
                  <a:pt x="11755" y="453"/>
                </a:cubicBezTo>
                <a:cubicBezTo>
                  <a:pt x="11757" y="434"/>
                  <a:pt x="11757" y="434"/>
                  <a:pt x="11757" y="434"/>
                </a:cubicBezTo>
                <a:cubicBezTo>
                  <a:pt x="11718" y="421"/>
                  <a:pt x="11718" y="421"/>
                  <a:pt x="11718" y="421"/>
                </a:cubicBezTo>
                <a:cubicBezTo>
                  <a:pt x="11645" y="425"/>
                  <a:pt x="11645" y="425"/>
                  <a:pt x="11645" y="425"/>
                </a:cubicBezTo>
                <a:cubicBezTo>
                  <a:pt x="11644" y="416"/>
                  <a:pt x="11644" y="416"/>
                  <a:pt x="11644" y="416"/>
                </a:cubicBezTo>
                <a:cubicBezTo>
                  <a:pt x="11563" y="421"/>
                  <a:pt x="11563" y="421"/>
                  <a:pt x="11563" y="421"/>
                </a:cubicBezTo>
                <a:cubicBezTo>
                  <a:pt x="11532" y="408"/>
                  <a:pt x="11532" y="408"/>
                  <a:pt x="11532" y="408"/>
                </a:cubicBezTo>
                <a:cubicBezTo>
                  <a:pt x="11519" y="408"/>
                  <a:pt x="11519" y="408"/>
                  <a:pt x="11519" y="408"/>
                </a:cubicBezTo>
                <a:cubicBezTo>
                  <a:pt x="11544" y="424"/>
                  <a:pt x="11544" y="424"/>
                  <a:pt x="11544" y="424"/>
                </a:cubicBezTo>
                <a:cubicBezTo>
                  <a:pt x="11544" y="424"/>
                  <a:pt x="11492" y="423"/>
                  <a:pt x="11500" y="431"/>
                </a:cubicBezTo>
                <a:cubicBezTo>
                  <a:pt x="11508" y="439"/>
                  <a:pt x="11518" y="444"/>
                  <a:pt x="11518" y="444"/>
                </a:cubicBezTo>
                <a:cubicBezTo>
                  <a:pt x="11539" y="442"/>
                  <a:pt x="11539" y="442"/>
                  <a:pt x="11539" y="442"/>
                </a:cubicBezTo>
                <a:cubicBezTo>
                  <a:pt x="11539" y="447"/>
                  <a:pt x="11539" y="447"/>
                  <a:pt x="11539" y="447"/>
                </a:cubicBezTo>
                <a:cubicBezTo>
                  <a:pt x="11578" y="473"/>
                  <a:pt x="11578" y="473"/>
                  <a:pt x="11578" y="473"/>
                </a:cubicBezTo>
                <a:cubicBezTo>
                  <a:pt x="11578" y="473"/>
                  <a:pt x="11572" y="474"/>
                  <a:pt x="11557" y="473"/>
                </a:cubicBezTo>
                <a:cubicBezTo>
                  <a:pt x="11542" y="472"/>
                  <a:pt x="11522" y="457"/>
                  <a:pt x="11517" y="462"/>
                </a:cubicBezTo>
                <a:cubicBezTo>
                  <a:pt x="11512" y="467"/>
                  <a:pt x="11508" y="470"/>
                  <a:pt x="11508" y="470"/>
                </a:cubicBezTo>
                <a:cubicBezTo>
                  <a:pt x="11525" y="484"/>
                  <a:pt x="11525" y="484"/>
                  <a:pt x="11525" y="484"/>
                </a:cubicBezTo>
                <a:cubicBezTo>
                  <a:pt x="11489" y="479"/>
                  <a:pt x="11489" y="479"/>
                  <a:pt x="11489" y="479"/>
                </a:cubicBezTo>
                <a:cubicBezTo>
                  <a:pt x="11489" y="479"/>
                  <a:pt x="11440" y="463"/>
                  <a:pt x="11432" y="464"/>
                </a:cubicBezTo>
                <a:cubicBezTo>
                  <a:pt x="11424" y="465"/>
                  <a:pt x="11396" y="477"/>
                  <a:pt x="11396" y="477"/>
                </a:cubicBezTo>
                <a:cubicBezTo>
                  <a:pt x="11351" y="473"/>
                  <a:pt x="11351" y="473"/>
                  <a:pt x="11351" y="473"/>
                </a:cubicBezTo>
                <a:cubicBezTo>
                  <a:pt x="11351" y="473"/>
                  <a:pt x="11313" y="455"/>
                  <a:pt x="11310" y="451"/>
                </a:cubicBezTo>
                <a:cubicBezTo>
                  <a:pt x="11307" y="447"/>
                  <a:pt x="11300" y="457"/>
                  <a:pt x="11303" y="465"/>
                </a:cubicBezTo>
                <a:cubicBezTo>
                  <a:pt x="11306" y="473"/>
                  <a:pt x="11333" y="501"/>
                  <a:pt x="11317" y="502"/>
                </a:cubicBezTo>
                <a:cubicBezTo>
                  <a:pt x="11301" y="503"/>
                  <a:pt x="11222" y="474"/>
                  <a:pt x="11219" y="472"/>
                </a:cubicBezTo>
                <a:cubicBezTo>
                  <a:pt x="11216" y="470"/>
                  <a:pt x="11197" y="453"/>
                  <a:pt x="11197" y="453"/>
                </a:cubicBezTo>
                <a:cubicBezTo>
                  <a:pt x="11195" y="463"/>
                  <a:pt x="11195" y="463"/>
                  <a:pt x="11195" y="463"/>
                </a:cubicBezTo>
                <a:cubicBezTo>
                  <a:pt x="11158" y="452"/>
                  <a:pt x="11158" y="452"/>
                  <a:pt x="11158" y="452"/>
                </a:cubicBezTo>
                <a:cubicBezTo>
                  <a:pt x="11141" y="440"/>
                  <a:pt x="11141" y="440"/>
                  <a:pt x="11141" y="440"/>
                </a:cubicBezTo>
                <a:cubicBezTo>
                  <a:pt x="11141" y="440"/>
                  <a:pt x="11179" y="450"/>
                  <a:pt x="11185" y="445"/>
                </a:cubicBezTo>
                <a:cubicBezTo>
                  <a:pt x="11191" y="440"/>
                  <a:pt x="11162" y="426"/>
                  <a:pt x="11162" y="426"/>
                </a:cubicBezTo>
                <a:cubicBezTo>
                  <a:pt x="11139" y="426"/>
                  <a:pt x="11139" y="426"/>
                  <a:pt x="11139" y="426"/>
                </a:cubicBezTo>
                <a:cubicBezTo>
                  <a:pt x="11139" y="426"/>
                  <a:pt x="11150" y="420"/>
                  <a:pt x="11143" y="415"/>
                </a:cubicBezTo>
                <a:cubicBezTo>
                  <a:pt x="11136" y="410"/>
                  <a:pt x="11116" y="410"/>
                  <a:pt x="11116" y="410"/>
                </a:cubicBezTo>
                <a:cubicBezTo>
                  <a:pt x="11124" y="401"/>
                  <a:pt x="11124" y="401"/>
                  <a:pt x="11124" y="401"/>
                </a:cubicBezTo>
                <a:cubicBezTo>
                  <a:pt x="11124" y="401"/>
                  <a:pt x="11092" y="392"/>
                  <a:pt x="11088" y="392"/>
                </a:cubicBezTo>
                <a:cubicBezTo>
                  <a:pt x="11084" y="392"/>
                  <a:pt x="11069" y="382"/>
                  <a:pt x="11069" y="382"/>
                </a:cubicBezTo>
                <a:cubicBezTo>
                  <a:pt x="11038" y="382"/>
                  <a:pt x="11038" y="382"/>
                  <a:pt x="11038" y="382"/>
                </a:cubicBezTo>
                <a:cubicBezTo>
                  <a:pt x="11038" y="382"/>
                  <a:pt x="11047" y="385"/>
                  <a:pt x="11024" y="386"/>
                </a:cubicBezTo>
                <a:cubicBezTo>
                  <a:pt x="11001" y="387"/>
                  <a:pt x="10986" y="379"/>
                  <a:pt x="10986" y="379"/>
                </a:cubicBezTo>
                <a:cubicBezTo>
                  <a:pt x="10972" y="385"/>
                  <a:pt x="10972" y="385"/>
                  <a:pt x="10972" y="385"/>
                </a:cubicBezTo>
                <a:cubicBezTo>
                  <a:pt x="10970" y="376"/>
                  <a:pt x="10970" y="376"/>
                  <a:pt x="10970" y="376"/>
                </a:cubicBezTo>
                <a:cubicBezTo>
                  <a:pt x="10938" y="370"/>
                  <a:pt x="10938" y="370"/>
                  <a:pt x="10938" y="370"/>
                </a:cubicBezTo>
                <a:cubicBezTo>
                  <a:pt x="10931" y="364"/>
                  <a:pt x="10931" y="364"/>
                  <a:pt x="10931" y="364"/>
                </a:cubicBezTo>
                <a:cubicBezTo>
                  <a:pt x="10926" y="377"/>
                  <a:pt x="10926" y="377"/>
                  <a:pt x="10926" y="377"/>
                </a:cubicBezTo>
                <a:cubicBezTo>
                  <a:pt x="10917" y="378"/>
                  <a:pt x="10917" y="378"/>
                  <a:pt x="10917" y="378"/>
                </a:cubicBezTo>
                <a:cubicBezTo>
                  <a:pt x="10935" y="393"/>
                  <a:pt x="10935" y="393"/>
                  <a:pt x="10935" y="393"/>
                </a:cubicBezTo>
                <a:cubicBezTo>
                  <a:pt x="10952" y="413"/>
                  <a:pt x="10952" y="413"/>
                  <a:pt x="10952" y="413"/>
                </a:cubicBezTo>
                <a:cubicBezTo>
                  <a:pt x="10918" y="409"/>
                  <a:pt x="10918" y="409"/>
                  <a:pt x="10918" y="409"/>
                </a:cubicBezTo>
                <a:cubicBezTo>
                  <a:pt x="10914" y="403"/>
                  <a:pt x="10914" y="403"/>
                  <a:pt x="10914" y="403"/>
                </a:cubicBezTo>
                <a:cubicBezTo>
                  <a:pt x="10870" y="406"/>
                  <a:pt x="10870" y="406"/>
                  <a:pt x="10870" y="406"/>
                </a:cubicBezTo>
                <a:cubicBezTo>
                  <a:pt x="10859" y="410"/>
                  <a:pt x="10859" y="410"/>
                  <a:pt x="10859" y="410"/>
                </a:cubicBezTo>
                <a:cubicBezTo>
                  <a:pt x="10858" y="402"/>
                  <a:pt x="10858" y="402"/>
                  <a:pt x="10858" y="402"/>
                </a:cubicBezTo>
                <a:cubicBezTo>
                  <a:pt x="10829" y="408"/>
                  <a:pt x="10829" y="408"/>
                  <a:pt x="10829" y="408"/>
                </a:cubicBezTo>
                <a:cubicBezTo>
                  <a:pt x="10824" y="400"/>
                  <a:pt x="10824" y="400"/>
                  <a:pt x="10824" y="400"/>
                </a:cubicBezTo>
                <a:cubicBezTo>
                  <a:pt x="10786" y="401"/>
                  <a:pt x="10786" y="401"/>
                  <a:pt x="10786" y="401"/>
                </a:cubicBezTo>
                <a:cubicBezTo>
                  <a:pt x="10764" y="394"/>
                  <a:pt x="10764" y="394"/>
                  <a:pt x="10764" y="394"/>
                </a:cubicBezTo>
                <a:cubicBezTo>
                  <a:pt x="10775" y="380"/>
                  <a:pt x="10775" y="380"/>
                  <a:pt x="10775" y="380"/>
                </a:cubicBezTo>
                <a:cubicBezTo>
                  <a:pt x="10690" y="379"/>
                  <a:pt x="10690" y="379"/>
                  <a:pt x="10690" y="379"/>
                </a:cubicBezTo>
                <a:cubicBezTo>
                  <a:pt x="10685" y="373"/>
                  <a:pt x="10685" y="373"/>
                  <a:pt x="10685" y="373"/>
                </a:cubicBezTo>
                <a:cubicBezTo>
                  <a:pt x="10679" y="376"/>
                  <a:pt x="10679" y="376"/>
                  <a:pt x="10679" y="376"/>
                </a:cubicBezTo>
                <a:cubicBezTo>
                  <a:pt x="10673" y="372"/>
                  <a:pt x="10673" y="372"/>
                  <a:pt x="10673" y="372"/>
                </a:cubicBezTo>
                <a:cubicBezTo>
                  <a:pt x="10638" y="374"/>
                  <a:pt x="10638" y="374"/>
                  <a:pt x="10638" y="374"/>
                </a:cubicBezTo>
                <a:cubicBezTo>
                  <a:pt x="10642" y="382"/>
                  <a:pt x="10642" y="382"/>
                  <a:pt x="10642" y="382"/>
                </a:cubicBezTo>
                <a:cubicBezTo>
                  <a:pt x="10605" y="378"/>
                  <a:pt x="10605" y="378"/>
                  <a:pt x="10605" y="378"/>
                </a:cubicBezTo>
                <a:cubicBezTo>
                  <a:pt x="10595" y="383"/>
                  <a:pt x="10595" y="383"/>
                  <a:pt x="10595" y="383"/>
                </a:cubicBezTo>
                <a:cubicBezTo>
                  <a:pt x="10616" y="390"/>
                  <a:pt x="10616" y="390"/>
                  <a:pt x="10616" y="390"/>
                </a:cubicBezTo>
                <a:cubicBezTo>
                  <a:pt x="10589" y="389"/>
                  <a:pt x="10589" y="389"/>
                  <a:pt x="10589" y="389"/>
                </a:cubicBezTo>
                <a:cubicBezTo>
                  <a:pt x="10586" y="377"/>
                  <a:pt x="10586" y="377"/>
                  <a:pt x="10586" y="377"/>
                </a:cubicBezTo>
                <a:cubicBezTo>
                  <a:pt x="10569" y="362"/>
                  <a:pt x="10569" y="362"/>
                  <a:pt x="10569" y="362"/>
                </a:cubicBezTo>
                <a:cubicBezTo>
                  <a:pt x="10555" y="362"/>
                  <a:pt x="10555" y="362"/>
                  <a:pt x="10555" y="362"/>
                </a:cubicBezTo>
                <a:cubicBezTo>
                  <a:pt x="10562" y="377"/>
                  <a:pt x="10562" y="377"/>
                  <a:pt x="10562" y="377"/>
                </a:cubicBezTo>
                <a:cubicBezTo>
                  <a:pt x="10527" y="377"/>
                  <a:pt x="10527" y="377"/>
                  <a:pt x="10527" y="377"/>
                </a:cubicBezTo>
                <a:cubicBezTo>
                  <a:pt x="10523" y="372"/>
                  <a:pt x="10523" y="372"/>
                  <a:pt x="10523" y="372"/>
                </a:cubicBezTo>
                <a:cubicBezTo>
                  <a:pt x="10514" y="372"/>
                  <a:pt x="10514" y="372"/>
                  <a:pt x="10514" y="372"/>
                </a:cubicBezTo>
                <a:cubicBezTo>
                  <a:pt x="10510" y="362"/>
                  <a:pt x="10510" y="362"/>
                  <a:pt x="10510" y="362"/>
                </a:cubicBezTo>
                <a:cubicBezTo>
                  <a:pt x="10501" y="362"/>
                  <a:pt x="10501" y="362"/>
                  <a:pt x="10501" y="362"/>
                </a:cubicBezTo>
                <a:cubicBezTo>
                  <a:pt x="10490" y="365"/>
                  <a:pt x="10490" y="365"/>
                  <a:pt x="10490" y="365"/>
                </a:cubicBezTo>
                <a:cubicBezTo>
                  <a:pt x="10474" y="357"/>
                  <a:pt x="10474" y="357"/>
                  <a:pt x="10474" y="357"/>
                </a:cubicBezTo>
                <a:cubicBezTo>
                  <a:pt x="10454" y="371"/>
                  <a:pt x="10454" y="371"/>
                  <a:pt x="10454" y="371"/>
                </a:cubicBezTo>
                <a:cubicBezTo>
                  <a:pt x="10490" y="375"/>
                  <a:pt x="10490" y="375"/>
                  <a:pt x="10490" y="375"/>
                </a:cubicBezTo>
                <a:cubicBezTo>
                  <a:pt x="10498" y="376"/>
                  <a:pt x="10498" y="376"/>
                  <a:pt x="10498" y="376"/>
                </a:cubicBezTo>
                <a:cubicBezTo>
                  <a:pt x="10498" y="376"/>
                  <a:pt x="10485" y="387"/>
                  <a:pt x="10478" y="387"/>
                </a:cubicBezTo>
                <a:cubicBezTo>
                  <a:pt x="10471" y="387"/>
                  <a:pt x="10466" y="386"/>
                  <a:pt x="10460" y="388"/>
                </a:cubicBezTo>
                <a:cubicBezTo>
                  <a:pt x="10454" y="390"/>
                  <a:pt x="10452" y="396"/>
                  <a:pt x="10447" y="396"/>
                </a:cubicBezTo>
                <a:cubicBezTo>
                  <a:pt x="10442" y="396"/>
                  <a:pt x="10398" y="397"/>
                  <a:pt x="10398" y="397"/>
                </a:cubicBezTo>
                <a:cubicBezTo>
                  <a:pt x="10376" y="400"/>
                  <a:pt x="10376" y="400"/>
                  <a:pt x="10376" y="400"/>
                </a:cubicBezTo>
                <a:cubicBezTo>
                  <a:pt x="10366" y="417"/>
                  <a:pt x="10366" y="417"/>
                  <a:pt x="10366" y="417"/>
                </a:cubicBezTo>
                <a:cubicBezTo>
                  <a:pt x="10350" y="413"/>
                  <a:pt x="10350" y="413"/>
                  <a:pt x="10350" y="413"/>
                </a:cubicBezTo>
                <a:cubicBezTo>
                  <a:pt x="10350" y="413"/>
                  <a:pt x="10353" y="397"/>
                  <a:pt x="10361" y="393"/>
                </a:cubicBezTo>
                <a:cubicBezTo>
                  <a:pt x="10369" y="389"/>
                  <a:pt x="10381" y="389"/>
                  <a:pt x="10381" y="389"/>
                </a:cubicBezTo>
                <a:cubicBezTo>
                  <a:pt x="10386" y="378"/>
                  <a:pt x="10386" y="378"/>
                  <a:pt x="10386" y="378"/>
                </a:cubicBezTo>
                <a:cubicBezTo>
                  <a:pt x="10414" y="375"/>
                  <a:pt x="10414" y="375"/>
                  <a:pt x="10414" y="375"/>
                </a:cubicBezTo>
                <a:cubicBezTo>
                  <a:pt x="10444" y="353"/>
                  <a:pt x="10444" y="353"/>
                  <a:pt x="10444" y="353"/>
                </a:cubicBezTo>
                <a:cubicBezTo>
                  <a:pt x="10444" y="353"/>
                  <a:pt x="10443" y="340"/>
                  <a:pt x="10455" y="335"/>
                </a:cubicBezTo>
                <a:cubicBezTo>
                  <a:pt x="10467" y="330"/>
                  <a:pt x="10516" y="331"/>
                  <a:pt x="10514" y="313"/>
                </a:cubicBezTo>
                <a:cubicBezTo>
                  <a:pt x="10512" y="295"/>
                  <a:pt x="10497" y="291"/>
                  <a:pt x="10497" y="291"/>
                </a:cubicBezTo>
                <a:cubicBezTo>
                  <a:pt x="10470" y="293"/>
                  <a:pt x="10470" y="293"/>
                  <a:pt x="10470" y="293"/>
                </a:cubicBezTo>
                <a:cubicBezTo>
                  <a:pt x="10493" y="283"/>
                  <a:pt x="10493" y="283"/>
                  <a:pt x="10493" y="283"/>
                </a:cubicBezTo>
                <a:cubicBezTo>
                  <a:pt x="10493" y="283"/>
                  <a:pt x="10473" y="268"/>
                  <a:pt x="10468" y="269"/>
                </a:cubicBezTo>
                <a:cubicBezTo>
                  <a:pt x="10463" y="270"/>
                  <a:pt x="10446" y="271"/>
                  <a:pt x="10446" y="271"/>
                </a:cubicBezTo>
                <a:cubicBezTo>
                  <a:pt x="10446" y="271"/>
                  <a:pt x="10440" y="255"/>
                  <a:pt x="10427" y="255"/>
                </a:cubicBezTo>
                <a:cubicBezTo>
                  <a:pt x="10414" y="255"/>
                  <a:pt x="10400" y="260"/>
                  <a:pt x="10400" y="260"/>
                </a:cubicBezTo>
                <a:cubicBezTo>
                  <a:pt x="10364" y="251"/>
                  <a:pt x="10364" y="251"/>
                  <a:pt x="10364" y="251"/>
                </a:cubicBezTo>
                <a:cubicBezTo>
                  <a:pt x="10270" y="248"/>
                  <a:pt x="10270" y="248"/>
                  <a:pt x="10270" y="248"/>
                </a:cubicBezTo>
                <a:cubicBezTo>
                  <a:pt x="10273" y="260"/>
                  <a:pt x="10273" y="260"/>
                  <a:pt x="10273" y="260"/>
                </a:cubicBezTo>
                <a:cubicBezTo>
                  <a:pt x="10228" y="260"/>
                  <a:pt x="10228" y="260"/>
                  <a:pt x="10228" y="260"/>
                </a:cubicBezTo>
                <a:cubicBezTo>
                  <a:pt x="10228" y="260"/>
                  <a:pt x="10247" y="243"/>
                  <a:pt x="10235" y="238"/>
                </a:cubicBezTo>
                <a:cubicBezTo>
                  <a:pt x="10223" y="233"/>
                  <a:pt x="10172" y="239"/>
                  <a:pt x="10172" y="239"/>
                </a:cubicBezTo>
                <a:cubicBezTo>
                  <a:pt x="10131" y="235"/>
                  <a:pt x="10131" y="235"/>
                  <a:pt x="10131" y="235"/>
                </a:cubicBezTo>
                <a:cubicBezTo>
                  <a:pt x="10131" y="235"/>
                  <a:pt x="10178" y="233"/>
                  <a:pt x="10172" y="224"/>
                </a:cubicBezTo>
                <a:cubicBezTo>
                  <a:pt x="10166" y="215"/>
                  <a:pt x="10119" y="214"/>
                  <a:pt x="10119" y="214"/>
                </a:cubicBezTo>
                <a:cubicBezTo>
                  <a:pt x="10091" y="210"/>
                  <a:pt x="10091" y="210"/>
                  <a:pt x="10091" y="210"/>
                </a:cubicBezTo>
                <a:cubicBezTo>
                  <a:pt x="10088" y="220"/>
                  <a:pt x="10088" y="220"/>
                  <a:pt x="10088" y="220"/>
                </a:cubicBezTo>
                <a:cubicBezTo>
                  <a:pt x="10088" y="220"/>
                  <a:pt x="10039" y="218"/>
                  <a:pt x="10043" y="232"/>
                </a:cubicBezTo>
                <a:cubicBezTo>
                  <a:pt x="10047" y="246"/>
                  <a:pt x="10093" y="261"/>
                  <a:pt x="10093" y="261"/>
                </a:cubicBezTo>
                <a:cubicBezTo>
                  <a:pt x="9997" y="255"/>
                  <a:pt x="9997" y="255"/>
                  <a:pt x="9997" y="255"/>
                </a:cubicBezTo>
                <a:cubicBezTo>
                  <a:pt x="10031" y="269"/>
                  <a:pt x="10031" y="269"/>
                  <a:pt x="10031" y="269"/>
                </a:cubicBezTo>
                <a:cubicBezTo>
                  <a:pt x="9996" y="274"/>
                  <a:pt x="9996" y="274"/>
                  <a:pt x="9996" y="274"/>
                </a:cubicBezTo>
                <a:cubicBezTo>
                  <a:pt x="9996" y="274"/>
                  <a:pt x="9939" y="292"/>
                  <a:pt x="9929" y="286"/>
                </a:cubicBezTo>
                <a:cubicBezTo>
                  <a:pt x="9919" y="280"/>
                  <a:pt x="9934" y="268"/>
                  <a:pt x="9934" y="268"/>
                </a:cubicBezTo>
                <a:cubicBezTo>
                  <a:pt x="9934" y="268"/>
                  <a:pt x="9886" y="268"/>
                  <a:pt x="9877" y="270"/>
                </a:cubicBezTo>
                <a:cubicBezTo>
                  <a:pt x="9868" y="272"/>
                  <a:pt x="9854" y="284"/>
                  <a:pt x="9854" y="284"/>
                </a:cubicBezTo>
                <a:cubicBezTo>
                  <a:pt x="9854" y="284"/>
                  <a:pt x="9791" y="289"/>
                  <a:pt x="9776" y="292"/>
                </a:cubicBezTo>
                <a:cubicBezTo>
                  <a:pt x="9761" y="295"/>
                  <a:pt x="9728" y="302"/>
                  <a:pt x="9728" y="302"/>
                </a:cubicBezTo>
                <a:cubicBezTo>
                  <a:pt x="9699" y="325"/>
                  <a:pt x="9699" y="325"/>
                  <a:pt x="9699" y="325"/>
                </a:cubicBezTo>
                <a:cubicBezTo>
                  <a:pt x="9699" y="325"/>
                  <a:pt x="9667" y="323"/>
                  <a:pt x="9681" y="337"/>
                </a:cubicBezTo>
                <a:cubicBezTo>
                  <a:pt x="9695" y="351"/>
                  <a:pt x="9720" y="361"/>
                  <a:pt x="9720" y="361"/>
                </a:cubicBezTo>
                <a:cubicBezTo>
                  <a:pt x="9690" y="367"/>
                  <a:pt x="9690" y="367"/>
                  <a:pt x="9690" y="367"/>
                </a:cubicBezTo>
                <a:cubicBezTo>
                  <a:pt x="9676" y="376"/>
                  <a:pt x="9676" y="376"/>
                  <a:pt x="9676" y="376"/>
                </a:cubicBezTo>
                <a:cubicBezTo>
                  <a:pt x="9609" y="374"/>
                  <a:pt x="9609" y="374"/>
                  <a:pt x="9609" y="374"/>
                </a:cubicBezTo>
                <a:cubicBezTo>
                  <a:pt x="9604" y="379"/>
                  <a:pt x="9604" y="379"/>
                  <a:pt x="9604" y="379"/>
                </a:cubicBezTo>
                <a:cubicBezTo>
                  <a:pt x="9579" y="370"/>
                  <a:pt x="9579" y="370"/>
                  <a:pt x="9579" y="370"/>
                </a:cubicBezTo>
                <a:cubicBezTo>
                  <a:pt x="9568" y="377"/>
                  <a:pt x="9568" y="377"/>
                  <a:pt x="9568" y="377"/>
                </a:cubicBezTo>
                <a:cubicBezTo>
                  <a:pt x="9568" y="377"/>
                  <a:pt x="9530" y="373"/>
                  <a:pt x="9528" y="381"/>
                </a:cubicBezTo>
                <a:cubicBezTo>
                  <a:pt x="9526" y="389"/>
                  <a:pt x="9527" y="404"/>
                  <a:pt x="9538" y="406"/>
                </a:cubicBezTo>
                <a:cubicBezTo>
                  <a:pt x="9549" y="408"/>
                  <a:pt x="9555" y="424"/>
                  <a:pt x="9555" y="424"/>
                </a:cubicBezTo>
                <a:cubicBezTo>
                  <a:pt x="9555" y="424"/>
                  <a:pt x="9590" y="434"/>
                  <a:pt x="9599" y="434"/>
                </a:cubicBezTo>
                <a:cubicBezTo>
                  <a:pt x="9608" y="434"/>
                  <a:pt x="9627" y="439"/>
                  <a:pt x="9634" y="442"/>
                </a:cubicBezTo>
                <a:cubicBezTo>
                  <a:pt x="9641" y="445"/>
                  <a:pt x="9657" y="461"/>
                  <a:pt x="9646" y="461"/>
                </a:cubicBezTo>
                <a:cubicBezTo>
                  <a:pt x="9635" y="461"/>
                  <a:pt x="9611" y="463"/>
                  <a:pt x="9611" y="463"/>
                </a:cubicBezTo>
                <a:cubicBezTo>
                  <a:pt x="9611" y="463"/>
                  <a:pt x="9565" y="443"/>
                  <a:pt x="9549" y="439"/>
                </a:cubicBezTo>
                <a:cubicBezTo>
                  <a:pt x="9533" y="435"/>
                  <a:pt x="9509" y="432"/>
                  <a:pt x="9501" y="432"/>
                </a:cubicBezTo>
                <a:cubicBezTo>
                  <a:pt x="9493" y="432"/>
                  <a:pt x="9472" y="430"/>
                  <a:pt x="9474" y="438"/>
                </a:cubicBezTo>
                <a:cubicBezTo>
                  <a:pt x="9476" y="446"/>
                  <a:pt x="9502" y="456"/>
                  <a:pt x="9485" y="457"/>
                </a:cubicBezTo>
                <a:cubicBezTo>
                  <a:pt x="9468" y="458"/>
                  <a:pt x="9462" y="446"/>
                  <a:pt x="9452" y="446"/>
                </a:cubicBezTo>
                <a:cubicBezTo>
                  <a:pt x="9442" y="446"/>
                  <a:pt x="9428" y="436"/>
                  <a:pt x="9427" y="449"/>
                </a:cubicBezTo>
                <a:cubicBezTo>
                  <a:pt x="9426" y="462"/>
                  <a:pt x="9440" y="475"/>
                  <a:pt x="9455" y="474"/>
                </a:cubicBezTo>
                <a:cubicBezTo>
                  <a:pt x="9470" y="473"/>
                  <a:pt x="9493" y="480"/>
                  <a:pt x="9503" y="480"/>
                </a:cubicBezTo>
                <a:cubicBezTo>
                  <a:pt x="9513" y="480"/>
                  <a:pt x="9529" y="496"/>
                  <a:pt x="9529" y="496"/>
                </a:cubicBezTo>
                <a:cubicBezTo>
                  <a:pt x="9508" y="496"/>
                  <a:pt x="9508" y="496"/>
                  <a:pt x="9508" y="496"/>
                </a:cubicBezTo>
                <a:cubicBezTo>
                  <a:pt x="9508" y="496"/>
                  <a:pt x="9502" y="486"/>
                  <a:pt x="9488" y="486"/>
                </a:cubicBezTo>
                <a:cubicBezTo>
                  <a:pt x="9474" y="486"/>
                  <a:pt x="9431" y="484"/>
                  <a:pt x="9431" y="484"/>
                </a:cubicBezTo>
                <a:cubicBezTo>
                  <a:pt x="9428" y="476"/>
                  <a:pt x="9428" y="476"/>
                  <a:pt x="9428" y="476"/>
                </a:cubicBezTo>
                <a:cubicBezTo>
                  <a:pt x="9411" y="476"/>
                  <a:pt x="9411" y="476"/>
                  <a:pt x="9411" y="476"/>
                </a:cubicBezTo>
                <a:cubicBezTo>
                  <a:pt x="9408" y="465"/>
                  <a:pt x="9408" y="465"/>
                  <a:pt x="9408" y="465"/>
                </a:cubicBezTo>
                <a:cubicBezTo>
                  <a:pt x="9386" y="454"/>
                  <a:pt x="9386" y="454"/>
                  <a:pt x="9386" y="454"/>
                </a:cubicBezTo>
                <a:cubicBezTo>
                  <a:pt x="9386" y="454"/>
                  <a:pt x="9411" y="442"/>
                  <a:pt x="9401" y="433"/>
                </a:cubicBezTo>
                <a:cubicBezTo>
                  <a:pt x="9391" y="424"/>
                  <a:pt x="9377" y="413"/>
                  <a:pt x="9377" y="413"/>
                </a:cubicBezTo>
                <a:cubicBezTo>
                  <a:pt x="9356" y="412"/>
                  <a:pt x="9356" y="412"/>
                  <a:pt x="9356" y="412"/>
                </a:cubicBezTo>
                <a:cubicBezTo>
                  <a:pt x="9356" y="412"/>
                  <a:pt x="9386" y="429"/>
                  <a:pt x="9377" y="437"/>
                </a:cubicBezTo>
                <a:cubicBezTo>
                  <a:pt x="9368" y="445"/>
                  <a:pt x="9348" y="448"/>
                  <a:pt x="9348" y="448"/>
                </a:cubicBezTo>
                <a:cubicBezTo>
                  <a:pt x="9335" y="475"/>
                  <a:pt x="9335" y="475"/>
                  <a:pt x="9335" y="475"/>
                </a:cubicBezTo>
                <a:cubicBezTo>
                  <a:pt x="9384" y="500"/>
                  <a:pt x="9384" y="500"/>
                  <a:pt x="9384" y="500"/>
                </a:cubicBezTo>
                <a:cubicBezTo>
                  <a:pt x="9384" y="500"/>
                  <a:pt x="9397" y="495"/>
                  <a:pt x="9397" y="501"/>
                </a:cubicBezTo>
                <a:cubicBezTo>
                  <a:pt x="9397" y="507"/>
                  <a:pt x="9390" y="538"/>
                  <a:pt x="9390" y="538"/>
                </a:cubicBezTo>
                <a:cubicBezTo>
                  <a:pt x="9397" y="551"/>
                  <a:pt x="9397" y="551"/>
                  <a:pt x="9397" y="551"/>
                </a:cubicBezTo>
                <a:cubicBezTo>
                  <a:pt x="9421" y="555"/>
                  <a:pt x="9421" y="555"/>
                  <a:pt x="9421" y="555"/>
                </a:cubicBezTo>
                <a:cubicBezTo>
                  <a:pt x="9420" y="573"/>
                  <a:pt x="9420" y="573"/>
                  <a:pt x="9420" y="573"/>
                </a:cubicBezTo>
                <a:cubicBezTo>
                  <a:pt x="9460" y="581"/>
                  <a:pt x="9460" y="581"/>
                  <a:pt x="9460" y="581"/>
                </a:cubicBezTo>
                <a:cubicBezTo>
                  <a:pt x="9460" y="581"/>
                  <a:pt x="9490" y="569"/>
                  <a:pt x="9504" y="570"/>
                </a:cubicBezTo>
                <a:cubicBezTo>
                  <a:pt x="9518" y="571"/>
                  <a:pt x="9536" y="583"/>
                  <a:pt x="9536" y="583"/>
                </a:cubicBezTo>
                <a:cubicBezTo>
                  <a:pt x="9536" y="583"/>
                  <a:pt x="9565" y="587"/>
                  <a:pt x="9578" y="596"/>
                </a:cubicBezTo>
                <a:cubicBezTo>
                  <a:pt x="9591" y="605"/>
                  <a:pt x="9594" y="616"/>
                  <a:pt x="9594" y="616"/>
                </a:cubicBezTo>
                <a:cubicBezTo>
                  <a:pt x="9594" y="616"/>
                  <a:pt x="9561" y="620"/>
                  <a:pt x="9574" y="628"/>
                </a:cubicBezTo>
                <a:cubicBezTo>
                  <a:pt x="9587" y="636"/>
                  <a:pt x="9601" y="643"/>
                  <a:pt x="9601" y="643"/>
                </a:cubicBezTo>
                <a:cubicBezTo>
                  <a:pt x="9629" y="642"/>
                  <a:pt x="9629" y="642"/>
                  <a:pt x="9629" y="642"/>
                </a:cubicBezTo>
                <a:cubicBezTo>
                  <a:pt x="9629" y="642"/>
                  <a:pt x="9613" y="650"/>
                  <a:pt x="9600" y="650"/>
                </a:cubicBezTo>
                <a:cubicBezTo>
                  <a:pt x="9587" y="650"/>
                  <a:pt x="9571" y="641"/>
                  <a:pt x="9571" y="641"/>
                </a:cubicBezTo>
                <a:cubicBezTo>
                  <a:pt x="9571" y="641"/>
                  <a:pt x="9572" y="618"/>
                  <a:pt x="9557" y="609"/>
                </a:cubicBezTo>
                <a:cubicBezTo>
                  <a:pt x="9542" y="600"/>
                  <a:pt x="9530" y="595"/>
                  <a:pt x="9530" y="595"/>
                </a:cubicBezTo>
                <a:cubicBezTo>
                  <a:pt x="9530" y="595"/>
                  <a:pt x="9526" y="580"/>
                  <a:pt x="9514" y="581"/>
                </a:cubicBezTo>
                <a:cubicBezTo>
                  <a:pt x="9502" y="582"/>
                  <a:pt x="9470" y="588"/>
                  <a:pt x="9470" y="588"/>
                </a:cubicBezTo>
                <a:cubicBezTo>
                  <a:pt x="9470" y="588"/>
                  <a:pt x="9452" y="590"/>
                  <a:pt x="9453" y="601"/>
                </a:cubicBezTo>
                <a:cubicBezTo>
                  <a:pt x="9454" y="612"/>
                  <a:pt x="9486" y="630"/>
                  <a:pt x="9486" y="634"/>
                </a:cubicBezTo>
                <a:cubicBezTo>
                  <a:pt x="9486" y="638"/>
                  <a:pt x="9467" y="650"/>
                  <a:pt x="9467" y="650"/>
                </a:cubicBezTo>
                <a:cubicBezTo>
                  <a:pt x="9465" y="679"/>
                  <a:pt x="9465" y="679"/>
                  <a:pt x="9465" y="679"/>
                </a:cubicBezTo>
                <a:cubicBezTo>
                  <a:pt x="9437" y="693"/>
                  <a:pt x="9437" y="693"/>
                  <a:pt x="9437" y="693"/>
                </a:cubicBezTo>
                <a:cubicBezTo>
                  <a:pt x="9437" y="693"/>
                  <a:pt x="9431" y="714"/>
                  <a:pt x="9418" y="708"/>
                </a:cubicBezTo>
                <a:cubicBezTo>
                  <a:pt x="9405" y="702"/>
                  <a:pt x="9379" y="704"/>
                  <a:pt x="9379" y="704"/>
                </a:cubicBezTo>
                <a:cubicBezTo>
                  <a:pt x="9341" y="700"/>
                  <a:pt x="9341" y="700"/>
                  <a:pt x="9341" y="700"/>
                </a:cubicBezTo>
                <a:cubicBezTo>
                  <a:pt x="9341" y="700"/>
                  <a:pt x="9298" y="685"/>
                  <a:pt x="9309" y="684"/>
                </a:cubicBezTo>
                <a:cubicBezTo>
                  <a:pt x="9320" y="683"/>
                  <a:pt x="9343" y="682"/>
                  <a:pt x="9343" y="682"/>
                </a:cubicBezTo>
                <a:cubicBezTo>
                  <a:pt x="9356" y="686"/>
                  <a:pt x="9356" y="686"/>
                  <a:pt x="9356" y="686"/>
                </a:cubicBezTo>
                <a:cubicBezTo>
                  <a:pt x="9371" y="675"/>
                  <a:pt x="9371" y="675"/>
                  <a:pt x="9371" y="675"/>
                </a:cubicBezTo>
                <a:cubicBezTo>
                  <a:pt x="9371" y="675"/>
                  <a:pt x="9409" y="684"/>
                  <a:pt x="9409" y="673"/>
                </a:cubicBezTo>
                <a:cubicBezTo>
                  <a:pt x="9409" y="662"/>
                  <a:pt x="9411" y="647"/>
                  <a:pt x="9411" y="647"/>
                </a:cubicBezTo>
                <a:cubicBezTo>
                  <a:pt x="9427" y="642"/>
                  <a:pt x="9427" y="642"/>
                  <a:pt x="9427" y="642"/>
                </a:cubicBezTo>
                <a:cubicBezTo>
                  <a:pt x="9429" y="628"/>
                  <a:pt x="9429" y="628"/>
                  <a:pt x="9429" y="628"/>
                </a:cubicBezTo>
                <a:cubicBezTo>
                  <a:pt x="9418" y="626"/>
                  <a:pt x="9418" y="626"/>
                  <a:pt x="9418" y="626"/>
                </a:cubicBezTo>
                <a:cubicBezTo>
                  <a:pt x="9418" y="626"/>
                  <a:pt x="9434" y="606"/>
                  <a:pt x="9424" y="602"/>
                </a:cubicBezTo>
                <a:cubicBezTo>
                  <a:pt x="9414" y="598"/>
                  <a:pt x="9371" y="600"/>
                  <a:pt x="9369" y="584"/>
                </a:cubicBezTo>
                <a:cubicBezTo>
                  <a:pt x="9367" y="568"/>
                  <a:pt x="9369" y="549"/>
                  <a:pt x="9360" y="544"/>
                </a:cubicBezTo>
                <a:cubicBezTo>
                  <a:pt x="9351" y="539"/>
                  <a:pt x="9338" y="523"/>
                  <a:pt x="9338" y="523"/>
                </a:cubicBezTo>
                <a:cubicBezTo>
                  <a:pt x="9334" y="499"/>
                  <a:pt x="9334" y="499"/>
                  <a:pt x="9334" y="499"/>
                </a:cubicBezTo>
                <a:cubicBezTo>
                  <a:pt x="9292" y="476"/>
                  <a:pt x="9292" y="476"/>
                  <a:pt x="9292" y="476"/>
                </a:cubicBezTo>
                <a:cubicBezTo>
                  <a:pt x="9292" y="476"/>
                  <a:pt x="9319" y="455"/>
                  <a:pt x="9305" y="435"/>
                </a:cubicBezTo>
                <a:cubicBezTo>
                  <a:pt x="9291" y="415"/>
                  <a:pt x="9259" y="415"/>
                  <a:pt x="9259" y="415"/>
                </a:cubicBezTo>
                <a:cubicBezTo>
                  <a:pt x="9170" y="407"/>
                  <a:pt x="9170" y="407"/>
                  <a:pt x="9170" y="407"/>
                </a:cubicBezTo>
                <a:cubicBezTo>
                  <a:pt x="9163" y="427"/>
                  <a:pt x="9163" y="427"/>
                  <a:pt x="9163" y="427"/>
                </a:cubicBezTo>
                <a:cubicBezTo>
                  <a:pt x="9174" y="438"/>
                  <a:pt x="9174" y="438"/>
                  <a:pt x="9174" y="438"/>
                </a:cubicBezTo>
                <a:cubicBezTo>
                  <a:pt x="9169" y="461"/>
                  <a:pt x="9169" y="461"/>
                  <a:pt x="9169" y="461"/>
                </a:cubicBezTo>
                <a:cubicBezTo>
                  <a:pt x="9131" y="477"/>
                  <a:pt x="9131" y="477"/>
                  <a:pt x="9131" y="477"/>
                </a:cubicBezTo>
                <a:cubicBezTo>
                  <a:pt x="9125" y="496"/>
                  <a:pt x="9125" y="496"/>
                  <a:pt x="9125" y="496"/>
                </a:cubicBezTo>
                <a:cubicBezTo>
                  <a:pt x="9146" y="498"/>
                  <a:pt x="9146" y="498"/>
                  <a:pt x="9146" y="498"/>
                </a:cubicBezTo>
                <a:cubicBezTo>
                  <a:pt x="9169" y="533"/>
                  <a:pt x="9169" y="533"/>
                  <a:pt x="9169" y="533"/>
                </a:cubicBezTo>
                <a:cubicBezTo>
                  <a:pt x="9160" y="545"/>
                  <a:pt x="9160" y="545"/>
                  <a:pt x="9160" y="545"/>
                </a:cubicBezTo>
                <a:cubicBezTo>
                  <a:pt x="9179" y="560"/>
                  <a:pt x="9179" y="560"/>
                  <a:pt x="9179" y="560"/>
                </a:cubicBezTo>
                <a:cubicBezTo>
                  <a:pt x="9202" y="554"/>
                  <a:pt x="9202" y="554"/>
                  <a:pt x="9202" y="554"/>
                </a:cubicBezTo>
                <a:cubicBezTo>
                  <a:pt x="9202" y="554"/>
                  <a:pt x="9220" y="575"/>
                  <a:pt x="9233" y="578"/>
                </a:cubicBezTo>
                <a:cubicBezTo>
                  <a:pt x="9246" y="581"/>
                  <a:pt x="9259" y="581"/>
                  <a:pt x="9259" y="581"/>
                </a:cubicBezTo>
                <a:cubicBezTo>
                  <a:pt x="9256" y="618"/>
                  <a:pt x="9256" y="618"/>
                  <a:pt x="9256" y="618"/>
                </a:cubicBezTo>
                <a:cubicBezTo>
                  <a:pt x="9243" y="604"/>
                  <a:pt x="9243" y="604"/>
                  <a:pt x="9243" y="604"/>
                </a:cubicBezTo>
                <a:cubicBezTo>
                  <a:pt x="9233" y="610"/>
                  <a:pt x="9233" y="610"/>
                  <a:pt x="9233" y="610"/>
                </a:cubicBezTo>
                <a:cubicBezTo>
                  <a:pt x="9233" y="610"/>
                  <a:pt x="9216" y="601"/>
                  <a:pt x="9198" y="593"/>
                </a:cubicBezTo>
                <a:cubicBezTo>
                  <a:pt x="9185" y="587"/>
                  <a:pt x="9171" y="581"/>
                  <a:pt x="9164" y="580"/>
                </a:cubicBezTo>
                <a:cubicBezTo>
                  <a:pt x="9148" y="577"/>
                  <a:pt x="9124" y="579"/>
                  <a:pt x="9124" y="579"/>
                </a:cubicBezTo>
                <a:cubicBezTo>
                  <a:pt x="9113" y="567"/>
                  <a:pt x="9113" y="567"/>
                  <a:pt x="9113" y="567"/>
                </a:cubicBezTo>
                <a:cubicBezTo>
                  <a:pt x="9107" y="581"/>
                  <a:pt x="9107" y="581"/>
                  <a:pt x="9107" y="581"/>
                </a:cubicBezTo>
                <a:cubicBezTo>
                  <a:pt x="9091" y="563"/>
                  <a:pt x="9091" y="563"/>
                  <a:pt x="9091" y="563"/>
                </a:cubicBezTo>
                <a:cubicBezTo>
                  <a:pt x="9091" y="563"/>
                  <a:pt x="9049" y="549"/>
                  <a:pt x="9042" y="549"/>
                </a:cubicBezTo>
                <a:cubicBezTo>
                  <a:pt x="9035" y="549"/>
                  <a:pt x="9014" y="550"/>
                  <a:pt x="9014" y="550"/>
                </a:cubicBezTo>
                <a:cubicBezTo>
                  <a:pt x="9014" y="550"/>
                  <a:pt x="8965" y="544"/>
                  <a:pt x="8961" y="547"/>
                </a:cubicBezTo>
                <a:cubicBezTo>
                  <a:pt x="8957" y="550"/>
                  <a:pt x="8948" y="550"/>
                  <a:pt x="8948" y="558"/>
                </a:cubicBezTo>
                <a:cubicBezTo>
                  <a:pt x="8948" y="566"/>
                  <a:pt x="8974" y="580"/>
                  <a:pt x="8974" y="580"/>
                </a:cubicBezTo>
                <a:cubicBezTo>
                  <a:pt x="8961" y="600"/>
                  <a:pt x="8961" y="600"/>
                  <a:pt x="8961" y="600"/>
                </a:cubicBezTo>
                <a:cubicBezTo>
                  <a:pt x="8952" y="593"/>
                  <a:pt x="8952" y="593"/>
                  <a:pt x="8952" y="593"/>
                </a:cubicBezTo>
                <a:cubicBezTo>
                  <a:pt x="8952" y="610"/>
                  <a:pt x="8952" y="610"/>
                  <a:pt x="8952" y="610"/>
                </a:cubicBezTo>
                <a:cubicBezTo>
                  <a:pt x="8952" y="610"/>
                  <a:pt x="8928" y="609"/>
                  <a:pt x="8928" y="604"/>
                </a:cubicBezTo>
                <a:cubicBezTo>
                  <a:pt x="8928" y="599"/>
                  <a:pt x="8933" y="577"/>
                  <a:pt x="8919" y="578"/>
                </a:cubicBezTo>
                <a:cubicBezTo>
                  <a:pt x="8905" y="579"/>
                  <a:pt x="8869" y="602"/>
                  <a:pt x="8864" y="605"/>
                </a:cubicBezTo>
                <a:cubicBezTo>
                  <a:pt x="8859" y="608"/>
                  <a:pt x="8848" y="594"/>
                  <a:pt x="8827" y="596"/>
                </a:cubicBezTo>
                <a:cubicBezTo>
                  <a:pt x="8806" y="598"/>
                  <a:pt x="8782" y="609"/>
                  <a:pt x="8780" y="617"/>
                </a:cubicBezTo>
                <a:cubicBezTo>
                  <a:pt x="8778" y="625"/>
                  <a:pt x="8731" y="621"/>
                  <a:pt x="8731" y="621"/>
                </a:cubicBezTo>
                <a:cubicBezTo>
                  <a:pt x="8739" y="604"/>
                  <a:pt x="8739" y="604"/>
                  <a:pt x="8739" y="604"/>
                </a:cubicBezTo>
                <a:cubicBezTo>
                  <a:pt x="8738" y="580"/>
                  <a:pt x="8738" y="580"/>
                  <a:pt x="8738" y="580"/>
                </a:cubicBezTo>
                <a:cubicBezTo>
                  <a:pt x="8738" y="580"/>
                  <a:pt x="8694" y="588"/>
                  <a:pt x="8694" y="597"/>
                </a:cubicBezTo>
                <a:cubicBezTo>
                  <a:pt x="8694" y="606"/>
                  <a:pt x="8700" y="613"/>
                  <a:pt x="8700" y="613"/>
                </a:cubicBezTo>
                <a:cubicBezTo>
                  <a:pt x="8682" y="614"/>
                  <a:pt x="8682" y="614"/>
                  <a:pt x="8682" y="614"/>
                </a:cubicBezTo>
                <a:cubicBezTo>
                  <a:pt x="8682" y="599"/>
                  <a:pt x="8682" y="599"/>
                  <a:pt x="8682" y="599"/>
                </a:cubicBezTo>
                <a:cubicBezTo>
                  <a:pt x="8668" y="604"/>
                  <a:pt x="8668" y="604"/>
                  <a:pt x="8668" y="604"/>
                </a:cubicBezTo>
                <a:cubicBezTo>
                  <a:pt x="8633" y="607"/>
                  <a:pt x="8633" y="607"/>
                  <a:pt x="8633" y="607"/>
                </a:cubicBezTo>
                <a:cubicBezTo>
                  <a:pt x="8604" y="627"/>
                  <a:pt x="8604" y="627"/>
                  <a:pt x="8604" y="627"/>
                </a:cubicBezTo>
                <a:cubicBezTo>
                  <a:pt x="8571" y="630"/>
                  <a:pt x="8571" y="630"/>
                  <a:pt x="8571" y="630"/>
                </a:cubicBezTo>
                <a:cubicBezTo>
                  <a:pt x="8578" y="643"/>
                  <a:pt x="8578" y="643"/>
                  <a:pt x="8578" y="643"/>
                </a:cubicBezTo>
                <a:cubicBezTo>
                  <a:pt x="8578" y="643"/>
                  <a:pt x="8552" y="637"/>
                  <a:pt x="8549" y="648"/>
                </a:cubicBezTo>
                <a:cubicBezTo>
                  <a:pt x="8546" y="659"/>
                  <a:pt x="8549" y="674"/>
                  <a:pt x="8549" y="674"/>
                </a:cubicBezTo>
                <a:cubicBezTo>
                  <a:pt x="8498" y="680"/>
                  <a:pt x="8498" y="680"/>
                  <a:pt x="8498" y="680"/>
                </a:cubicBezTo>
                <a:cubicBezTo>
                  <a:pt x="8498" y="680"/>
                  <a:pt x="8483" y="669"/>
                  <a:pt x="8478" y="668"/>
                </a:cubicBezTo>
                <a:cubicBezTo>
                  <a:pt x="8473" y="667"/>
                  <a:pt x="8451" y="673"/>
                  <a:pt x="8451" y="659"/>
                </a:cubicBezTo>
                <a:cubicBezTo>
                  <a:pt x="8451" y="645"/>
                  <a:pt x="8451" y="628"/>
                  <a:pt x="8468" y="634"/>
                </a:cubicBezTo>
                <a:cubicBezTo>
                  <a:pt x="8485" y="640"/>
                  <a:pt x="8506" y="634"/>
                  <a:pt x="8506" y="634"/>
                </a:cubicBezTo>
                <a:cubicBezTo>
                  <a:pt x="8506" y="634"/>
                  <a:pt x="8468" y="603"/>
                  <a:pt x="8462" y="600"/>
                </a:cubicBezTo>
                <a:cubicBezTo>
                  <a:pt x="8456" y="597"/>
                  <a:pt x="8381" y="598"/>
                  <a:pt x="8381" y="598"/>
                </a:cubicBezTo>
                <a:cubicBezTo>
                  <a:pt x="8387" y="607"/>
                  <a:pt x="8387" y="607"/>
                  <a:pt x="8387" y="607"/>
                </a:cubicBezTo>
                <a:cubicBezTo>
                  <a:pt x="8387" y="607"/>
                  <a:pt x="8418" y="602"/>
                  <a:pt x="8413" y="622"/>
                </a:cubicBezTo>
                <a:cubicBezTo>
                  <a:pt x="8408" y="642"/>
                  <a:pt x="8398" y="671"/>
                  <a:pt x="8405" y="671"/>
                </a:cubicBezTo>
                <a:cubicBezTo>
                  <a:pt x="8412" y="671"/>
                  <a:pt x="8438" y="679"/>
                  <a:pt x="8438" y="679"/>
                </a:cubicBezTo>
                <a:cubicBezTo>
                  <a:pt x="8436" y="704"/>
                  <a:pt x="8436" y="704"/>
                  <a:pt x="8436" y="704"/>
                </a:cubicBezTo>
                <a:cubicBezTo>
                  <a:pt x="8442" y="723"/>
                  <a:pt x="8442" y="723"/>
                  <a:pt x="8442" y="723"/>
                </a:cubicBezTo>
                <a:cubicBezTo>
                  <a:pt x="8421" y="709"/>
                  <a:pt x="8421" y="709"/>
                  <a:pt x="8421" y="709"/>
                </a:cubicBezTo>
                <a:cubicBezTo>
                  <a:pt x="8406" y="725"/>
                  <a:pt x="8406" y="725"/>
                  <a:pt x="8406" y="725"/>
                </a:cubicBezTo>
                <a:cubicBezTo>
                  <a:pt x="8403" y="703"/>
                  <a:pt x="8403" y="703"/>
                  <a:pt x="8403" y="703"/>
                </a:cubicBezTo>
                <a:cubicBezTo>
                  <a:pt x="8357" y="691"/>
                  <a:pt x="8357" y="691"/>
                  <a:pt x="8357" y="691"/>
                </a:cubicBezTo>
                <a:cubicBezTo>
                  <a:pt x="8337" y="716"/>
                  <a:pt x="8337" y="716"/>
                  <a:pt x="8337" y="716"/>
                </a:cubicBezTo>
                <a:cubicBezTo>
                  <a:pt x="8319" y="717"/>
                  <a:pt x="8319" y="717"/>
                  <a:pt x="8319" y="717"/>
                </a:cubicBezTo>
                <a:cubicBezTo>
                  <a:pt x="8319" y="717"/>
                  <a:pt x="8313" y="728"/>
                  <a:pt x="8303" y="732"/>
                </a:cubicBezTo>
                <a:cubicBezTo>
                  <a:pt x="8293" y="736"/>
                  <a:pt x="8273" y="740"/>
                  <a:pt x="8281" y="747"/>
                </a:cubicBezTo>
                <a:cubicBezTo>
                  <a:pt x="8289" y="754"/>
                  <a:pt x="8321" y="777"/>
                  <a:pt x="8321" y="777"/>
                </a:cubicBezTo>
                <a:cubicBezTo>
                  <a:pt x="8333" y="794"/>
                  <a:pt x="8333" y="794"/>
                  <a:pt x="8333" y="794"/>
                </a:cubicBezTo>
                <a:cubicBezTo>
                  <a:pt x="8313" y="785"/>
                  <a:pt x="8313" y="785"/>
                  <a:pt x="8313" y="785"/>
                </a:cubicBezTo>
                <a:cubicBezTo>
                  <a:pt x="8313" y="785"/>
                  <a:pt x="8295" y="795"/>
                  <a:pt x="8282" y="789"/>
                </a:cubicBezTo>
                <a:cubicBezTo>
                  <a:pt x="8269" y="783"/>
                  <a:pt x="8226" y="776"/>
                  <a:pt x="8226" y="776"/>
                </a:cubicBezTo>
                <a:cubicBezTo>
                  <a:pt x="8226" y="776"/>
                  <a:pt x="8220" y="752"/>
                  <a:pt x="8205" y="758"/>
                </a:cubicBezTo>
                <a:cubicBezTo>
                  <a:pt x="8190" y="764"/>
                  <a:pt x="8182" y="770"/>
                  <a:pt x="8182" y="770"/>
                </a:cubicBezTo>
                <a:cubicBezTo>
                  <a:pt x="8170" y="771"/>
                  <a:pt x="8170" y="771"/>
                  <a:pt x="8170" y="771"/>
                </a:cubicBezTo>
                <a:cubicBezTo>
                  <a:pt x="8200" y="797"/>
                  <a:pt x="8200" y="797"/>
                  <a:pt x="8200" y="797"/>
                </a:cubicBezTo>
                <a:cubicBezTo>
                  <a:pt x="8200" y="797"/>
                  <a:pt x="8240" y="798"/>
                  <a:pt x="8240" y="805"/>
                </a:cubicBezTo>
                <a:cubicBezTo>
                  <a:pt x="8240" y="812"/>
                  <a:pt x="8222" y="823"/>
                  <a:pt x="8222" y="823"/>
                </a:cubicBezTo>
                <a:cubicBezTo>
                  <a:pt x="8180" y="813"/>
                  <a:pt x="8180" y="813"/>
                  <a:pt x="8180" y="813"/>
                </a:cubicBezTo>
                <a:cubicBezTo>
                  <a:pt x="8180" y="813"/>
                  <a:pt x="8165" y="799"/>
                  <a:pt x="8155" y="798"/>
                </a:cubicBezTo>
                <a:cubicBezTo>
                  <a:pt x="8145" y="797"/>
                  <a:pt x="8119" y="808"/>
                  <a:pt x="8117" y="794"/>
                </a:cubicBezTo>
                <a:cubicBezTo>
                  <a:pt x="8115" y="780"/>
                  <a:pt x="8116" y="764"/>
                  <a:pt x="8116" y="764"/>
                </a:cubicBezTo>
                <a:cubicBezTo>
                  <a:pt x="8103" y="756"/>
                  <a:pt x="8103" y="756"/>
                  <a:pt x="8103" y="756"/>
                </a:cubicBezTo>
                <a:cubicBezTo>
                  <a:pt x="8103" y="756"/>
                  <a:pt x="8124" y="738"/>
                  <a:pt x="8116" y="729"/>
                </a:cubicBezTo>
                <a:cubicBezTo>
                  <a:pt x="8108" y="720"/>
                  <a:pt x="8052" y="705"/>
                  <a:pt x="8052" y="705"/>
                </a:cubicBezTo>
                <a:cubicBezTo>
                  <a:pt x="8032" y="690"/>
                  <a:pt x="8032" y="690"/>
                  <a:pt x="8032" y="690"/>
                </a:cubicBezTo>
                <a:cubicBezTo>
                  <a:pt x="8016" y="679"/>
                  <a:pt x="8016" y="679"/>
                  <a:pt x="8016" y="679"/>
                </a:cubicBezTo>
                <a:cubicBezTo>
                  <a:pt x="8006" y="669"/>
                  <a:pt x="8006" y="669"/>
                  <a:pt x="8006" y="669"/>
                </a:cubicBezTo>
                <a:cubicBezTo>
                  <a:pt x="8032" y="668"/>
                  <a:pt x="8032" y="668"/>
                  <a:pt x="8032" y="668"/>
                </a:cubicBezTo>
                <a:cubicBezTo>
                  <a:pt x="8032" y="668"/>
                  <a:pt x="8027" y="677"/>
                  <a:pt x="8046" y="681"/>
                </a:cubicBezTo>
                <a:cubicBezTo>
                  <a:pt x="8065" y="685"/>
                  <a:pt x="8090" y="682"/>
                  <a:pt x="8090" y="682"/>
                </a:cubicBezTo>
                <a:cubicBezTo>
                  <a:pt x="8090" y="682"/>
                  <a:pt x="8106" y="700"/>
                  <a:pt x="8118" y="702"/>
                </a:cubicBezTo>
                <a:cubicBezTo>
                  <a:pt x="8130" y="704"/>
                  <a:pt x="8184" y="709"/>
                  <a:pt x="8184" y="709"/>
                </a:cubicBezTo>
                <a:cubicBezTo>
                  <a:pt x="8184" y="709"/>
                  <a:pt x="8221" y="725"/>
                  <a:pt x="8264" y="714"/>
                </a:cubicBezTo>
                <a:cubicBezTo>
                  <a:pt x="8307" y="703"/>
                  <a:pt x="8349" y="688"/>
                  <a:pt x="8327" y="668"/>
                </a:cubicBezTo>
                <a:cubicBezTo>
                  <a:pt x="8305" y="648"/>
                  <a:pt x="8304" y="635"/>
                  <a:pt x="8275" y="629"/>
                </a:cubicBezTo>
                <a:cubicBezTo>
                  <a:pt x="8246" y="623"/>
                  <a:pt x="8206" y="608"/>
                  <a:pt x="8187" y="601"/>
                </a:cubicBezTo>
                <a:cubicBezTo>
                  <a:pt x="8168" y="594"/>
                  <a:pt x="8134" y="577"/>
                  <a:pt x="8114" y="576"/>
                </a:cubicBezTo>
                <a:cubicBezTo>
                  <a:pt x="8094" y="575"/>
                  <a:pt x="8075" y="575"/>
                  <a:pt x="8063" y="575"/>
                </a:cubicBezTo>
                <a:cubicBezTo>
                  <a:pt x="8051" y="575"/>
                  <a:pt x="8029" y="575"/>
                  <a:pt x="8029" y="575"/>
                </a:cubicBezTo>
                <a:cubicBezTo>
                  <a:pt x="8021" y="565"/>
                  <a:pt x="8021" y="565"/>
                  <a:pt x="8021" y="565"/>
                </a:cubicBezTo>
                <a:cubicBezTo>
                  <a:pt x="8002" y="566"/>
                  <a:pt x="8002" y="566"/>
                  <a:pt x="8002" y="566"/>
                </a:cubicBezTo>
                <a:cubicBezTo>
                  <a:pt x="7981" y="557"/>
                  <a:pt x="7981" y="557"/>
                  <a:pt x="7981" y="557"/>
                </a:cubicBezTo>
                <a:cubicBezTo>
                  <a:pt x="8002" y="552"/>
                  <a:pt x="8002" y="552"/>
                  <a:pt x="8002" y="552"/>
                </a:cubicBezTo>
                <a:cubicBezTo>
                  <a:pt x="8014" y="544"/>
                  <a:pt x="8014" y="544"/>
                  <a:pt x="8014" y="544"/>
                </a:cubicBezTo>
                <a:cubicBezTo>
                  <a:pt x="8014" y="544"/>
                  <a:pt x="7971" y="528"/>
                  <a:pt x="7965" y="534"/>
                </a:cubicBezTo>
                <a:cubicBezTo>
                  <a:pt x="7959" y="540"/>
                  <a:pt x="7956" y="549"/>
                  <a:pt x="7956" y="549"/>
                </a:cubicBezTo>
                <a:cubicBezTo>
                  <a:pt x="7939" y="549"/>
                  <a:pt x="7939" y="549"/>
                  <a:pt x="7939" y="549"/>
                </a:cubicBezTo>
                <a:cubicBezTo>
                  <a:pt x="7922" y="552"/>
                  <a:pt x="7922" y="552"/>
                  <a:pt x="7922" y="552"/>
                </a:cubicBezTo>
                <a:cubicBezTo>
                  <a:pt x="7894" y="545"/>
                  <a:pt x="7894" y="545"/>
                  <a:pt x="7894" y="545"/>
                </a:cubicBezTo>
                <a:cubicBezTo>
                  <a:pt x="7874" y="534"/>
                  <a:pt x="7874" y="534"/>
                  <a:pt x="7874" y="534"/>
                </a:cubicBezTo>
                <a:cubicBezTo>
                  <a:pt x="7874" y="534"/>
                  <a:pt x="7900" y="538"/>
                  <a:pt x="7911" y="533"/>
                </a:cubicBezTo>
                <a:cubicBezTo>
                  <a:pt x="7922" y="528"/>
                  <a:pt x="7940" y="522"/>
                  <a:pt x="7940" y="522"/>
                </a:cubicBezTo>
                <a:cubicBezTo>
                  <a:pt x="7940" y="522"/>
                  <a:pt x="7914" y="507"/>
                  <a:pt x="7900" y="507"/>
                </a:cubicBezTo>
                <a:cubicBezTo>
                  <a:pt x="7886" y="507"/>
                  <a:pt x="7865" y="496"/>
                  <a:pt x="7865" y="496"/>
                </a:cubicBezTo>
                <a:cubicBezTo>
                  <a:pt x="7865" y="496"/>
                  <a:pt x="7857" y="522"/>
                  <a:pt x="7841" y="519"/>
                </a:cubicBezTo>
                <a:cubicBezTo>
                  <a:pt x="7825" y="516"/>
                  <a:pt x="7853" y="498"/>
                  <a:pt x="7853" y="498"/>
                </a:cubicBezTo>
                <a:cubicBezTo>
                  <a:pt x="7809" y="483"/>
                  <a:pt x="7809" y="483"/>
                  <a:pt x="7809" y="483"/>
                </a:cubicBezTo>
                <a:cubicBezTo>
                  <a:pt x="7809" y="483"/>
                  <a:pt x="7801" y="532"/>
                  <a:pt x="7787" y="526"/>
                </a:cubicBezTo>
                <a:cubicBezTo>
                  <a:pt x="7773" y="520"/>
                  <a:pt x="7784" y="494"/>
                  <a:pt x="7784" y="494"/>
                </a:cubicBezTo>
                <a:cubicBezTo>
                  <a:pt x="7784" y="494"/>
                  <a:pt x="7746" y="538"/>
                  <a:pt x="7736" y="531"/>
                </a:cubicBezTo>
                <a:cubicBezTo>
                  <a:pt x="7726" y="524"/>
                  <a:pt x="7772" y="488"/>
                  <a:pt x="7772" y="488"/>
                </a:cubicBezTo>
                <a:cubicBezTo>
                  <a:pt x="7749" y="486"/>
                  <a:pt x="7749" y="486"/>
                  <a:pt x="7749" y="486"/>
                </a:cubicBezTo>
                <a:cubicBezTo>
                  <a:pt x="7737" y="496"/>
                  <a:pt x="7737" y="496"/>
                  <a:pt x="7737" y="496"/>
                </a:cubicBezTo>
                <a:cubicBezTo>
                  <a:pt x="7721" y="494"/>
                  <a:pt x="7721" y="494"/>
                  <a:pt x="7721" y="494"/>
                </a:cubicBezTo>
                <a:cubicBezTo>
                  <a:pt x="7691" y="512"/>
                  <a:pt x="7691" y="512"/>
                  <a:pt x="7691" y="512"/>
                </a:cubicBezTo>
                <a:cubicBezTo>
                  <a:pt x="7675" y="513"/>
                  <a:pt x="7675" y="513"/>
                  <a:pt x="7675" y="513"/>
                </a:cubicBezTo>
                <a:cubicBezTo>
                  <a:pt x="7673" y="533"/>
                  <a:pt x="7673" y="533"/>
                  <a:pt x="7673" y="533"/>
                </a:cubicBezTo>
                <a:cubicBezTo>
                  <a:pt x="7649" y="524"/>
                  <a:pt x="7649" y="524"/>
                  <a:pt x="7649" y="524"/>
                </a:cubicBezTo>
                <a:cubicBezTo>
                  <a:pt x="7623" y="529"/>
                  <a:pt x="7623" y="529"/>
                  <a:pt x="7623" y="529"/>
                </a:cubicBezTo>
                <a:cubicBezTo>
                  <a:pt x="7631" y="547"/>
                  <a:pt x="7631" y="547"/>
                  <a:pt x="7631" y="547"/>
                </a:cubicBezTo>
                <a:cubicBezTo>
                  <a:pt x="7600" y="538"/>
                  <a:pt x="7600" y="538"/>
                  <a:pt x="7600" y="538"/>
                </a:cubicBezTo>
                <a:cubicBezTo>
                  <a:pt x="7589" y="544"/>
                  <a:pt x="7589" y="544"/>
                  <a:pt x="7589" y="544"/>
                </a:cubicBezTo>
                <a:cubicBezTo>
                  <a:pt x="7592" y="560"/>
                  <a:pt x="7592" y="560"/>
                  <a:pt x="7592" y="560"/>
                </a:cubicBezTo>
                <a:cubicBezTo>
                  <a:pt x="7562" y="566"/>
                  <a:pt x="7562" y="566"/>
                  <a:pt x="7562" y="566"/>
                </a:cubicBezTo>
                <a:cubicBezTo>
                  <a:pt x="7565" y="545"/>
                  <a:pt x="7565" y="545"/>
                  <a:pt x="7565" y="545"/>
                </a:cubicBezTo>
                <a:cubicBezTo>
                  <a:pt x="7545" y="545"/>
                  <a:pt x="7545" y="545"/>
                  <a:pt x="7545" y="545"/>
                </a:cubicBezTo>
                <a:cubicBezTo>
                  <a:pt x="7551" y="558"/>
                  <a:pt x="7551" y="558"/>
                  <a:pt x="7551" y="558"/>
                </a:cubicBezTo>
                <a:cubicBezTo>
                  <a:pt x="7535" y="548"/>
                  <a:pt x="7535" y="548"/>
                  <a:pt x="7535" y="548"/>
                </a:cubicBezTo>
                <a:cubicBezTo>
                  <a:pt x="7537" y="568"/>
                  <a:pt x="7537" y="568"/>
                  <a:pt x="7537" y="568"/>
                </a:cubicBezTo>
                <a:cubicBezTo>
                  <a:pt x="7520" y="567"/>
                  <a:pt x="7520" y="567"/>
                  <a:pt x="7520" y="567"/>
                </a:cubicBezTo>
                <a:cubicBezTo>
                  <a:pt x="7520" y="567"/>
                  <a:pt x="7517" y="554"/>
                  <a:pt x="7519" y="551"/>
                </a:cubicBezTo>
                <a:cubicBezTo>
                  <a:pt x="7521" y="548"/>
                  <a:pt x="7532" y="538"/>
                  <a:pt x="7532" y="538"/>
                </a:cubicBezTo>
                <a:cubicBezTo>
                  <a:pt x="7509" y="535"/>
                  <a:pt x="7509" y="535"/>
                  <a:pt x="7509" y="535"/>
                </a:cubicBezTo>
                <a:cubicBezTo>
                  <a:pt x="7506" y="564"/>
                  <a:pt x="7506" y="564"/>
                  <a:pt x="7506" y="564"/>
                </a:cubicBezTo>
                <a:cubicBezTo>
                  <a:pt x="7488" y="573"/>
                  <a:pt x="7488" y="573"/>
                  <a:pt x="7488" y="573"/>
                </a:cubicBezTo>
                <a:cubicBezTo>
                  <a:pt x="7498" y="581"/>
                  <a:pt x="7498" y="581"/>
                  <a:pt x="7498" y="581"/>
                </a:cubicBezTo>
                <a:cubicBezTo>
                  <a:pt x="7476" y="584"/>
                  <a:pt x="7476" y="584"/>
                  <a:pt x="7476" y="584"/>
                </a:cubicBezTo>
                <a:cubicBezTo>
                  <a:pt x="7484" y="592"/>
                  <a:pt x="7484" y="592"/>
                  <a:pt x="7484" y="592"/>
                </a:cubicBezTo>
                <a:cubicBezTo>
                  <a:pt x="7456" y="593"/>
                  <a:pt x="7456" y="593"/>
                  <a:pt x="7456" y="593"/>
                </a:cubicBezTo>
                <a:cubicBezTo>
                  <a:pt x="7456" y="601"/>
                  <a:pt x="7456" y="601"/>
                  <a:pt x="7456" y="601"/>
                </a:cubicBezTo>
                <a:cubicBezTo>
                  <a:pt x="7477" y="606"/>
                  <a:pt x="7477" y="606"/>
                  <a:pt x="7477" y="606"/>
                </a:cubicBezTo>
                <a:cubicBezTo>
                  <a:pt x="7470" y="615"/>
                  <a:pt x="7470" y="615"/>
                  <a:pt x="7470" y="615"/>
                </a:cubicBezTo>
                <a:cubicBezTo>
                  <a:pt x="7446" y="605"/>
                  <a:pt x="7446" y="605"/>
                  <a:pt x="7446" y="605"/>
                </a:cubicBezTo>
                <a:cubicBezTo>
                  <a:pt x="7437" y="606"/>
                  <a:pt x="7437" y="606"/>
                  <a:pt x="7437" y="606"/>
                </a:cubicBezTo>
                <a:cubicBezTo>
                  <a:pt x="7453" y="617"/>
                  <a:pt x="7453" y="617"/>
                  <a:pt x="7453" y="617"/>
                </a:cubicBezTo>
                <a:cubicBezTo>
                  <a:pt x="7438" y="628"/>
                  <a:pt x="7438" y="628"/>
                  <a:pt x="7438" y="628"/>
                </a:cubicBezTo>
                <a:cubicBezTo>
                  <a:pt x="7430" y="615"/>
                  <a:pt x="7430" y="615"/>
                  <a:pt x="7430" y="615"/>
                </a:cubicBezTo>
                <a:cubicBezTo>
                  <a:pt x="7420" y="621"/>
                  <a:pt x="7420" y="621"/>
                  <a:pt x="7420" y="621"/>
                </a:cubicBezTo>
                <a:cubicBezTo>
                  <a:pt x="7421" y="626"/>
                  <a:pt x="7421" y="626"/>
                  <a:pt x="7421" y="626"/>
                </a:cubicBezTo>
                <a:cubicBezTo>
                  <a:pt x="7398" y="627"/>
                  <a:pt x="7398" y="627"/>
                  <a:pt x="7398" y="627"/>
                </a:cubicBezTo>
                <a:cubicBezTo>
                  <a:pt x="7395" y="636"/>
                  <a:pt x="7395" y="636"/>
                  <a:pt x="7395" y="636"/>
                </a:cubicBezTo>
                <a:cubicBezTo>
                  <a:pt x="7412" y="645"/>
                  <a:pt x="7412" y="645"/>
                  <a:pt x="7412" y="645"/>
                </a:cubicBezTo>
                <a:cubicBezTo>
                  <a:pt x="7410" y="655"/>
                  <a:pt x="7410" y="655"/>
                  <a:pt x="7410" y="655"/>
                </a:cubicBezTo>
                <a:cubicBezTo>
                  <a:pt x="7388" y="647"/>
                  <a:pt x="7388" y="647"/>
                  <a:pt x="7388" y="647"/>
                </a:cubicBezTo>
                <a:cubicBezTo>
                  <a:pt x="7385" y="657"/>
                  <a:pt x="7385" y="657"/>
                  <a:pt x="7385" y="657"/>
                </a:cubicBezTo>
                <a:cubicBezTo>
                  <a:pt x="7403" y="662"/>
                  <a:pt x="7403" y="662"/>
                  <a:pt x="7403" y="662"/>
                </a:cubicBezTo>
                <a:cubicBezTo>
                  <a:pt x="7403" y="662"/>
                  <a:pt x="7382" y="663"/>
                  <a:pt x="7375" y="664"/>
                </a:cubicBezTo>
                <a:cubicBezTo>
                  <a:pt x="7368" y="665"/>
                  <a:pt x="7372" y="675"/>
                  <a:pt x="7372" y="675"/>
                </a:cubicBezTo>
                <a:cubicBezTo>
                  <a:pt x="7372" y="675"/>
                  <a:pt x="7359" y="668"/>
                  <a:pt x="7351" y="674"/>
                </a:cubicBezTo>
                <a:cubicBezTo>
                  <a:pt x="7343" y="680"/>
                  <a:pt x="7336" y="685"/>
                  <a:pt x="7341" y="688"/>
                </a:cubicBezTo>
                <a:cubicBezTo>
                  <a:pt x="7346" y="691"/>
                  <a:pt x="7335" y="697"/>
                  <a:pt x="7335" y="697"/>
                </a:cubicBezTo>
                <a:cubicBezTo>
                  <a:pt x="7335" y="697"/>
                  <a:pt x="7328" y="706"/>
                  <a:pt x="7331" y="707"/>
                </a:cubicBezTo>
                <a:cubicBezTo>
                  <a:pt x="7334" y="708"/>
                  <a:pt x="7354" y="709"/>
                  <a:pt x="7354" y="709"/>
                </a:cubicBezTo>
                <a:cubicBezTo>
                  <a:pt x="7347" y="717"/>
                  <a:pt x="7347" y="717"/>
                  <a:pt x="7347" y="717"/>
                </a:cubicBezTo>
                <a:cubicBezTo>
                  <a:pt x="7324" y="713"/>
                  <a:pt x="7324" y="713"/>
                  <a:pt x="7324" y="713"/>
                </a:cubicBezTo>
                <a:cubicBezTo>
                  <a:pt x="7324" y="713"/>
                  <a:pt x="7311" y="715"/>
                  <a:pt x="7311" y="723"/>
                </a:cubicBezTo>
                <a:cubicBezTo>
                  <a:pt x="7311" y="731"/>
                  <a:pt x="7321" y="737"/>
                  <a:pt x="7317" y="740"/>
                </a:cubicBezTo>
                <a:cubicBezTo>
                  <a:pt x="7313" y="743"/>
                  <a:pt x="7309" y="743"/>
                  <a:pt x="7304" y="743"/>
                </a:cubicBezTo>
                <a:cubicBezTo>
                  <a:pt x="7299" y="743"/>
                  <a:pt x="7293" y="744"/>
                  <a:pt x="7295" y="751"/>
                </a:cubicBezTo>
                <a:cubicBezTo>
                  <a:pt x="7297" y="758"/>
                  <a:pt x="7305" y="762"/>
                  <a:pt x="7305" y="762"/>
                </a:cubicBezTo>
                <a:cubicBezTo>
                  <a:pt x="7305" y="762"/>
                  <a:pt x="7311" y="773"/>
                  <a:pt x="7304" y="774"/>
                </a:cubicBezTo>
                <a:cubicBezTo>
                  <a:pt x="7297" y="775"/>
                  <a:pt x="7290" y="774"/>
                  <a:pt x="7287" y="774"/>
                </a:cubicBezTo>
                <a:cubicBezTo>
                  <a:pt x="7284" y="774"/>
                  <a:pt x="7281" y="775"/>
                  <a:pt x="7278" y="779"/>
                </a:cubicBezTo>
                <a:cubicBezTo>
                  <a:pt x="7275" y="783"/>
                  <a:pt x="7275" y="790"/>
                  <a:pt x="7275" y="790"/>
                </a:cubicBezTo>
                <a:cubicBezTo>
                  <a:pt x="7275" y="790"/>
                  <a:pt x="7277" y="797"/>
                  <a:pt x="7270" y="797"/>
                </a:cubicBezTo>
                <a:cubicBezTo>
                  <a:pt x="7263" y="797"/>
                  <a:pt x="7260" y="790"/>
                  <a:pt x="7254" y="791"/>
                </a:cubicBezTo>
                <a:cubicBezTo>
                  <a:pt x="7248" y="792"/>
                  <a:pt x="7250" y="792"/>
                  <a:pt x="7245" y="796"/>
                </a:cubicBezTo>
                <a:cubicBezTo>
                  <a:pt x="7240" y="800"/>
                  <a:pt x="7240" y="801"/>
                  <a:pt x="7237" y="805"/>
                </a:cubicBezTo>
                <a:cubicBezTo>
                  <a:pt x="7234" y="809"/>
                  <a:pt x="7225" y="809"/>
                  <a:pt x="7225" y="809"/>
                </a:cubicBezTo>
                <a:cubicBezTo>
                  <a:pt x="7225" y="809"/>
                  <a:pt x="7221" y="810"/>
                  <a:pt x="7218" y="816"/>
                </a:cubicBezTo>
                <a:cubicBezTo>
                  <a:pt x="7215" y="822"/>
                  <a:pt x="7224" y="826"/>
                  <a:pt x="7219" y="829"/>
                </a:cubicBezTo>
                <a:cubicBezTo>
                  <a:pt x="7214" y="832"/>
                  <a:pt x="7213" y="834"/>
                  <a:pt x="7208" y="834"/>
                </a:cubicBezTo>
                <a:cubicBezTo>
                  <a:pt x="7203" y="834"/>
                  <a:pt x="7194" y="829"/>
                  <a:pt x="7191" y="829"/>
                </a:cubicBezTo>
                <a:cubicBezTo>
                  <a:pt x="7188" y="829"/>
                  <a:pt x="7195" y="821"/>
                  <a:pt x="7182" y="828"/>
                </a:cubicBezTo>
                <a:cubicBezTo>
                  <a:pt x="7169" y="835"/>
                  <a:pt x="7168" y="836"/>
                  <a:pt x="7164" y="835"/>
                </a:cubicBezTo>
                <a:cubicBezTo>
                  <a:pt x="7160" y="834"/>
                  <a:pt x="7155" y="832"/>
                  <a:pt x="7156" y="842"/>
                </a:cubicBezTo>
                <a:cubicBezTo>
                  <a:pt x="7157" y="852"/>
                  <a:pt x="7163" y="851"/>
                  <a:pt x="7164" y="854"/>
                </a:cubicBezTo>
                <a:cubicBezTo>
                  <a:pt x="7165" y="857"/>
                  <a:pt x="7168" y="865"/>
                  <a:pt x="7160" y="861"/>
                </a:cubicBezTo>
                <a:cubicBezTo>
                  <a:pt x="7152" y="857"/>
                  <a:pt x="7151" y="848"/>
                  <a:pt x="7146" y="851"/>
                </a:cubicBezTo>
                <a:cubicBezTo>
                  <a:pt x="7141" y="854"/>
                  <a:pt x="7135" y="861"/>
                  <a:pt x="7140" y="864"/>
                </a:cubicBezTo>
                <a:cubicBezTo>
                  <a:pt x="7145" y="867"/>
                  <a:pt x="7160" y="863"/>
                  <a:pt x="7157" y="869"/>
                </a:cubicBezTo>
                <a:cubicBezTo>
                  <a:pt x="7154" y="875"/>
                  <a:pt x="7164" y="878"/>
                  <a:pt x="7149" y="876"/>
                </a:cubicBezTo>
                <a:cubicBezTo>
                  <a:pt x="7134" y="874"/>
                  <a:pt x="7130" y="874"/>
                  <a:pt x="7130" y="874"/>
                </a:cubicBezTo>
                <a:cubicBezTo>
                  <a:pt x="7130" y="874"/>
                  <a:pt x="7132" y="868"/>
                  <a:pt x="7126" y="873"/>
                </a:cubicBezTo>
                <a:cubicBezTo>
                  <a:pt x="7120" y="878"/>
                  <a:pt x="7122" y="887"/>
                  <a:pt x="7122" y="887"/>
                </a:cubicBezTo>
                <a:cubicBezTo>
                  <a:pt x="7122" y="887"/>
                  <a:pt x="7093" y="874"/>
                  <a:pt x="7097" y="882"/>
                </a:cubicBezTo>
                <a:cubicBezTo>
                  <a:pt x="7101" y="890"/>
                  <a:pt x="7123" y="895"/>
                  <a:pt x="7123" y="895"/>
                </a:cubicBezTo>
                <a:cubicBezTo>
                  <a:pt x="7110" y="909"/>
                  <a:pt x="7110" y="909"/>
                  <a:pt x="7110" y="909"/>
                </a:cubicBezTo>
                <a:cubicBezTo>
                  <a:pt x="7110" y="909"/>
                  <a:pt x="7111" y="899"/>
                  <a:pt x="7104" y="898"/>
                </a:cubicBezTo>
                <a:cubicBezTo>
                  <a:pt x="7097" y="897"/>
                  <a:pt x="7091" y="905"/>
                  <a:pt x="7091" y="905"/>
                </a:cubicBezTo>
                <a:cubicBezTo>
                  <a:pt x="7078" y="894"/>
                  <a:pt x="7078" y="894"/>
                  <a:pt x="7078" y="894"/>
                </a:cubicBezTo>
                <a:cubicBezTo>
                  <a:pt x="7072" y="903"/>
                  <a:pt x="7072" y="903"/>
                  <a:pt x="7072" y="903"/>
                </a:cubicBezTo>
                <a:cubicBezTo>
                  <a:pt x="7081" y="906"/>
                  <a:pt x="7081" y="906"/>
                  <a:pt x="7081" y="906"/>
                </a:cubicBezTo>
                <a:cubicBezTo>
                  <a:pt x="7058" y="905"/>
                  <a:pt x="7058" y="905"/>
                  <a:pt x="7058" y="905"/>
                </a:cubicBezTo>
                <a:cubicBezTo>
                  <a:pt x="7057" y="914"/>
                  <a:pt x="7057" y="914"/>
                  <a:pt x="7057" y="914"/>
                </a:cubicBezTo>
                <a:cubicBezTo>
                  <a:pt x="7090" y="916"/>
                  <a:pt x="7090" y="916"/>
                  <a:pt x="7090" y="916"/>
                </a:cubicBezTo>
                <a:cubicBezTo>
                  <a:pt x="7073" y="921"/>
                  <a:pt x="7073" y="921"/>
                  <a:pt x="7073" y="921"/>
                </a:cubicBezTo>
                <a:cubicBezTo>
                  <a:pt x="7049" y="915"/>
                  <a:pt x="7049" y="915"/>
                  <a:pt x="7049" y="915"/>
                </a:cubicBezTo>
                <a:cubicBezTo>
                  <a:pt x="7049" y="915"/>
                  <a:pt x="7041" y="922"/>
                  <a:pt x="7041" y="928"/>
                </a:cubicBezTo>
                <a:cubicBezTo>
                  <a:pt x="7041" y="934"/>
                  <a:pt x="7059" y="935"/>
                  <a:pt x="7059" y="935"/>
                </a:cubicBezTo>
                <a:cubicBezTo>
                  <a:pt x="7048" y="940"/>
                  <a:pt x="7048" y="940"/>
                  <a:pt x="7048" y="940"/>
                </a:cubicBezTo>
                <a:cubicBezTo>
                  <a:pt x="7048" y="940"/>
                  <a:pt x="7039" y="947"/>
                  <a:pt x="7048" y="948"/>
                </a:cubicBezTo>
                <a:cubicBezTo>
                  <a:pt x="7057" y="949"/>
                  <a:pt x="7080" y="949"/>
                  <a:pt x="7080" y="949"/>
                </a:cubicBezTo>
                <a:cubicBezTo>
                  <a:pt x="7090" y="955"/>
                  <a:pt x="7090" y="955"/>
                  <a:pt x="7090" y="955"/>
                </a:cubicBezTo>
                <a:cubicBezTo>
                  <a:pt x="7101" y="947"/>
                  <a:pt x="7101" y="947"/>
                  <a:pt x="7101" y="947"/>
                </a:cubicBezTo>
                <a:cubicBezTo>
                  <a:pt x="7109" y="955"/>
                  <a:pt x="7109" y="955"/>
                  <a:pt x="7109" y="955"/>
                </a:cubicBezTo>
                <a:cubicBezTo>
                  <a:pt x="7127" y="946"/>
                  <a:pt x="7127" y="946"/>
                  <a:pt x="7127" y="946"/>
                </a:cubicBezTo>
                <a:cubicBezTo>
                  <a:pt x="7127" y="946"/>
                  <a:pt x="7124" y="959"/>
                  <a:pt x="7118" y="959"/>
                </a:cubicBezTo>
                <a:cubicBezTo>
                  <a:pt x="7112" y="959"/>
                  <a:pt x="7100" y="958"/>
                  <a:pt x="7100" y="958"/>
                </a:cubicBezTo>
                <a:cubicBezTo>
                  <a:pt x="7082" y="959"/>
                  <a:pt x="7082" y="959"/>
                  <a:pt x="7082" y="959"/>
                </a:cubicBezTo>
                <a:cubicBezTo>
                  <a:pt x="7082" y="959"/>
                  <a:pt x="7066" y="957"/>
                  <a:pt x="7063" y="957"/>
                </a:cubicBezTo>
                <a:cubicBezTo>
                  <a:pt x="7060" y="957"/>
                  <a:pt x="7038" y="959"/>
                  <a:pt x="7038" y="959"/>
                </a:cubicBezTo>
                <a:cubicBezTo>
                  <a:pt x="7038" y="959"/>
                  <a:pt x="7040" y="971"/>
                  <a:pt x="7045" y="973"/>
                </a:cubicBezTo>
                <a:cubicBezTo>
                  <a:pt x="7050" y="975"/>
                  <a:pt x="7058" y="975"/>
                  <a:pt x="7058" y="975"/>
                </a:cubicBezTo>
                <a:cubicBezTo>
                  <a:pt x="7058" y="975"/>
                  <a:pt x="7045" y="985"/>
                  <a:pt x="7051" y="992"/>
                </a:cubicBezTo>
                <a:cubicBezTo>
                  <a:pt x="7057" y="999"/>
                  <a:pt x="7067" y="1000"/>
                  <a:pt x="7067" y="1000"/>
                </a:cubicBezTo>
                <a:cubicBezTo>
                  <a:pt x="7085" y="989"/>
                  <a:pt x="7085" y="989"/>
                  <a:pt x="7085" y="989"/>
                </a:cubicBezTo>
                <a:cubicBezTo>
                  <a:pt x="7103" y="985"/>
                  <a:pt x="7103" y="985"/>
                  <a:pt x="7103" y="985"/>
                </a:cubicBezTo>
                <a:cubicBezTo>
                  <a:pt x="7097" y="999"/>
                  <a:pt x="7097" y="999"/>
                  <a:pt x="7097" y="999"/>
                </a:cubicBezTo>
                <a:cubicBezTo>
                  <a:pt x="7087" y="996"/>
                  <a:pt x="7087" y="996"/>
                  <a:pt x="7087" y="996"/>
                </a:cubicBezTo>
                <a:cubicBezTo>
                  <a:pt x="7081" y="1008"/>
                  <a:pt x="7081" y="1008"/>
                  <a:pt x="7081" y="1008"/>
                </a:cubicBezTo>
                <a:cubicBezTo>
                  <a:pt x="7081" y="1008"/>
                  <a:pt x="7051" y="1002"/>
                  <a:pt x="7055" y="1009"/>
                </a:cubicBezTo>
                <a:cubicBezTo>
                  <a:pt x="7059" y="1016"/>
                  <a:pt x="7068" y="1019"/>
                  <a:pt x="7068" y="1019"/>
                </a:cubicBezTo>
                <a:cubicBezTo>
                  <a:pt x="7052" y="1027"/>
                  <a:pt x="7052" y="1027"/>
                  <a:pt x="7052" y="1027"/>
                </a:cubicBezTo>
                <a:cubicBezTo>
                  <a:pt x="7040" y="1027"/>
                  <a:pt x="7040" y="1027"/>
                  <a:pt x="7040" y="1027"/>
                </a:cubicBezTo>
                <a:cubicBezTo>
                  <a:pt x="7040" y="1027"/>
                  <a:pt x="7042" y="1039"/>
                  <a:pt x="7045" y="1039"/>
                </a:cubicBezTo>
                <a:cubicBezTo>
                  <a:pt x="7048" y="1039"/>
                  <a:pt x="7080" y="1040"/>
                  <a:pt x="7080" y="1040"/>
                </a:cubicBezTo>
                <a:cubicBezTo>
                  <a:pt x="7071" y="1054"/>
                  <a:pt x="7071" y="1054"/>
                  <a:pt x="7071" y="1054"/>
                </a:cubicBezTo>
                <a:cubicBezTo>
                  <a:pt x="7079" y="1056"/>
                  <a:pt x="7079" y="1056"/>
                  <a:pt x="7079" y="1056"/>
                </a:cubicBezTo>
                <a:cubicBezTo>
                  <a:pt x="7074" y="1068"/>
                  <a:pt x="7074" y="1068"/>
                  <a:pt x="7074" y="1068"/>
                </a:cubicBezTo>
                <a:cubicBezTo>
                  <a:pt x="7074" y="1068"/>
                  <a:pt x="7048" y="1055"/>
                  <a:pt x="7049" y="1063"/>
                </a:cubicBezTo>
                <a:cubicBezTo>
                  <a:pt x="7050" y="1071"/>
                  <a:pt x="7061" y="1082"/>
                  <a:pt x="7061" y="1082"/>
                </a:cubicBezTo>
                <a:cubicBezTo>
                  <a:pt x="7093" y="1096"/>
                  <a:pt x="7093" y="1096"/>
                  <a:pt x="7093" y="1096"/>
                </a:cubicBezTo>
                <a:cubicBezTo>
                  <a:pt x="7093" y="1096"/>
                  <a:pt x="7086" y="1101"/>
                  <a:pt x="7093" y="1104"/>
                </a:cubicBezTo>
                <a:cubicBezTo>
                  <a:pt x="7100" y="1107"/>
                  <a:pt x="7121" y="1102"/>
                  <a:pt x="7121" y="1102"/>
                </a:cubicBezTo>
                <a:cubicBezTo>
                  <a:pt x="7121" y="1102"/>
                  <a:pt x="7124" y="1111"/>
                  <a:pt x="7141" y="1105"/>
                </a:cubicBezTo>
                <a:cubicBezTo>
                  <a:pt x="7158" y="1099"/>
                  <a:pt x="7186" y="1074"/>
                  <a:pt x="7186" y="1074"/>
                </a:cubicBezTo>
                <a:cubicBezTo>
                  <a:pt x="7210" y="1055"/>
                  <a:pt x="7210" y="1055"/>
                  <a:pt x="7210" y="1055"/>
                </a:cubicBezTo>
                <a:cubicBezTo>
                  <a:pt x="7210" y="1055"/>
                  <a:pt x="7221" y="1060"/>
                  <a:pt x="7231" y="1051"/>
                </a:cubicBezTo>
                <a:cubicBezTo>
                  <a:pt x="7241" y="1042"/>
                  <a:pt x="7231" y="1023"/>
                  <a:pt x="7231" y="1023"/>
                </a:cubicBezTo>
                <a:cubicBezTo>
                  <a:pt x="7243" y="1021"/>
                  <a:pt x="7243" y="1021"/>
                  <a:pt x="7243" y="1021"/>
                </a:cubicBezTo>
                <a:cubicBezTo>
                  <a:pt x="7243" y="1021"/>
                  <a:pt x="7230" y="1038"/>
                  <a:pt x="7245" y="1043"/>
                </a:cubicBezTo>
                <a:cubicBezTo>
                  <a:pt x="7260" y="1048"/>
                  <a:pt x="7271" y="1050"/>
                  <a:pt x="7271" y="1050"/>
                </a:cubicBezTo>
                <a:cubicBezTo>
                  <a:pt x="7273" y="1091"/>
                  <a:pt x="7273" y="1091"/>
                  <a:pt x="7273" y="1091"/>
                </a:cubicBezTo>
                <a:cubicBezTo>
                  <a:pt x="7273" y="1091"/>
                  <a:pt x="7287" y="1080"/>
                  <a:pt x="7294" y="1092"/>
                </a:cubicBezTo>
                <a:cubicBezTo>
                  <a:pt x="7301" y="1104"/>
                  <a:pt x="7290" y="1096"/>
                  <a:pt x="7290" y="1096"/>
                </a:cubicBezTo>
                <a:cubicBezTo>
                  <a:pt x="7290" y="1096"/>
                  <a:pt x="7285" y="1130"/>
                  <a:pt x="7289" y="1134"/>
                </a:cubicBezTo>
                <a:cubicBezTo>
                  <a:pt x="7293" y="1138"/>
                  <a:pt x="7305" y="1143"/>
                  <a:pt x="7305" y="1143"/>
                </a:cubicBezTo>
                <a:cubicBezTo>
                  <a:pt x="7305" y="1143"/>
                  <a:pt x="7314" y="1160"/>
                  <a:pt x="7320" y="1167"/>
                </a:cubicBezTo>
                <a:cubicBezTo>
                  <a:pt x="7326" y="1174"/>
                  <a:pt x="7337" y="1178"/>
                  <a:pt x="7337" y="1178"/>
                </a:cubicBezTo>
                <a:cubicBezTo>
                  <a:pt x="7336" y="1186"/>
                  <a:pt x="7336" y="1186"/>
                  <a:pt x="7336" y="1186"/>
                </a:cubicBezTo>
                <a:cubicBezTo>
                  <a:pt x="7324" y="1188"/>
                  <a:pt x="7324" y="1188"/>
                  <a:pt x="7324" y="1188"/>
                </a:cubicBezTo>
                <a:cubicBezTo>
                  <a:pt x="7324" y="1188"/>
                  <a:pt x="7322" y="1196"/>
                  <a:pt x="7323" y="1202"/>
                </a:cubicBezTo>
                <a:cubicBezTo>
                  <a:pt x="7324" y="1208"/>
                  <a:pt x="7339" y="1221"/>
                  <a:pt x="7339" y="1221"/>
                </a:cubicBezTo>
                <a:cubicBezTo>
                  <a:pt x="7339" y="1221"/>
                  <a:pt x="7335" y="1234"/>
                  <a:pt x="7340" y="1237"/>
                </a:cubicBezTo>
                <a:cubicBezTo>
                  <a:pt x="7345" y="1240"/>
                  <a:pt x="7365" y="1238"/>
                  <a:pt x="7365" y="1238"/>
                </a:cubicBezTo>
                <a:cubicBezTo>
                  <a:pt x="7365" y="1238"/>
                  <a:pt x="7393" y="1245"/>
                  <a:pt x="7392" y="1236"/>
                </a:cubicBezTo>
                <a:cubicBezTo>
                  <a:pt x="7391" y="1227"/>
                  <a:pt x="7391" y="1212"/>
                  <a:pt x="7391" y="1212"/>
                </a:cubicBezTo>
                <a:cubicBezTo>
                  <a:pt x="7403" y="1206"/>
                  <a:pt x="7403" y="1206"/>
                  <a:pt x="7403" y="1206"/>
                </a:cubicBezTo>
                <a:cubicBezTo>
                  <a:pt x="7404" y="1196"/>
                  <a:pt x="7404" y="1196"/>
                  <a:pt x="7404" y="1196"/>
                </a:cubicBezTo>
                <a:cubicBezTo>
                  <a:pt x="7447" y="1199"/>
                  <a:pt x="7447" y="1199"/>
                  <a:pt x="7447" y="1199"/>
                </a:cubicBezTo>
                <a:cubicBezTo>
                  <a:pt x="7456" y="1204"/>
                  <a:pt x="7456" y="1204"/>
                  <a:pt x="7456" y="1204"/>
                </a:cubicBezTo>
                <a:cubicBezTo>
                  <a:pt x="7470" y="1162"/>
                  <a:pt x="7470" y="1162"/>
                  <a:pt x="7470" y="1162"/>
                </a:cubicBezTo>
                <a:cubicBezTo>
                  <a:pt x="7470" y="1162"/>
                  <a:pt x="7479" y="1136"/>
                  <a:pt x="7477" y="1130"/>
                </a:cubicBezTo>
                <a:cubicBezTo>
                  <a:pt x="7475" y="1124"/>
                  <a:pt x="7469" y="1113"/>
                  <a:pt x="7469" y="1113"/>
                </a:cubicBezTo>
                <a:cubicBezTo>
                  <a:pt x="7469" y="1113"/>
                  <a:pt x="7490" y="1110"/>
                  <a:pt x="7488" y="1099"/>
                </a:cubicBezTo>
                <a:cubicBezTo>
                  <a:pt x="7486" y="1088"/>
                  <a:pt x="7467" y="1088"/>
                  <a:pt x="7467" y="1088"/>
                </a:cubicBezTo>
                <a:cubicBezTo>
                  <a:pt x="7480" y="1083"/>
                  <a:pt x="7480" y="1083"/>
                  <a:pt x="7480" y="1083"/>
                </a:cubicBezTo>
                <a:cubicBezTo>
                  <a:pt x="7471" y="1079"/>
                  <a:pt x="7471" y="1079"/>
                  <a:pt x="7471" y="1079"/>
                </a:cubicBezTo>
                <a:cubicBezTo>
                  <a:pt x="7471" y="1079"/>
                  <a:pt x="7505" y="1081"/>
                  <a:pt x="7508" y="1070"/>
                </a:cubicBezTo>
                <a:cubicBezTo>
                  <a:pt x="7511" y="1059"/>
                  <a:pt x="7516" y="1053"/>
                  <a:pt x="7516" y="1053"/>
                </a:cubicBezTo>
                <a:cubicBezTo>
                  <a:pt x="7516" y="1053"/>
                  <a:pt x="7527" y="1071"/>
                  <a:pt x="7537" y="1059"/>
                </a:cubicBezTo>
                <a:cubicBezTo>
                  <a:pt x="7547" y="1047"/>
                  <a:pt x="7541" y="1037"/>
                  <a:pt x="7541" y="1037"/>
                </a:cubicBezTo>
                <a:cubicBezTo>
                  <a:pt x="7541" y="1037"/>
                  <a:pt x="7568" y="1032"/>
                  <a:pt x="7561" y="1018"/>
                </a:cubicBezTo>
                <a:cubicBezTo>
                  <a:pt x="7554" y="1004"/>
                  <a:pt x="7542" y="1001"/>
                  <a:pt x="7542" y="1001"/>
                </a:cubicBezTo>
                <a:cubicBezTo>
                  <a:pt x="7542" y="990"/>
                  <a:pt x="7542" y="990"/>
                  <a:pt x="7542" y="990"/>
                </a:cubicBezTo>
                <a:cubicBezTo>
                  <a:pt x="7518" y="980"/>
                  <a:pt x="7518" y="980"/>
                  <a:pt x="7518" y="980"/>
                </a:cubicBezTo>
                <a:cubicBezTo>
                  <a:pt x="7518" y="980"/>
                  <a:pt x="7507" y="987"/>
                  <a:pt x="7499" y="980"/>
                </a:cubicBezTo>
                <a:cubicBezTo>
                  <a:pt x="7491" y="973"/>
                  <a:pt x="7488" y="931"/>
                  <a:pt x="7488" y="931"/>
                </a:cubicBezTo>
                <a:cubicBezTo>
                  <a:pt x="7488" y="931"/>
                  <a:pt x="7499" y="921"/>
                  <a:pt x="7500" y="910"/>
                </a:cubicBezTo>
                <a:cubicBezTo>
                  <a:pt x="7501" y="899"/>
                  <a:pt x="7490" y="889"/>
                  <a:pt x="7490" y="889"/>
                </a:cubicBezTo>
                <a:cubicBezTo>
                  <a:pt x="7490" y="889"/>
                  <a:pt x="7504" y="892"/>
                  <a:pt x="7508" y="884"/>
                </a:cubicBezTo>
                <a:cubicBezTo>
                  <a:pt x="7512" y="876"/>
                  <a:pt x="7503" y="864"/>
                  <a:pt x="7503" y="864"/>
                </a:cubicBezTo>
                <a:cubicBezTo>
                  <a:pt x="7503" y="864"/>
                  <a:pt x="7520" y="873"/>
                  <a:pt x="7525" y="868"/>
                </a:cubicBezTo>
                <a:cubicBezTo>
                  <a:pt x="7530" y="863"/>
                  <a:pt x="7542" y="851"/>
                  <a:pt x="7542" y="851"/>
                </a:cubicBezTo>
                <a:cubicBezTo>
                  <a:pt x="7562" y="854"/>
                  <a:pt x="7562" y="854"/>
                  <a:pt x="7562" y="854"/>
                </a:cubicBezTo>
                <a:cubicBezTo>
                  <a:pt x="7570" y="839"/>
                  <a:pt x="7570" y="839"/>
                  <a:pt x="7570" y="839"/>
                </a:cubicBezTo>
                <a:cubicBezTo>
                  <a:pt x="7570" y="839"/>
                  <a:pt x="7601" y="840"/>
                  <a:pt x="7611" y="830"/>
                </a:cubicBezTo>
                <a:cubicBezTo>
                  <a:pt x="7621" y="820"/>
                  <a:pt x="7635" y="794"/>
                  <a:pt x="7635" y="794"/>
                </a:cubicBezTo>
                <a:cubicBezTo>
                  <a:pt x="7623" y="779"/>
                  <a:pt x="7623" y="779"/>
                  <a:pt x="7623" y="779"/>
                </a:cubicBezTo>
                <a:cubicBezTo>
                  <a:pt x="7643" y="756"/>
                  <a:pt x="7643" y="756"/>
                  <a:pt x="7643" y="756"/>
                </a:cubicBezTo>
                <a:cubicBezTo>
                  <a:pt x="7632" y="743"/>
                  <a:pt x="7632" y="743"/>
                  <a:pt x="7632" y="743"/>
                </a:cubicBezTo>
                <a:cubicBezTo>
                  <a:pt x="7657" y="737"/>
                  <a:pt x="7657" y="737"/>
                  <a:pt x="7657" y="737"/>
                </a:cubicBezTo>
                <a:cubicBezTo>
                  <a:pt x="7667" y="725"/>
                  <a:pt x="7667" y="725"/>
                  <a:pt x="7667" y="725"/>
                </a:cubicBezTo>
                <a:cubicBezTo>
                  <a:pt x="7720" y="727"/>
                  <a:pt x="7720" y="727"/>
                  <a:pt x="7720" y="727"/>
                </a:cubicBezTo>
                <a:cubicBezTo>
                  <a:pt x="7728" y="740"/>
                  <a:pt x="7728" y="740"/>
                  <a:pt x="7728" y="740"/>
                </a:cubicBezTo>
                <a:cubicBezTo>
                  <a:pt x="7730" y="738"/>
                  <a:pt x="7730" y="738"/>
                  <a:pt x="7730" y="738"/>
                </a:cubicBezTo>
                <a:cubicBezTo>
                  <a:pt x="7740" y="732"/>
                  <a:pt x="7740" y="732"/>
                  <a:pt x="7740" y="732"/>
                </a:cubicBezTo>
                <a:cubicBezTo>
                  <a:pt x="7740" y="732"/>
                  <a:pt x="7769" y="739"/>
                  <a:pt x="7771" y="751"/>
                </a:cubicBezTo>
                <a:cubicBezTo>
                  <a:pt x="7773" y="763"/>
                  <a:pt x="7774" y="773"/>
                  <a:pt x="7774" y="773"/>
                </a:cubicBezTo>
                <a:cubicBezTo>
                  <a:pt x="7774" y="773"/>
                  <a:pt x="7762" y="767"/>
                  <a:pt x="7759" y="768"/>
                </a:cubicBezTo>
                <a:cubicBezTo>
                  <a:pt x="7756" y="769"/>
                  <a:pt x="7734" y="794"/>
                  <a:pt x="7734" y="794"/>
                </a:cubicBezTo>
                <a:cubicBezTo>
                  <a:pt x="7711" y="817"/>
                  <a:pt x="7711" y="817"/>
                  <a:pt x="7711" y="817"/>
                </a:cubicBezTo>
                <a:cubicBezTo>
                  <a:pt x="7688" y="822"/>
                  <a:pt x="7688" y="822"/>
                  <a:pt x="7688" y="822"/>
                </a:cubicBezTo>
                <a:cubicBezTo>
                  <a:pt x="7688" y="822"/>
                  <a:pt x="7673" y="834"/>
                  <a:pt x="7673" y="843"/>
                </a:cubicBezTo>
                <a:cubicBezTo>
                  <a:pt x="7673" y="852"/>
                  <a:pt x="7653" y="852"/>
                  <a:pt x="7653" y="852"/>
                </a:cubicBezTo>
                <a:cubicBezTo>
                  <a:pt x="7637" y="870"/>
                  <a:pt x="7637" y="870"/>
                  <a:pt x="7637" y="870"/>
                </a:cubicBezTo>
                <a:cubicBezTo>
                  <a:pt x="7637" y="870"/>
                  <a:pt x="7633" y="882"/>
                  <a:pt x="7635" y="886"/>
                </a:cubicBezTo>
                <a:cubicBezTo>
                  <a:pt x="7637" y="890"/>
                  <a:pt x="7641" y="898"/>
                  <a:pt x="7641" y="898"/>
                </a:cubicBezTo>
                <a:cubicBezTo>
                  <a:pt x="7639" y="914"/>
                  <a:pt x="7639" y="914"/>
                  <a:pt x="7639" y="914"/>
                </a:cubicBezTo>
                <a:cubicBezTo>
                  <a:pt x="7654" y="927"/>
                  <a:pt x="7654" y="927"/>
                  <a:pt x="7654" y="927"/>
                </a:cubicBezTo>
                <a:cubicBezTo>
                  <a:pt x="7654" y="927"/>
                  <a:pt x="7644" y="959"/>
                  <a:pt x="7648" y="968"/>
                </a:cubicBezTo>
                <a:cubicBezTo>
                  <a:pt x="7652" y="977"/>
                  <a:pt x="7663" y="986"/>
                  <a:pt x="7663" y="986"/>
                </a:cubicBezTo>
                <a:cubicBezTo>
                  <a:pt x="7678" y="997"/>
                  <a:pt x="7678" y="997"/>
                  <a:pt x="7678" y="997"/>
                </a:cubicBezTo>
                <a:cubicBezTo>
                  <a:pt x="7706" y="994"/>
                  <a:pt x="7706" y="994"/>
                  <a:pt x="7706" y="994"/>
                </a:cubicBezTo>
                <a:cubicBezTo>
                  <a:pt x="7706" y="994"/>
                  <a:pt x="7697" y="1010"/>
                  <a:pt x="7717" y="1012"/>
                </a:cubicBezTo>
                <a:cubicBezTo>
                  <a:pt x="7737" y="1014"/>
                  <a:pt x="7772" y="1009"/>
                  <a:pt x="7772" y="1009"/>
                </a:cubicBezTo>
                <a:cubicBezTo>
                  <a:pt x="7791" y="999"/>
                  <a:pt x="7791" y="999"/>
                  <a:pt x="7791" y="999"/>
                </a:cubicBezTo>
                <a:cubicBezTo>
                  <a:pt x="7814" y="999"/>
                  <a:pt x="7814" y="999"/>
                  <a:pt x="7814" y="999"/>
                </a:cubicBezTo>
                <a:cubicBezTo>
                  <a:pt x="7847" y="982"/>
                  <a:pt x="7847" y="982"/>
                  <a:pt x="7847" y="982"/>
                </a:cubicBezTo>
                <a:cubicBezTo>
                  <a:pt x="7896" y="985"/>
                  <a:pt x="7896" y="985"/>
                  <a:pt x="7896" y="985"/>
                </a:cubicBezTo>
                <a:cubicBezTo>
                  <a:pt x="7901" y="982"/>
                  <a:pt x="7901" y="982"/>
                  <a:pt x="7901" y="982"/>
                </a:cubicBezTo>
                <a:cubicBezTo>
                  <a:pt x="7921" y="971"/>
                  <a:pt x="7921" y="971"/>
                  <a:pt x="7921" y="971"/>
                </a:cubicBezTo>
                <a:cubicBezTo>
                  <a:pt x="7923" y="982"/>
                  <a:pt x="7923" y="982"/>
                  <a:pt x="7923" y="982"/>
                </a:cubicBezTo>
                <a:cubicBezTo>
                  <a:pt x="7923" y="982"/>
                  <a:pt x="7936" y="995"/>
                  <a:pt x="7942" y="998"/>
                </a:cubicBezTo>
                <a:cubicBezTo>
                  <a:pt x="7948" y="1001"/>
                  <a:pt x="7975" y="1001"/>
                  <a:pt x="7975" y="1001"/>
                </a:cubicBezTo>
                <a:cubicBezTo>
                  <a:pt x="7984" y="1013"/>
                  <a:pt x="7984" y="1013"/>
                  <a:pt x="7984" y="1013"/>
                </a:cubicBezTo>
                <a:cubicBezTo>
                  <a:pt x="7984" y="1013"/>
                  <a:pt x="7945" y="1004"/>
                  <a:pt x="7943" y="1010"/>
                </a:cubicBezTo>
                <a:cubicBezTo>
                  <a:pt x="7941" y="1016"/>
                  <a:pt x="7941" y="1020"/>
                  <a:pt x="7941" y="1020"/>
                </a:cubicBezTo>
                <a:cubicBezTo>
                  <a:pt x="7915" y="1021"/>
                  <a:pt x="7915" y="1021"/>
                  <a:pt x="7915" y="1021"/>
                </a:cubicBezTo>
                <a:cubicBezTo>
                  <a:pt x="7911" y="1039"/>
                  <a:pt x="7911" y="1039"/>
                  <a:pt x="7911" y="1039"/>
                </a:cubicBezTo>
                <a:cubicBezTo>
                  <a:pt x="7911" y="1039"/>
                  <a:pt x="7908" y="1038"/>
                  <a:pt x="7903" y="1037"/>
                </a:cubicBezTo>
                <a:cubicBezTo>
                  <a:pt x="7887" y="1034"/>
                  <a:pt x="7852" y="1028"/>
                  <a:pt x="7842" y="1027"/>
                </a:cubicBezTo>
                <a:cubicBezTo>
                  <a:pt x="7829" y="1026"/>
                  <a:pt x="7782" y="1032"/>
                  <a:pt x="7782" y="1032"/>
                </a:cubicBezTo>
                <a:cubicBezTo>
                  <a:pt x="7782" y="1032"/>
                  <a:pt x="7732" y="1050"/>
                  <a:pt x="7732" y="1057"/>
                </a:cubicBezTo>
                <a:cubicBezTo>
                  <a:pt x="7732" y="1064"/>
                  <a:pt x="7738" y="1082"/>
                  <a:pt x="7738" y="1082"/>
                </a:cubicBezTo>
                <a:cubicBezTo>
                  <a:pt x="7777" y="1087"/>
                  <a:pt x="7777" y="1087"/>
                  <a:pt x="7777" y="1087"/>
                </a:cubicBezTo>
                <a:cubicBezTo>
                  <a:pt x="7769" y="1113"/>
                  <a:pt x="7769" y="1113"/>
                  <a:pt x="7769" y="1113"/>
                </a:cubicBezTo>
                <a:cubicBezTo>
                  <a:pt x="7769" y="1113"/>
                  <a:pt x="7786" y="1156"/>
                  <a:pt x="7773" y="1156"/>
                </a:cubicBezTo>
                <a:cubicBezTo>
                  <a:pt x="7760" y="1156"/>
                  <a:pt x="7736" y="1153"/>
                  <a:pt x="7736" y="1153"/>
                </a:cubicBezTo>
                <a:cubicBezTo>
                  <a:pt x="7729" y="1138"/>
                  <a:pt x="7729" y="1138"/>
                  <a:pt x="7729" y="1138"/>
                </a:cubicBezTo>
                <a:cubicBezTo>
                  <a:pt x="7706" y="1119"/>
                  <a:pt x="7706" y="1119"/>
                  <a:pt x="7706" y="1119"/>
                </a:cubicBezTo>
                <a:cubicBezTo>
                  <a:pt x="7706" y="1119"/>
                  <a:pt x="7674" y="1124"/>
                  <a:pt x="7671" y="1131"/>
                </a:cubicBezTo>
                <a:cubicBezTo>
                  <a:pt x="7668" y="1138"/>
                  <a:pt x="7666" y="1147"/>
                  <a:pt x="7666" y="1147"/>
                </a:cubicBezTo>
                <a:cubicBezTo>
                  <a:pt x="7666" y="1147"/>
                  <a:pt x="7650" y="1165"/>
                  <a:pt x="7650" y="1170"/>
                </a:cubicBezTo>
                <a:cubicBezTo>
                  <a:pt x="7650" y="1175"/>
                  <a:pt x="7656" y="1205"/>
                  <a:pt x="7656" y="1205"/>
                </a:cubicBezTo>
                <a:cubicBezTo>
                  <a:pt x="7656" y="1205"/>
                  <a:pt x="7657" y="1240"/>
                  <a:pt x="7666" y="1242"/>
                </a:cubicBezTo>
                <a:cubicBezTo>
                  <a:pt x="7668" y="1242"/>
                  <a:pt x="7669" y="1244"/>
                  <a:pt x="7669" y="1246"/>
                </a:cubicBezTo>
                <a:cubicBezTo>
                  <a:pt x="7669" y="1251"/>
                  <a:pt x="7661" y="1260"/>
                  <a:pt x="7661" y="1260"/>
                </a:cubicBezTo>
                <a:cubicBezTo>
                  <a:pt x="7661" y="1260"/>
                  <a:pt x="7620" y="1255"/>
                  <a:pt x="7614" y="1262"/>
                </a:cubicBezTo>
                <a:cubicBezTo>
                  <a:pt x="7608" y="1269"/>
                  <a:pt x="7621" y="1278"/>
                  <a:pt x="7621" y="1278"/>
                </a:cubicBezTo>
                <a:cubicBezTo>
                  <a:pt x="7616" y="1287"/>
                  <a:pt x="7616" y="1287"/>
                  <a:pt x="7616" y="1287"/>
                </a:cubicBezTo>
                <a:cubicBezTo>
                  <a:pt x="7616" y="1287"/>
                  <a:pt x="7580" y="1291"/>
                  <a:pt x="7574" y="1290"/>
                </a:cubicBezTo>
                <a:cubicBezTo>
                  <a:pt x="7568" y="1289"/>
                  <a:pt x="7563" y="1272"/>
                  <a:pt x="7563" y="1272"/>
                </a:cubicBezTo>
                <a:cubicBezTo>
                  <a:pt x="7563" y="1272"/>
                  <a:pt x="7549" y="1268"/>
                  <a:pt x="7534" y="1268"/>
                </a:cubicBezTo>
                <a:cubicBezTo>
                  <a:pt x="7519" y="1268"/>
                  <a:pt x="7479" y="1285"/>
                  <a:pt x="7479" y="1285"/>
                </a:cubicBezTo>
                <a:cubicBezTo>
                  <a:pt x="7466" y="1296"/>
                  <a:pt x="7466" y="1296"/>
                  <a:pt x="7466" y="1296"/>
                </a:cubicBezTo>
                <a:cubicBezTo>
                  <a:pt x="7426" y="1301"/>
                  <a:pt x="7426" y="1301"/>
                  <a:pt x="7426" y="1301"/>
                </a:cubicBezTo>
                <a:cubicBezTo>
                  <a:pt x="7426" y="1301"/>
                  <a:pt x="7395" y="1312"/>
                  <a:pt x="7397" y="1316"/>
                </a:cubicBezTo>
                <a:cubicBezTo>
                  <a:pt x="7399" y="1320"/>
                  <a:pt x="7399" y="1330"/>
                  <a:pt x="7399" y="1330"/>
                </a:cubicBezTo>
                <a:cubicBezTo>
                  <a:pt x="7392" y="1326"/>
                  <a:pt x="7392" y="1326"/>
                  <a:pt x="7392" y="1326"/>
                </a:cubicBezTo>
                <a:cubicBezTo>
                  <a:pt x="7388" y="1324"/>
                  <a:pt x="7388" y="1324"/>
                  <a:pt x="7388" y="1324"/>
                </a:cubicBezTo>
                <a:cubicBezTo>
                  <a:pt x="7375" y="1319"/>
                  <a:pt x="7375" y="1319"/>
                  <a:pt x="7375" y="1319"/>
                </a:cubicBezTo>
                <a:cubicBezTo>
                  <a:pt x="7375" y="1319"/>
                  <a:pt x="7377" y="1314"/>
                  <a:pt x="7372" y="1308"/>
                </a:cubicBezTo>
                <a:cubicBezTo>
                  <a:pt x="7367" y="1302"/>
                  <a:pt x="7355" y="1305"/>
                  <a:pt x="7355" y="1305"/>
                </a:cubicBezTo>
                <a:cubicBezTo>
                  <a:pt x="7350" y="1299"/>
                  <a:pt x="7350" y="1299"/>
                  <a:pt x="7350" y="1299"/>
                </a:cubicBezTo>
                <a:cubicBezTo>
                  <a:pt x="7350" y="1299"/>
                  <a:pt x="7324" y="1287"/>
                  <a:pt x="7319" y="1290"/>
                </a:cubicBezTo>
                <a:cubicBezTo>
                  <a:pt x="7314" y="1293"/>
                  <a:pt x="7307" y="1300"/>
                  <a:pt x="7307" y="1300"/>
                </a:cubicBezTo>
                <a:cubicBezTo>
                  <a:pt x="7280" y="1299"/>
                  <a:pt x="7280" y="1299"/>
                  <a:pt x="7280" y="1299"/>
                </a:cubicBezTo>
                <a:cubicBezTo>
                  <a:pt x="7280" y="1311"/>
                  <a:pt x="7280" y="1311"/>
                  <a:pt x="7280" y="1311"/>
                </a:cubicBezTo>
                <a:cubicBezTo>
                  <a:pt x="7254" y="1310"/>
                  <a:pt x="7254" y="1310"/>
                  <a:pt x="7254" y="1310"/>
                </a:cubicBezTo>
                <a:cubicBezTo>
                  <a:pt x="7254" y="1310"/>
                  <a:pt x="7252" y="1302"/>
                  <a:pt x="7256" y="1299"/>
                </a:cubicBezTo>
                <a:cubicBezTo>
                  <a:pt x="7260" y="1296"/>
                  <a:pt x="7263" y="1284"/>
                  <a:pt x="7263" y="1284"/>
                </a:cubicBezTo>
                <a:cubicBezTo>
                  <a:pt x="7250" y="1291"/>
                  <a:pt x="7250" y="1291"/>
                  <a:pt x="7250" y="1291"/>
                </a:cubicBezTo>
                <a:cubicBezTo>
                  <a:pt x="7222" y="1286"/>
                  <a:pt x="7222" y="1286"/>
                  <a:pt x="7222" y="1286"/>
                </a:cubicBezTo>
                <a:cubicBezTo>
                  <a:pt x="7222" y="1286"/>
                  <a:pt x="7214" y="1278"/>
                  <a:pt x="7210" y="1268"/>
                </a:cubicBezTo>
                <a:cubicBezTo>
                  <a:pt x="7210" y="1268"/>
                  <a:pt x="7210" y="1268"/>
                  <a:pt x="7210" y="1268"/>
                </a:cubicBezTo>
                <a:cubicBezTo>
                  <a:pt x="7206" y="1258"/>
                  <a:pt x="7203" y="1252"/>
                  <a:pt x="7203" y="1252"/>
                </a:cubicBezTo>
                <a:cubicBezTo>
                  <a:pt x="7214" y="1239"/>
                  <a:pt x="7214" y="1239"/>
                  <a:pt x="7214" y="1239"/>
                </a:cubicBezTo>
                <a:cubicBezTo>
                  <a:pt x="7214" y="1239"/>
                  <a:pt x="7196" y="1224"/>
                  <a:pt x="7206" y="1222"/>
                </a:cubicBezTo>
                <a:cubicBezTo>
                  <a:pt x="7216" y="1220"/>
                  <a:pt x="7224" y="1213"/>
                  <a:pt x="7224" y="1213"/>
                </a:cubicBezTo>
                <a:cubicBezTo>
                  <a:pt x="7228" y="1194"/>
                  <a:pt x="7228" y="1194"/>
                  <a:pt x="7228" y="1194"/>
                </a:cubicBezTo>
                <a:cubicBezTo>
                  <a:pt x="7242" y="1194"/>
                  <a:pt x="7242" y="1194"/>
                  <a:pt x="7242" y="1194"/>
                </a:cubicBezTo>
                <a:cubicBezTo>
                  <a:pt x="7247" y="1179"/>
                  <a:pt x="7247" y="1179"/>
                  <a:pt x="7247" y="1179"/>
                </a:cubicBezTo>
                <a:cubicBezTo>
                  <a:pt x="7224" y="1179"/>
                  <a:pt x="7224" y="1179"/>
                  <a:pt x="7224" y="1179"/>
                </a:cubicBezTo>
                <a:cubicBezTo>
                  <a:pt x="7224" y="1179"/>
                  <a:pt x="7220" y="1163"/>
                  <a:pt x="7224" y="1160"/>
                </a:cubicBezTo>
                <a:cubicBezTo>
                  <a:pt x="7228" y="1157"/>
                  <a:pt x="7241" y="1143"/>
                  <a:pt x="7238" y="1138"/>
                </a:cubicBezTo>
                <a:cubicBezTo>
                  <a:pt x="7235" y="1133"/>
                  <a:pt x="7231" y="1126"/>
                  <a:pt x="7231" y="1126"/>
                </a:cubicBezTo>
                <a:cubicBezTo>
                  <a:pt x="7231" y="1126"/>
                  <a:pt x="7213" y="1124"/>
                  <a:pt x="7212" y="1127"/>
                </a:cubicBezTo>
                <a:cubicBezTo>
                  <a:pt x="7211" y="1130"/>
                  <a:pt x="7191" y="1155"/>
                  <a:pt x="7191" y="1160"/>
                </a:cubicBezTo>
                <a:cubicBezTo>
                  <a:pt x="7191" y="1165"/>
                  <a:pt x="7194" y="1177"/>
                  <a:pt x="7194" y="1177"/>
                </a:cubicBezTo>
                <a:cubicBezTo>
                  <a:pt x="7181" y="1166"/>
                  <a:pt x="7181" y="1166"/>
                  <a:pt x="7181" y="1166"/>
                </a:cubicBezTo>
                <a:cubicBezTo>
                  <a:pt x="7175" y="1145"/>
                  <a:pt x="7175" y="1145"/>
                  <a:pt x="7175" y="1145"/>
                </a:cubicBezTo>
                <a:cubicBezTo>
                  <a:pt x="7175" y="1145"/>
                  <a:pt x="7150" y="1161"/>
                  <a:pt x="7151" y="1164"/>
                </a:cubicBezTo>
                <a:cubicBezTo>
                  <a:pt x="7152" y="1167"/>
                  <a:pt x="7165" y="1165"/>
                  <a:pt x="7166" y="1168"/>
                </a:cubicBezTo>
                <a:cubicBezTo>
                  <a:pt x="7167" y="1171"/>
                  <a:pt x="7176" y="1185"/>
                  <a:pt x="7176" y="1185"/>
                </a:cubicBezTo>
                <a:cubicBezTo>
                  <a:pt x="7153" y="1181"/>
                  <a:pt x="7153" y="1181"/>
                  <a:pt x="7153" y="1181"/>
                </a:cubicBezTo>
                <a:cubicBezTo>
                  <a:pt x="7153" y="1181"/>
                  <a:pt x="7141" y="1196"/>
                  <a:pt x="7142" y="1204"/>
                </a:cubicBezTo>
                <a:cubicBezTo>
                  <a:pt x="7143" y="1212"/>
                  <a:pt x="7159" y="1214"/>
                  <a:pt x="7159" y="1214"/>
                </a:cubicBezTo>
                <a:cubicBezTo>
                  <a:pt x="7159" y="1214"/>
                  <a:pt x="7145" y="1230"/>
                  <a:pt x="7148" y="1232"/>
                </a:cubicBezTo>
                <a:cubicBezTo>
                  <a:pt x="7151" y="1234"/>
                  <a:pt x="7165" y="1234"/>
                  <a:pt x="7165" y="1234"/>
                </a:cubicBezTo>
                <a:cubicBezTo>
                  <a:pt x="7164" y="1249"/>
                  <a:pt x="7164" y="1249"/>
                  <a:pt x="7164" y="1249"/>
                </a:cubicBezTo>
                <a:cubicBezTo>
                  <a:pt x="7156" y="1259"/>
                  <a:pt x="7156" y="1259"/>
                  <a:pt x="7156" y="1259"/>
                </a:cubicBezTo>
                <a:cubicBezTo>
                  <a:pt x="7166" y="1264"/>
                  <a:pt x="7166" y="1264"/>
                  <a:pt x="7166" y="1264"/>
                </a:cubicBezTo>
                <a:cubicBezTo>
                  <a:pt x="7180" y="1287"/>
                  <a:pt x="7180" y="1287"/>
                  <a:pt x="7180" y="1287"/>
                </a:cubicBezTo>
                <a:cubicBezTo>
                  <a:pt x="7171" y="1295"/>
                  <a:pt x="7171" y="1295"/>
                  <a:pt x="7171" y="1295"/>
                </a:cubicBezTo>
                <a:cubicBezTo>
                  <a:pt x="7184" y="1313"/>
                  <a:pt x="7184" y="1313"/>
                  <a:pt x="7184" y="1313"/>
                </a:cubicBezTo>
                <a:cubicBezTo>
                  <a:pt x="7196" y="1322"/>
                  <a:pt x="7196" y="1322"/>
                  <a:pt x="7196" y="1322"/>
                </a:cubicBezTo>
                <a:cubicBezTo>
                  <a:pt x="7177" y="1315"/>
                  <a:pt x="7177" y="1315"/>
                  <a:pt x="7177" y="1315"/>
                </a:cubicBezTo>
                <a:cubicBezTo>
                  <a:pt x="7159" y="1319"/>
                  <a:pt x="7159" y="1319"/>
                  <a:pt x="7159" y="1319"/>
                </a:cubicBezTo>
                <a:cubicBezTo>
                  <a:pt x="7159" y="1319"/>
                  <a:pt x="7164" y="1334"/>
                  <a:pt x="7158" y="1336"/>
                </a:cubicBezTo>
                <a:cubicBezTo>
                  <a:pt x="7152" y="1338"/>
                  <a:pt x="7142" y="1336"/>
                  <a:pt x="7142" y="1336"/>
                </a:cubicBezTo>
                <a:cubicBezTo>
                  <a:pt x="7136" y="1326"/>
                  <a:pt x="7136" y="1326"/>
                  <a:pt x="7136" y="1326"/>
                </a:cubicBezTo>
                <a:cubicBezTo>
                  <a:pt x="7136" y="1326"/>
                  <a:pt x="7109" y="1323"/>
                  <a:pt x="7108" y="1328"/>
                </a:cubicBezTo>
                <a:cubicBezTo>
                  <a:pt x="7107" y="1333"/>
                  <a:pt x="7107" y="1346"/>
                  <a:pt x="7107" y="1346"/>
                </a:cubicBezTo>
                <a:cubicBezTo>
                  <a:pt x="7107" y="1346"/>
                  <a:pt x="7091" y="1340"/>
                  <a:pt x="7085" y="1340"/>
                </a:cubicBezTo>
                <a:cubicBezTo>
                  <a:pt x="7079" y="1340"/>
                  <a:pt x="7056" y="1339"/>
                  <a:pt x="7056" y="1339"/>
                </a:cubicBezTo>
                <a:cubicBezTo>
                  <a:pt x="7056" y="1339"/>
                  <a:pt x="7042" y="1344"/>
                  <a:pt x="7034" y="1349"/>
                </a:cubicBezTo>
                <a:cubicBezTo>
                  <a:pt x="7035" y="1353"/>
                  <a:pt x="7038" y="1358"/>
                  <a:pt x="7038" y="1360"/>
                </a:cubicBezTo>
                <a:cubicBezTo>
                  <a:pt x="7039" y="1363"/>
                  <a:pt x="7042" y="1373"/>
                  <a:pt x="7042" y="1373"/>
                </a:cubicBezTo>
                <a:cubicBezTo>
                  <a:pt x="7042" y="1373"/>
                  <a:pt x="7045" y="1379"/>
                  <a:pt x="7047" y="1379"/>
                </a:cubicBezTo>
                <a:cubicBezTo>
                  <a:pt x="7050" y="1379"/>
                  <a:pt x="7053" y="1382"/>
                  <a:pt x="7053" y="1387"/>
                </a:cubicBezTo>
                <a:cubicBezTo>
                  <a:pt x="7054" y="1391"/>
                  <a:pt x="7042" y="1398"/>
                  <a:pt x="7035" y="1399"/>
                </a:cubicBezTo>
                <a:cubicBezTo>
                  <a:pt x="7029" y="1399"/>
                  <a:pt x="7026" y="1394"/>
                  <a:pt x="7023" y="1391"/>
                </a:cubicBezTo>
                <a:cubicBezTo>
                  <a:pt x="7019" y="1387"/>
                  <a:pt x="7025" y="1384"/>
                  <a:pt x="7031" y="1376"/>
                </a:cubicBezTo>
                <a:cubicBezTo>
                  <a:pt x="7037" y="1368"/>
                  <a:pt x="7033" y="1363"/>
                  <a:pt x="7033" y="1363"/>
                </a:cubicBezTo>
                <a:cubicBezTo>
                  <a:pt x="7033" y="1363"/>
                  <a:pt x="7030" y="1360"/>
                  <a:pt x="7028" y="1355"/>
                </a:cubicBezTo>
                <a:cubicBezTo>
                  <a:pt x="7023" y="1362"/>
                  <a:pt x="7012" y="1369"/>
                  <a:pt x="7012" y="1369"/>
                </a:cubicBezTo>
                <a:cubicBezTo>
                  <a:pt x="7012" y="1369"/>
                  <a:pt x="6995" y="1381"/>
                  <a:pt x="6995" y="1388"/>
                </a:cubicBezTo>
                <a:cubicBezTo>
                  <a:pt x="6995" y="1395"/>
                  <a:pt x="6991" y="1408"/>
                  <a:pt x="6991" y="1408"/>
                </a:cubicBezTo>
                <a:cubicBezTo>
                  <a:pt x="6973" y="1428"/>
                  <a:pt x="6973" y="1428"/>
                  <a:pt x="6973" y="1428"/>
                </a:cubicBezTo>
                <a:cubicBezTo>
                  <a:pt x="6979" y="1436"/>
                  <a:pt x="6979" y="1436"/>
                  <a:pt x="6979" y="1436"/>
                </a:cubicBezTo>
                <a:cubicBezTo>
                  <a:pt x="6962" y="1437"/>
                  <a:pt x="6962" y="1437"/>
                  <a:pt x="6962" y="1437"/>
                </a:cubicBezTo>
                <a:cubicBezTo>
                  <a:pt x="6945" y="1443"/>
                  <a:pt x="6945" y="1443"/>
                  <a:pt x="6945" y="1443"/>
                </a:cubicBezTo>
                <a:cubicBezTo>
                  <a:pt x="6934" y="1453"/>
                  <a:pt x="6934" y="1453"/>
                  <a:pt x="6934" y="1453"/>
                </a:cubicBezTo>
                <a:cubicBezTo>
                  <a:pt x="6924" y="1461"/>
                  <a:pt x="6924" y="1461"/>
                  <a:pt x="6924" y="1461"/>
                </a:cubicBezTo>
                <a:cubicBezTo>
                  <a:pt x="6924" y="1461"/>
                  <a:pt x="6908" y="1458"/>
                  <a:pt x="6898" y="1462"/>
                </a:cubicBezTo>
                <a:cubicBezTo>
                  <a:pt x="6888" y="1466"/>
                  <a:pt x="6863" y="1462"/>
                  <a:pt x="6867" y="1470"/>
                </a:cubicBezTo>
                <a:cubicBezTo>
                  <a:pt x="6871" y="1478"/>
                  <a:pt x="6874" y="1485"/>
                  <a:pt x="6874" y="1485"/>
                </a:cubicBezTo>
                <a:cubicBezTo>
                  <a:pt x="6874" y="1485"/>
                  <a:pt x="6882" y="1502"/>
                  <a:pt x="6871" y="1510"/>
                </a:cubicBezTo>
                <a:cubicBezTo>
                  <a:pt x="6860" y="1518"/>
                  <a:pt x="6838" y="1518"/>
                  <a:pt x="6838" y="1518"/>
                </a:cubicBezTo>
                <a:cubicBezTo>
                  <a:pt x="6813" y="1538"/>
                  <a:pt x="6813" y="1538"/>
                  <a:pt x="6813" y="1538"/>
                </a:cubicBezTo>
                <a:cubicBezTo>
                  <a:pt x="6822" y="1544"/>
                  <a:pt x="6822" y="1544"/>
                  <a:pt x="6822" y="1544"/>
                </a:cubicBezTo>
                <a:cubicBezTo>
                  <a:pt x="6822" y="1544"/>
                  <a:pt x="6802" y="1556"/>
                  <a:pt x="6787" y="1555"/>
                </a:cubicBezTo>
                <a:cubicBezTo>
                  <a:pt x="6772" y="1554"/>
                  <a:pt x="6763" y="1549"/>
                  <a:pt x="6763" y="1549"/>
                </a:cubicBezTo>
                <a:cubicBezTo>
                  <a:pt x="6752" y="1534"/>
                  <a:pt x="6752" y="1534"/>
                  <a:pt x="6752" y="1534"/>
                </a:cubicBezTo>
                <a:cubicBezTo>
                  <a:pt x="6752" y="1534"/>
                  <a:pt x="6731" y="1526"/>
                  <a:pt x="6732" y="1533"/>
                </a:cubicBezTo>
                <a:cubicBezTo>
                  <a:pt x="6733" y="1540"/>
                  <a:pt x="6744" y="1554"/>
                  <a:pt x="6744" y="1554"/>
                </a:cubicBezTo>
                <a:cubicBezTo>
                  <a:pt x="6744" y="1554"/>
                  <a:pt x="6757" y="1578"/>
                  <a:pt x="6739" y="1581"/>
                </a:cubicBezTo>
                <a:cubicBezTo>
                  <a:pt x="6721" y="1584"/>
                  <a:pt x="6702" y="1583"/>
                  <a:pt x="6702" y="1583"/>
                </a:cubicBezTo>
                <a:cubicBezTo>
                  <a:pt x="6695" y="1594"/>
                  <a:pt x="6695" y="1594"/>
                  <a:pt x="6695" y="1594"/>
                </a:cubicBezTo>
                <a:cubicBezTo>
                  <a:pt x="6695" y="1594"/>
                  <a:pt x="6679" y="1574"/>
                  <a:pt x="6673" y="1575"/>
                </a:cubicBezTo>
                <a:cubicBezTo>
                  <a:pt x="6667" y="1576"/>
                  <a:pt x="6647" y="1582"/>
                  <a:pt x="6647" y="1582"/>
                </a:cubicBezTo>
                <a:cubicBezTo>
                  <a:pt x="6647" y="1582"/>
                  <a:pt x="6611" y="1587"/>
                  <a:pt x="6608" y="1594"/>
                </a:cubicBezTo>
                <a:cubicBezTo>
                  <a:pt x="6605" y="1601"/>
                  <a:pt x="6627" y="1607"/>
                  <a:pt x="6626" y="1610"/>
                </a:cubicBezTo>
                <a:cubicBezTo>
                  <a:pt x="6625" y="1613"/>
                  <a:pt x="6596" y="1611"/>
                  <a:pt x="6602" y="1619"/>
                </a:cubicBezTo>
                <a:cubicBezTo>
                  <a:pt x="6608" y="1627"/>
                  <a:pt x="6627" y="1628"/>
                  <a:pt x="6627" y="1628"/>
                </a:cubicBezTo>
                <a:cubicBezTo>
                  <a:pt x="6634" y="1624"/>
                  <a:pt x="6634" y="1624"/>
                  <a:pt x="6634" y="1624"/>
                </a:cubicBezTo>
                <a:cubicBezTo>
                  <a:pt x="6666" y="1642"/>
                  <a:pt x="6666" y="1642"/>
                  <a:pt x="6666" y="1642"/>
                </a:cubicBezTo>
                <a:cubicBezTo>
                  <a:pt x="6686" y="1642"/>
                  <a:pt x="6686" y="1642"/>
                  <a:pt x="6686" y="1642"/>
                </a:cubicBezTo>
                <a:cubicBezTo>
                  <a:pt x="6698" y="1654"/>
                  <a:pt x="6698" y="1654"/>
                  <a:pt x="6698" y="1654"/>
                </a:cubicBezTo>
                <a:cubicBezTo>
                  <a:pt x="6724" y="1657"/>
                  <a:pt x="6724" y="1657"/>
                  <a:pt x="6724" y="1657"/>
                </a:cubicBezTo>
                <a:cubicBezTo>
                  <a:pt x="6705" y="1667"/>
                  <a:pt x="6705" y="1667"/>
                  <a:pt x="6705" y="1667"/>
                </a:cubicBezTo>
                <a:cubicBezTo>
                  <a:pt x="6705" y="1667"/>
                  <a:pt x="6724" y="1698"/>
                  <a:pt x="6728" y="1702"/>
                </a:cubicBezTo>
                <a:cubicBezTo>
                  <a:pt x="6732" y="1706"/>
                  <a:pt x="6749" y="1706"/>
                  <a:pt x="6749" y="1706"/>
                </a:cubicBezTo>
                <a:cubicBezTo>
                  <a:pt x="6747" y="1735"/>
                  <a:pt x="6747" y="1735"/>
                  <a:pt x="6747" y="1735"/>
                </a:cubicBezTo>
                <a:cubicBezTo>
                  <a:pt x="6760" y="1755"/>
                  <a:pt x="6760" y="1755"/>
                  <a:pt x="6760" y="1755"/>
                </a:cubicBezTo>
                <a:cubicBezTo>
                  <a:pt x="6769" y="1778"/>
                  <a:pt x="6769" y="1778"/>
                  <a:pt x="6769" y="1778"/>
                </a:cubicBezTo>
                <a:cubicBezTo>
                  <a:pt x="6748" y="1752"/>
                  <a:pt x="6748" y="1752"/>
                  <a:pt x="6748" y="1752"/>
                </a:cubicBezTo>
                <a:cubicBezTo>
                  <a:pt x="6748" y="1752"/>
                  <a:pt x="6746" y="1781"/>
                  <a:pt x="6745" y="1791"/>
                </a:cubicBezTo>
                <a:cubicBezTo>
                  <a:pt x="6744" y="1801"/>
                  <a:pt x="6733" y="1841"/>
                  <a:pt x="6728" y="1849"/>
                </a:cubicBezTo>
                <a:cubicBezTo>
                  <a:pt x="6724" y="1856"/>
                  <a:pt x="6726" y="1865"/>
                  <a:pt x="6714" y="1867"/>
                </a:cubicBezTo>
                <a:cubicBezTo>
                  <a:pt x="6712" y="1867"/>
                  <a:pt x="6710" y="1867"/>
                  <a:pt x="6708" y="1867"/>
                </a:cubicBezTo>
                <a:cubicBezTo>
                  <a:pt x="6689" y="1867"/>
                  <a:pt x="6642" y="1858"/>
                  <a:pt x="6642" y="1858"/>
                </a:cubicBezTo>
                <a:cubicBezTo>
                  <a:pt x="6622" y="1866"/>
                  <a:pt x="6622" y="1866"/>
                  <a:pt x="6622" y="1866"/>
                </a:cubicBezTo>
                <a:cubicBezTo>
                  <a:pt x="6584" y="1862"/>
                  <a:pt x="6584" y="1862"/>
                  <a:pt x="6584" y="1862"/>
                </a:cubicBezTo>
                <a:cubicBezTo>
                  <a:pt x="6584" y="1862"/>
                  <a:pt x="6559" y="1848"/>
                  <a:pt x="6544" y="1851"/>
                </a:cubicBezTo>
                <a:cubicBezTo>
                  <a:pt x="6529" y="1854"/>
                  <a:pt x="6508" y="1855"/>
                  <a:pt x="6503" y="1855"/>
                </a:cubicBezTo>
                <a:cubicBezTo>
                  <a:pt x="6498" y="1855"/>
                  <a:pt x="6479" y="1852"/>
                  <a:pt x="6479" y="1852"/>
                </a:cubicBezTo>
                <a:cubicBezTo>
                  <a:pt x="6479" y="1852"/>
                  <a:pt x="6469" y="1844"/>
                  <a:pt x="6463" y="1844"/>
                </a:cubicBezTo>
                <a:cubicBezTo>
                  <a:pt x="6457" y="1844"/>
                  <a:pt x="6437" y="1862"/>
                  <a:pt x="6437" y="1862"/>
                </a:cubicBezTo>
                <a:cubicBezTo>
                  <a:pt x="6437" y="1862"/>
                  <a:pt x="6392" y="1869"/>
                  <a:pt x="6390" y="1882"/>
                </a:cubicBezTo>
                <a:cubicBezTo>
                  <a:pt x="6388" y="1895"/>
                  <a:pt x="6409" y="1911"/>
                  <a:pt x="6409" y="1911"/>
                </a:cubicBezTo>
                <a:cubicBezTo>
                  <a:pt x="6401" y="1934"/>
                  <a:pt x="6401" y="1934"/>
                  <a:pt x="6401" y="1934"/>
                </a:cubicBezTo>
                <a:cubicBezTo>
                  <a:pt x="6401" y="1934"/>
                  <a:pt x="6402" y="1938"/>
                  <a:pt x="6403" y="1945"/>
                </a:cubicBezTo>
                <a:cubicBezTo>
                  <a:pt x="6406" y="1955"/>
                  <a:pt x="6409" y="1972"/>
                  <a:pt x="6408" y="1985"/>
                </a:cubicBezTo>
                <a:cubicBezTo>
                  <a:pt x="6407" y="2006"/>
                  <a:pt x="6385" y="2046"/>
                  <a:pt x="6385" y="2046"/>
                </a:cubicBezTo>
                <a:cubicBezTo>
                  <a:pt x="6371" y="2078"/>
                  <a:pt x="6371" y="2078"/>
                  <a:pt x="6371" y="2078"/>
                </a:cubicBezTo>
                <a:cubicBezTo>
                  <a:pt x="6371" y="2078"/>
                  <a:pt x="6362" y="2105"/>
                  <a:pt x="6368" y="2112"/>
                </a:cubicBezTo>
                <a:cubicBezTo>
                  <a:pt x="6374" y="2119"/>
                  <a:pt x="6385" y="2123"/>
                  <a:pt x="6385" y="2123"/>
                </a:cubicBezTo>
                <a:cubicBezTo>
                  <a:pt x="6392" y="2160"/>
                  <a:pt x="6392" y="2160"/>
                  <a:pt x="6392" y="2160"/>
                </a:cubicBezTo>
                <a:cubicBezTo>
                  <a:pt x="6392" y="2160"/>
                  <a:pt x="6376" y="2202"/>
                  <a:pt x="6382" y="2203"/>
                </a:cubicBezTo>
                <a:cubicBezTo>
                  <a:pt x="6388" y="2204"/>
                  <a:pt x="6414" y="2200"/>
                  <a:pt x="6414" y="2200"/>
                </a:cubicBezTo>
                <a:cubicBezTo>
                  <a:pt x="6414" y="2200"/>
                  <a:pt x="6418" y="2209"/>
                  <a:pt x="6424" y="2208"/>
                </a:cubicBezTo>
                <a:cubicBezTo>
                  <a:pt x="6429" y="2207"/>
                  <a:pt x="6446" y="2197"/>
                  <a:pt x="6449" y="2195"/>
                </a:cubicBezTo>
                <a:cubicBezTo>
                  <a:pt x="6450" y="2195"/>
                  <a:pt x="6450" y="2195"/>
                  <a:pt x="6450" y="2195"/>
                </a:cubicBezTo>
                <a:cubicBezTo>
                  <a:pt x="6469" y="2194"/>
                  <a:pt x="6469" y="2194"/>
                  <a:pt x="6469" y="2194"/>
                </a:cubicBezTo>
                <a:cubicBezTo>
                  <a:pt x="6485" y="2209"/>
                  <a:pt x="6485" y="2209"/>
                  <a:pt x="6485" y="2209"/>
                </a:cubicBezTo>
                <a:cubicBezTo>
                  <a:pt x="6497" y="2209"/>
                  <a:pt x="6497" y="2209"/>
                  <a:pt x="6497" y="2209"/>
                </a:cubicBezTo>
                <a:cubicBezTo>
                  <a:pt x="6491" y="2226"/>
                  <a:pt x="6491" y="2226"/>
                  <a:pt x="6491" y="2226"/>
                </a:cubicBezTo>
                <a:cubicBezTo>
                  <a:pt x="6498" y="2227"/>
                  <a:pt x="6498" y="2227"/>
                  <a:pt x="6498" y="2227"/>
                </a:cubicBezTo>
                <a:cubicBezTo>
                  <a:pt x="6498" y="2227"/>
                  <a:pt x="6498" y="2247"/>
                  <a:pt x="6505" y="2250"/>
                </a:cubicBezTo>
                <a:cubicBezTo>
                  <a:pt x="6512" y="2253"/>
                  <a:pt x="6524" y="2257"/>
                  <a:pt x="6524" y="2257"/>
                </a:cubicBezTo>
                <a:cubicBezTo>
                  <a:pt x="6524" y="2257"/>
                  <a:pt x="6541" y="2245"/>
                  <a:pt x="6544" y="2239"/>
                </a:cubicBezTo>
                <a:cubicBezTo>
                  <a:pt x="6547" y="2233"/>
                  <a:pt x="6565" y="2233"/>
                  <a:pt x="6565" y="2233"/>
                </a:cubicBezTo>
                <a:cubicBezTo>
                  <a:pt x="6584" y="2221"/>
                  <a:pt x="6584" y="2221"/>
                  <a:pt x="6584" y="2221"/>
                </a:cubicBezTo>
                <a:cubicBezTo>
                  <a:pt x="6584" y="2221"/>
                  <a:pt x="6617" y="2223"/>
                  <a:pt x="6623" y="2221"/>
                </a:cubicBezTo>
                <a:cubicBezTo>
                  <a:pt x="6629" y="2219"/>
                  <a:pt x="6639" y="2215"/>
                  <a:pt x="6639" y="2215"/>
                </a:cubicBezTo>
                <a:cubicBezTo>
                  <a:pt x="6639" y="2215"/>
                  <a:pt x="6647" y="2223"/>
                  <a:pt x="6653" y="2222"/>
                </a:cubicBezTo>
                <a:cubicBezTo>
                  <a:pt x="6659" y="2221"/>
                  <a:pt x="6675" y="2214"/>
                  <a:pt x="6675" y="2214"/>
                </a:cubicBezTo>
                <a:cubicBezTo>
                  <a:pt x="6675" y="2214"/>
                  <a:pt x="6674" y="2226"/>
                  <a:pt x="6685" y="2218"/>
                </a:cubicBezTo>
                <a:cubicBezTo>
                  <a:pt x="6696" y="2210"/>
                  <a:pt x="6698" y="2191"/>
                  <a:pt x="6698" y="2191"/>
                </a:cubicBezTo>
                <a:cubicBezTo>
                  <a:pt x="6719" y="2173"/>
                  <a:pt x="6719" y="2173"/>
                  <a:pt x="6719" y="2173"/>
                </a:cubicBezTo>
                <a:cubicBezTo>
                  <a:pt x="6742" y="2172"/>
                  <a:pt x="6742" y="2172"/>
                  <a:pt x="6742" y="2172"/>
                </a:cubicBezTo>
                <a:cubicBezTo>
                  <a:pt x="6744" y="2159"/>
                  <a:pt x="6744" y="2159"/>
                  <a:pt x="6744" y="2159"/>
                </a:cubicBezTo>
                <a:cubicBezTo>
                  <a:pt x="6744" y="2159"/>
                  <a:pt x="6755" y="2130"/>
                  <a:pt x="6758" y="2128"/>
                </a:cubicBezTo>
                <a:cubicBezTo>
                  <a:pt x="6761" y="2126"/>
                  <a:pt x="6788" y="2123"/>
                  <a:pt x="6789" y="2114"/>
                </a:cubicBezTo>
                <a:cubicBezTo>
                  <a:pt x="6790" y="2105"/>
                  <a:pt x="6767" y="2093"/>
                  <a:pt x="6767" y="2093"/>
                </a:cubicBezTo>
                <a:cubicBezTo>
                  <a:pt x="6767" y="2093"/>
                  <a:pt x="6765" y="2070"/>
                  <a:pt x="6773" y="2059"/>
                </a:cubicBezTo>
                <a:cubicBezTo>
                  <a:pt x="6781" y="2048"/>
                  <a:pt x="6792" y="2035"/>
                  <a:pt x="6792" y="2035"/>
                </a:cubicBezTo>
                <a:cubicBezTo>
                  <a:pt x="6792" y="2035"/>
                  <a:pt x="6809" y="2017"/>
                  <a:pt x="6812" y="2016"/>
                </a:cubicBezTo>
                <a:cubicBezTo>
                  <a:pt x="6815" y="2015"/>
                  <a:pt x="6827" y="2007"/>
                  <a:pt x="6824" y="2005"/>
                </a:cubicBezTo>
                <a:cubicBezTo>
                  <a:pt x="6821" y="2003"/>
                  <a:pt x="6816" y="1995"/>
                  <a:pt x="6826" y="1990"/>
                </a:cubicBezTo>
                <a:cubicBezTo>
                  <a:pt x="6836" y="1985"/>
                  <a:pt x="6860" y="1980"/>
                  <a:pt x="6873" y="1975"/>
                </a:cubicBezTo>
                <a:cubicBezTo>
                  <a:pt x="6886" y="1970"/>
                  <a:pt x="6902" y="1957"/>
                  <a:pt x="6902" y="1957"/>
                </a:cubicBezTo>
                <a:cubicBezTo>
                  <a:pt x="6902" y="1957"/>
                  <a:pt x="6922" y="1948"/>
                  <a:pt x="6923" y="1945"/>
                </a:cubicBezTo>
                <a:cubicBezTo>
                  <a:pt x="6924" y="1942"/>
                  <a:pt x="6922" y="1930"/>
                  <a:pt x="6922" y="1930"/>
                </a:cubicBezTo>
                <a:cubicBezTo>
                  <a:pt x="6930" y="1925"/>
                  <a:pt x="6930" y="1925"/>
                  <a:pt x="6930" y="1925"/>
                </a:cubicBezTo>
                <a:cubicBezTo>
                  <a:pt x="6930" y="1925"/>
                  <a:pt x="6918" y="1919"/>
                  <a:pt x="6915" y="1911"/>
                </a:cubicBezTo>
                <a:cubicBezTo>
                  <a:pt x="6915" y="1910"/>
                  <a:pt x="6915" y="1909"/>
                  <a:pt x="6915" y="1908"/>
                </a:cubicBezTo>
                <a:cubicBezTo>
                  <a:pt x="6915" y="1898"/>
                  <a:pt x="6930" y="1875"/>
                  <a:pt x="6937" y="1871"/>
                </a:cubicBezTo>
                <a:cubicBezTo>
                  <a:pt x="6944" y="1867"/>
                  <a:pt x="6965" y="1850"/>
                  <a:pt x="6974" y="1855"/>
                </a:cubicBezTo>
                <a:cubicBezTo>
                  <a:pt x="6983" y="1860"/>
                  <a:pt x="6991" y="1865"/>
                  <a:pt x="6991" y="1865"/>
                </a:cubicBezTo>
                <a:cubicBezTo>
                  <a:pt x="6991" y="1865"/>
                  <a:pt x="7014" y="1859"/>
                  <a:pt x="7019" y="1864"/>
                </a:cubicBezTo>
                <a:cubicBezTo>
                  <a:pt x="7024" y="1869"/>
                  <a:pt x="7031" y="1877"/>
                  <a:pt x="7034" y="1879"/>
                </a:cubicBezTo>
                <a:cubicBezTo>
                  <a:pt x="7034" y="1879"/>
                  <a:pt x="7059" y="1889"/>
                  <a:pt x="7072" y="1879"/>
                </a:cubicBezTo>
                <a:cubicBezTo>
                  <a:pt x="7085" y="1869"/>
                  <a:pt x="7089" y="1850"/>
                  <a:pt x="7095" y="1848"/>
                </a:cubicBezTo>
                <a:cubicBezTo>
                  <a:pt x="7097" y="1847"/>
                  <a:pt x="7103" y="1847"/>
                  <a:pt x="7109" y="1846"/>
                </a:cubicBezTo>
                <a:cubicBezTo>
                  <a:pt x="7118" y="1845"/>
                  <a:pt x="7128" y="1844"/>
                  <a:pt x="7132" y="1840"/>
                </a:cubicBezTo>
                <a:cubicBezTo>
                  <a:pt x="7139" y="1833"/>
                  <a:pt x="7157" y="1812"/>
                  <a:pt x="7167" y="1812"/>
                </a:cubicBezTo>
                <a:cubicBezTo>
                  <a:pt x="7177" y="1812"/>
                  <a:pt x="7206" y="1819"/>
                  <a:pt x="7218" y="1829"/>
                </a:cubicBezTo>
                <a:cubicBezTo>
                  <a:pt x="7230" y="1839"/>
                  <a:pt x="7234" y="1859"/>
                  <a:pt x="7234" y="1859"/>
                </a:cubicBezTo>
                <a:cubicBezTo>
                  <a:pt x="7242" y="1867"/>
                  <a:pt x="7242" y="1867"/>
                  <a:pt x="7242" y="1867"/>
                </a:cubicBezTo>
                <a:cubicBezTo>
                  <a:pt x="7242" y="1867"/>
                  <a:pt x="7234" y="1888"/>
                  <a:pt x="7243" y="1893"/>
                </a:cubicBezTo>
                <a:cubicBezTo>
                  <a:pt x="7252" y="1898"/>
                  <a:pt x="7267" y="1903"/>
                  <a:pt x="7267" y="1903"/>
                </a:cubicBezTo>
                <a:cubicBezTo>
                  <a:pt x="7271" y="1916"/>
                  <a:pt x="7271" y="1916"/>
                  <a:pt x="7271" y="1916"/>
                </a:cubicBezTo>
                <a:cubicBezTo>
                  <a:pt x="7291" y="1917"/>
                  <a:pt x="7291" y="1917"/>
                  <a:pt x="7291" y="1917"/>
                </a:cubicBezTo>
                <a:cubicBezTo>
                  <a:pt x="7291" y="1917"/>
                  <a:pt x="7324" y="1951"/>
                  <a:pt x="7333" y="1961"/>
                </a:cubicBezTo>
                <a:cubicBezTo>
                  <a:pt x="7342" y="1971"/>
                  <a:pt x="7350" y="1980"/>
                  <a:pt x="7350" y="1980"/>
                </a:cubicBezTo>
                <a:cubicBezTo>
                  <a:pt x="7377" y="1981"/>
                  <a:pt x="7377" y="1981"/>
                  <a:pt x="7377" y="1981"/>
                </a:cubicBezTo>
                <a:cubicBezTo>
                  <a:pt x="7377" y="1981"/>
                  <a:pt x="7384" y="1996"/>
                  <a:pt x="7399" y="2001"/>
                </a:cubicBezTo>
                <a:cubicBezTo>
                  <a:pt x="7414" y="2006"/>
                  <a:pt x="7433" y="2002"/>
                  <a:pt x="7436" y="2009"/>
                </a:cubicBezTo>
                <a:cubicBezTo>
                  <a:pt x="7439" y="2016"/>
                  <a:pt x="7440" y="2039"/>
                  <a:pt x="7453" y="2042"/>
                </a:cubicBezTo>
                <a:cubicBezTo>
                  <a:pt x="7466" y="2045"/>
                  <a:pt x="7471" y="2040"/>
                  <a:pt x="7471" y="2040"/>
                </a:cubicBezTo>
                <a:cubicBezTo>
                  <a:pt x="7471" y="2040"/>
                  <a:pt x="7474" y="2059"/>
                  <a:pt x="7476" y="2073"/>
                </a:cubicBezTo>
                <a:cubicBezTo>
                  <a:pt x="7478" y="2087"/>
                  <a:pt x="7491" y="2086"/>
                  <a:pt x="7491" y="2096"/>
                </a:cubicBezTo>
                <a:cubicBezTo>
                  <a:pt x="7491" y="2106"/>
                  <a:pt x="7492" y="2113"/>
                  <a:pt x="7492" y="2113"/>
                </a:cubicBezTo>
                <a:cubicBezTo>
                  <a:pt x="7479" y="2112"/>
                  <a:pt x="7479" y="2112"/>
                  <a:pt x="7479" y="2112"/>
                </a:cubicBezTo>
                <a:cubicBezTo>
                  <a:pt x="7478" y="2127"/>
                  <a:pt x="7478" y="2127"/>
                  <a:pt x="7478" y="2127"/>
                </a:cubicBezTo>
                <a:cubicBezTo>
                  <a:pt x="7478" y="2127"/>
                  <a:pt x="7458" y="2156"/>
                  <a:pt x="7469" y="2156"/>
                </a:cubicBezTo>
                <a:cubicBezTo>
                  <a:pt x="7480" y="2156"/>
                  <a:pt x="7488" y="2150"/>
                  <a:pt x="7488" y="2150"/>
                </a:cubicBezTo>
                <a:cubicBezTo>
                  <a:pt x="7496" y="2135"/>
                  <a:pt x="7496" y="2135"/>
                  <a:pt x="7496" y="2135"/>
                </a:cubicBezTo>
                <a:cubicBezTo>
                  <a:pt x="7509" y="2133"/>
                  <a:pt x="7509" y="2133"/>
                  <a:pt x="7509" y="2133"/>
                </a:cubicBezTo>
                <a:cubicBezTo>
                  <a:pt x="7509" y="2133"/>
                  <a:pt x="7506" y="2111"/>
                  <a:pt x="7510" y="2108"/>
                </a:cubicBezTo>
                <a:cubicBezTo>
                  <a:pt x="7514" y="2105"/>
                  <a:pt x="7535" y="2099"/>
                  <a:pt x="7535" y="2099"/>
                </a:cubicBezTo>
                <a:cubicBezTo>
                  <a:pt x="7535" y="2099"/>
                  <a:pt x="7530" y="2079"/>
                  <a:pt x="7526" y="2075"/>
                </a:cubicBezTo>
                <a:cubicBezTo>
                  <a:pt x="7522" y="2071"/>
                  <a:pt x="7504" y="2066"/>
                  <a:pt x="7505" y="2059"/>
                </a:cubicBezTo>
                <a:cubicBezTo>
                  <a:pt x="7506" y="2052"/>
                  <a:pt x="7519" y="2018"/>
                  <a:pt x="7527" y="2021"/>
                </a:cubicBezTo>
                <a:cubicBezTo>
                  <a:pt x="7535" y="2024"/>
                  <a:pt x="7542" y="2028"/>
                  <a:pt x="7542" y="2028"/>
                </a:cubicBezTo>
                <a:cubicBezTo>
                  <a:pt x="7562" y="2028"/>
                  <a:pt x="7562" y="2028"/>
                  <a:pt x="7562" y="2028"/>
                </a:cubicBezTo>
                <a:cubicBezTo>
                  <a:pt x="7562" y="2028"/>
                  <a:pt x="7565" y="2051"/>
                  <a:pt x="7579" y="2052"/>
                </a:cubicBezTo>
                <a:cubicBezTo>
                  <a:pt x="7593" y="2053"/>
                  <a:pt x="7597" y="2039"/>
                  <a:pt x="7589" y="2030"/>
                </a:cubicBezTo>
                <a:cubicBezTo>
                  <a:pt x="7581" y="2021"/>
                  <a:pt x="7555" y="2004"/>
                  <a:pt x="7555" y="2004"/>
                </a:cubicBezTo>
                <a:cubicBezTo>
                  <a:pt x="7525" y="1988"/>
                  <a:pt x="7525" y="1988"/>
                  <a:pt x="7525" y="1988"/>
                </a:cubicBezTo>
                <a:cubicBezTo>
                  <a:pt x="7525" y="1988"/>
                  <a:pt x="7472" y="1975"/>
                  <a:pt x="7476" y="1966"/>
                </a:cubicBezTo>
                <a:cubicBezTo>
                  <a:pt x="7480" y="1957"/>
                  <a:pt x="7489" y="1956"/>
                  <a:pt x="7488" y="1948"/>
                </a:cubicBezTo>
                <a:cubicBezTo>
                  <a:pt x="7487" y="1940"/>
                  <a:pt x="7439" y="1938"/>
                  <a:pt x="7439" y="1938"/>
                </a:cubicBezTo>
                <a:cubicBezTo>
                  <a:pt x="7439" y="1938"/>
                  <a:pt x="7425" y="1933"/>
                  <a:pt x="7408" y="1916"/>
                </a:cubicBezTo>
                <a:cubicBezTo>
                  <a:pt x="7391" y="1899"/>
                  <a:pt x="7385" y="1883"/>
                  <a:pt x="7385" y="1883"/>
                </a:cubicBezTo>
                <a:cubicBezTo>
                  <a:pt x="7385" y="1883"/>
                  <a:pt x="7380" y="1859"/>
                  <a:pt x="7370" y="1853"/>
                </a:cubicBezTo>
                <a:cubicBezTo>
                  <a:pt x="7360" y="1847"/>
                  <a:pt x="7349" y="1837"/>
                  <a:pt x="7349" y="1837"/>
                </a:cubicBezTo>
                <a:cubicBezTo>
                  <a:pt x="7323" y="1815"/>
                  <a:pt x="7323" y="1815"/>
                  <a:pt x="7323" y="1815"/>
                </a:cubicBezTo>
                <a:cubicBezTo>
                  <a:pt x="7323" y="1815"/>
                  <a:pt x="7309" y="1793"/>
                  <a:pt x="7314" y="1791"/>
                </a:cubicBezTo>
                <a:cubicBezTo>
                  <a:pt x="7319" y="1789"/>
                  <a:pt x="7327" y="1787"/>
                  <a:pt x="7327" y="1782"/>
                </a:cubicBezTo>
                <a:cubicBezTo>
                  <a:pt x="7327" y="1777"/>
                  <a:pt x="7310" y="1768"/>
                  <a:pt x="7318" y="1759"/>
                </a:cubicBezTo>
                <a:cubicBezTo>
                  <a:pt x="7326" y="1750"/>
                  <a:pt x="7349" y="1744"/>
                  <a:pt x="7349" y="1744"/>
                </a:cubicBezTo>
                <a:cubicBezTo>
                  <a:pt x="7363" y="1738"/>
                  <a:pt x="7363" y="1738"/>
                  <a:pt x="7363" y="1738"/>
                </a:cubicBezTo>
                <a:cubicBezTo>
                  <a:pt x="7363" y="1738"/>
                  <a:pt x="7386" y="1742"/>
                  <a:pt x="7383" y="1746"/>
                </a:cubicBezTo>
                <a:cubicBezTo>
                  <a:pt x="7382" y="1748"/>
                  <a:pt x="7380" y="1752"/>
                  <a:pt x="7378" y="1756"/>
                </a:cubicBezTo>
                <a:cubicBezTo>
                  <a:pt x="7376" y="1760"/>
                  <a:pt x="7374" y="1765"/>
                  <a:pt x="7374" y="1765"/>
                </a:cubicBezTo>
                <a:cubicBezTo>
                  <a:pt x="7374" y="1765"/>
                  <a:pt x="7373" y="1795"/>
                  <a:pt x="7381" y="1786"/>
                </a:cubicBezTo>
                <a:cubicBezTo>
                  <a:pt x="7389" y="1777"/>
                  <a:pt x="7400" y="1762"/>
                  <a:pt x="7404" y="1768"/>
                </a:cubicBezTo>
                <a:cubicBezTo>
                  <a:pt x="7408" y="1774"/>
                  <a:pt x="7408" y="1789"/>
                  <a:pt x="7408" y="1789"/>
                </a:cubicBezTo>
                <a:cubicBezTo>
                  <a:pt x="7427" y="1785"/>
                  <a:pt x="7427" y="1785"/>
                  <a:pt x="7427" y="1785"/>
                </a:cubicBezTo>
                <a:cubicBezTo>
                  <a:pt x="7427" y="1785"/>
                  <a:pt x="7421" y="1805"/>
                  <a:pt x="7433" y="1809"/>
                </a:cubicBezTo>
                <a:cubicBezTo>
                  <a:pt x="7445" y="1813"/>
                  <a:pt x="7441" y="1821"/>
                  <a:pt x="7441" y="1821"/>
                </a:cubicBezTo>
                <a:cubicBezTo>
                  <a:pt x="7470" y="1842"/>
                  <a:pt x="7470" y="1842"/>
                  <a:pt x="7470" y="1842"/>
                </a:cubicBezTo>
                <a:cubicBezTo>
                  <a:pt x="7471" y="1859"/>
                  <a:pt x="7471" y="1859"/>
                  <a:pt x="7471" y="1859"/>
                </a:cubicBezTo>
                <a:cubicBezTo>
                  <a:pt x="7498" y="1860"/>
                  <a:pt x="7498" y="1860"/>
                  <a:pt x="7498" y="1860"/>
                </a:cubicBezTo>
                <a:cubicBezTo>
                  <a:pt x="7498" y="1860"/>
                  <a:pt x="7515" y="1861"/>
                  <a:pt x="7519" y="1869"/>
                </a:cubicBezTo>
                <a:cubicBezTo>
                  <a:pt x="7519" y="1869"/>
                  <a:pt x="7515" y="1878"/>
                  <a:pt x="7521" y="1882"/>
                </a:cubicBezTo>
                <a:cubicBezTo>
                  <a:pt x="7538" y="1884"/>
                  <a:pt x="7538" y="1884"/>
                  <a:pt x="7538" y="1884"/>
                </a:cubicBezTo>
                <a:cubicBezTo>
                  <a:pt x="7546" y="1885"/>
                  <a:pt x="7546" y="1885"/>
                  <a:pt x="7546" y="1885"/>
                </a:cubicBezTo>
                <a:cubicBezTo>
                  <a:pt x="7546" y="1885"/>
                  <a:pt x="7573" y="1912"/>
                  <a:pt x="7582" y="1917"/>
                </a:cubicBezTo>
                <a:cubicBezTo>
                  <a:pt x="7583" y="1918"/>
                  <a:pt x="7584" y="1918"/>
                  <a:pt x="7584" y="1918"/>
                </a:cubicBezTo>
                <a:cubicBezTo>
                  <a:pt x="7591" y="1920"/>
                  <a:pt x="7602" y="1915"/>
                  <a:pt x="7602" y="1915"/>
                </a:cubicBezTo>
                <a:cubicBezTo>
                  <a:pt x="7602" y="1927"/>
                  <a:pt x="7602" y="1927"/>
                  <a:pt x="7602" y="1927"/>
                </a:cubicBezTo>
                <a:cubicBezTo>
                  <a:pt x="7619" y="1943"/>
                  <a:pt x="7619" y="1943"/>
                  <a:pt x="7619" y="1943"/>
                </a:cubicBezTo>
                <a:cubicBezTo>
                  <a:pt x="7623" y="1947"/>
                  <a:pt x="7623" y="1947"/>
                  <a:pt x="7623" y="1947"/>
                </a:cubicBezTo>
                <a:cubicBezTo>
                  <a:pt x="7639" y="1947"/>
                  <a:pt x="7639" y="1947"/>
                  <a:pt x="7639" y="1947"/>
                </a:cubicBezTo>
                <a:cubicBezTo>
                  <a:pt x="7639" y="1947"/>
                  <a:pt x="7634" y="1986"/>
                  <a:pt x="7633" y="1998"/>
                </a:cubicBezTo>
                <a:cubicBezTo>
                  <a:pt x="7632" y="2010"/>
                  <a:pt x="7621" y="2026"/>
                  <a:pt x="7626" y="2031"/>
                </a:cubicBezTo>
                <a:cubicBezTo>
                  <a:pt x="7631" y="2036"/>
                  <a:pt x="7649" y="2046"/>
                  <a:pt x="7649" y="2046"/>
                </a:cubicBezTo>
                <a:cubicBezTo>
                  <a:pt x="7649" y="2046"/>
                  <a:pt x="7646" y="2066"/>
                  <a:pt x="7650" y="2065"/>
                </a:cubicBezTo>
                <a:cubicBezTo>
                  <a:pt x="7654" y="2064"/>
                  <a:pt x="7673" y="2067"/>
                  <a:pt x="7673" y="2067"/>
                </a:cubicBezTo>
                <a:cubicBezTo>
                  <a:pt x="7673" y="2067"/>
                  <a:pt x="7668" y="2084"/>
                  <a:pt x="7677" y="2087"/>
                </a:cubicBezTo>
                <a:cubicBezTo>
                  <a:pt x="7686" y="2090"/>
                  <a:pt x="7697" y="2107"/>
                  <a:pt x="7697" y="2107"/>
                </a:cubicBezTo>
                <a:cubicBezTo>
                  <a:pt x="7697" y="2107"/>
                  <a:pt x="7707" y="2130"/>
                  <a:pt x="7715" y="2130"/>
                </a:cubicBezTo>
                <a:cubicBezTo>
                  <a:pt x="7723" y="2130"/>
                  <a:pt x="7744" y="2129"/>
                  <a:pt x="7744" y="2129"/>
                </a:cubicBezTo>
                <a:cubicBezTo>
                  <a:pt x="7744" y="2129"/>
                  <a:pt x="7758" y="2124"/>
                  <a:pt x="7765" y="2127"/>
                </a:cubicBezTo>
                <a:cubicBezTo>
                  <a:pt x="7772" y="2130"/>
                  <a:pt x="7809" y="2144"/>
                  <a:pt x="7809" y="2144"/>
                </a:cubicBezTo>
                <a:cubicBezTo>
                  <a:pt x="7809" y="2144"/>
                  <a:pt x="7831" y="2167"/>
                  <a:pt x="7836" y="2161"/>
                </a:cubicBezTo>
                <a:cubicBezTo>
                  <a:pt x="7841" y="2155"/>
                  <a:pt x="7842" y="2146"/>
                  <a:pt x="7834" y="2139"/>
                </a:cubicBezTo>
                <a:cubicBezTo>
                  <a:pt x="7826" y="2132"/>
                  <a:pt x="7810" y="2119"/>
                  <a:pt x="7807" y="2118"/>
                </a:cubicBezTo>
                <a:cubicBezTo>
                  <a:pt x="7804" y="2117"/>
                  <a:pt x="7785" y="2108"/>
                  <a:pt x="7785" y="2108"/>
                </a:cubicBezTo>
                <a:cubicBezTo>
                  <a:pt x="7785" y="2108"/>
                  <a:pt x="7792" y="2102"/>
                  <a:pt x="7796" y="2103"/>
                </a:cubicBezTo>
                <a:cubicBezTo>
                  <a:pt x="7800" y="2104"/>
                  <a:pt x="7823" y="2127"/>
                  <a:pt x="7837" y="2129"/>
                </a:cubicBezTo>
                <a:cubicBezTo>
                  <a:pt x="7851" y="2131"/>
                  <a:pt x="7857" y="2115"/>
                  <a:pt x="7844" y="2113"/>
                </a:cubicBezTo>
                <a:cubicBezTo>
                  <a:pt x="7831" y="2111"/>
                  <a:pt x="7821" y="2107"/>
                  <a:pt x="7821" y="2107"/>
                </a:cubicBezTo>
                <a:cubicBezTo>
                  <a:pt x="7821" y="2107"/>
                  <a:pt x="7807" y="2099"/>
                  <a:pt x="7805" y="2092"/>
                </a:cubicBezTo>
                <a:cubicBezTo>
                  <a:pt x="7803" y="2085"/>
                  <a:pt x="7791" y="2068"/>
                  <a:pt x="7791" y="2068"/>
                </a:cubicBezTo>
                <a:cubicBezTo>
                  <a:pt x="7791" y="2068"/>
                  <a:pt x="7780" y="2051"/>
                  <a:pt x="7775" y="2045"/>
                </a:cubicBezTo>
                <a:cubicBezTo>
                  <a:pt x="7770" y="2039"/>
                  <a:pt x="7765" y="2018"/>
                  <a:pt x="7772" y="2015"/>
                </a:cubicBezTo>
                <a:cubicBezTo>
                  <a:pt x="7779" y="2012"/>
                  <a:pt x="7781" y="2029"/>
                  <a:pt x="7789" y="2029"/>
                </a:cubicBezTo>
                <a:cubicBezTo>
                  <a:pt x="7791" y="2029"/>
                  <a:pt x="7794" y="2029"/>
                  <a:pt x="7797" y="2029"/>
                </a:cubicBezTo>
                <a:cubicBezTo>
                  <a:pt x="7801" y="2037"/>
                  <a:pt x="7805" y="2046"/>
                  <a:pt x="7807" y="2047"/>
                </a:cubicBezTo>
                <a:cubicBezTo>
                  <a:pt x="7810" y="2049"/>
                  <a:pt x="7816" y="2045"/>
                  <a:pt x="7816" y="2045"/>
                </a:cubicBezTo>
                <a:cubicBezTo>
                  <a:pt x="7808" y="2030"/>
                  <a:pt x="7808" y="2030"/>
                  <a:pt x="7808" y="2030"/>
                </a:cubicBezTo>
                <a:cubicBezTo>
                  <a:pt x="7809" y="2030"/>
                  <a:pt x="7810" y="2030"/>
                  <a:pt x="7811" y="2030"/>
                </a:cubicBezTo>
                <a:cubicBezTo>
                  <a:pt x="7829" y="2041"/>
                  <a:pt x="7829" y="2041"/>
                  <a:pt x="7829" y="2041"/>
                </a:cubicBezTo>
                <a:cubicBezTo>
                  <a:pt x="7820" y="2028"/>
                  <a:pt x="7820" y="2028"/>
                  <a:pt x="7820" y="2028"/>
                </a:cubicBezTo>
                <a:cubicBezTo>
                  <a:pt x="7820" y="2028"/>
                  <a:pt x="7821" y="2028"/>
                  <a:pt x="7821" y="2028"/>
                </a:cubicBezTo>
                <a:cubicBezTo>
                  <a:pt x="7824" y="2025"/>
                  <a:pt x="7825" y="2017"/>
                  <a:pt x="7824" y="2009"/>
                </a:cubicBezTo>
                <a:cubicBezTo>
                  <a:pt x="7823" y="2001"/>
                  <a:pt x="7841" y="1997"/>
                  <a:pt x="7850" y="2000"/>
                </a:cubicBezTo>
                <a:cubicBezTo>
                  <a:pt x="7859" y="2003"/>
                  <a:pt x="7852" y="2016"/>
                  <a:pt x="7861" y="2013"/>
                </a:cubicBezTo>
                <a:cubicBezTo>
                  <a:pt x="7870" y="2010"/>
                  <a:pt x="7873" y="1995"/>
                  <a:pt x="7878" y="1994"/>
                </a:cubicBezTo>
                <a:cubicBezTo>
                  <a:pt x="7883" y="1993"/>
                  <a:pt x="7926" y="2003"/>
                  <a:pt x="7926" y="2003"/>
                </a:cubicBezTo>
                <a:cubicBezTo>
                  <a:pt x="7926" y="2003"/>
                  <a:pt x="7914" y="2015"/>
                  <a:pt x="7929" y="2014"/>
                </a:cubicBezTo>
                <a:cubicBezTo>
                  <a:pt x="7944" y="2013"/>
                  <a:pt x="7955" y="2008"/>
                  <a:pt x="7955" y="2008"/>
                </a:cubicBezTo>
                <a:cubicBezTo>
                  <a:pt x="7955" y="2008"/>
                  <a:pt x="7951" y="2018"/>
                  <a:pt x="7959" y="2015"/>
                </a:cubicBezTo>
                <a:cubicBezTo>
                  <a:pt x="7967" y="2012"/>
                  <a:pt x="7986" y="1993"/>
                  <a:pt x="7986" y="1993"/>
                </a:cubicBezTo>
                <a:cubicBezTo>
                  <a:pt x="7986" y="1993"/>
                  <a:pt x="8020" y="1981"/>
                  <a:pt x="8031" y="1989"/>
                </a:cubicBezTo>
                <a:cubicBezTo>
                  <a:pt x="8042" y="1997"/>
                  <a:pt x="8076" y="2002"/>
                  <a:pt x="8076" y="2002"/>
                </a:cubicBezTo>
                <a:cubicBezTo>
                  <a:pt x="8076" y="2002"/>
                  <a:pt x="8045" y="2006"/>
                  <a:pt x="8044" y="2009"/>
                </a:cubicBezTo>
                <a:cubicBezTo>
                  <a:pt x="8043" y="2012"/>
                  <a:pt x="8038" y="2021"/>
                  <a:pt x="8038" y="2021"/>
                </a:cubicBezTo>
                <a:cubicBezTo>
                  <a:pt x="8005" y="2022"/>
                  <a:pt x="8005" y="2022"/>
                  <a:pt x="8005" y="2022"/>
                </a:cubicBezTo>
                <a:cubicBezTo>
                  <a:pt x="7971" y="2019"/>
                  <a:pt x="7971" y="2019"/>
                  <a:pt x="7971" y="2019"/>
                </a:cubicBezTo>
                <a:cubicBezTo>
                  <a:pt x="7971" y="2019"/>
                  <a:pt x="7945" y="2025"/>
                  <a:pt x="7941" y="2033"/>
                </a:cubicBezTo>
                <a:cubicBezTo>
                  <a:pt x="7937" y="2041"/>
                  <a:pt x="7928" y="2071"/>
                  <a:pt x="7928" y="2071"/>
                </a:cubicBezTo>
                <a:cubicBezTo>
                  <a:pt x="7955" y="2070"/>
                  <a:pt x="7955" y="2070"/>
                  <a:pt x="7955" y="2070"/>
                </a:cubicBezTo>
                <a:cubicBezTo>
                  <a:pt x="7955" y="2070"/>
                  <a:pt x="7951" y="2079"/>
                  <a:pt x="7956" y="2087"/>
                </a:cubicBezTo>
                <a:cubicBezTo>
                  <a:pt x="7961" y="2095"/>
                  <a:pt x="7967" y="2103"/>
                  <a:pt x="7967" y="2103"/>
                </a:cubicBezTo>
                <a:cubicBezTo>
                  <a:pt x="7962" y="2114"/>
                  <a:pt x="7962" y="2114"/>
                  <a:pt x="7962" y="2114"/>
                </a:cubicBezTo>
                <a:cubicBezTo>
                  <a:pt x="7972" y="2129"/>
                  <a:pt x="7972" y="2129"/>
                  <a:pt x="7972" y="2129"/>
                </a:cubicBezTo>
                <a:cubicBezTo>
                  <a:pt x="7963" y="2140"/>
                  <a:pt x="7963" y="2140"/>
                  <a:pt x="7963" y="2140"/>
                </a:cubicBezTo>
                <a:cubicBezTo>
                  <a:pt x="7987" y="2162"/>
                  <a:pt x="7987" y="2162"/>
                  <a:pt x="7987" y="2162"/>
                </a:cubicBezTo>
                <a:cubicBezTo>
                  <a:pt x="7985" y="2186"/>
                  <a:pt x="7985" y="2186"/>
                  <a:pt x="7985" y="2186"/>
                </a:cubicBezTo>
                <a:cubicBezTo>
                  <a:pt x="8019" y="2203"/>
                  <a:pt x="8019" y="2203"/>
                  <a:pt x="8019" y="2203"/>
                </a:cubicBezTo>
                <a:cubicBezTo>
                  <a:pt x="8025" y="2225"/>
                  <a:pt x="8025" y="2225"/>
                  <a:pt x="8025" y="2225"/>
                </a:cubicBezTo>
                <a:cubicBezTo>
                  <a:pt x="8025" y="2225"/>
                  <a:pt x="8022" y="2213"/>
                  <a:pt x="8041" y="2218"/>
                </a:cubicBezTo>
                <a:cubicBezTo>
                  <a:pt x="8060" y="2223"/>
                  <a:pt x="8057" y="2240"/>
                  <a:pt x="8087" y="2243"/>
                </a:cubicBezTo>
                <a:cubicBezTo>
                  <a:pt x="8117" y="2246"/>
                  <a:pt x="8129" y="2245"/>
                  <a:pt x="8129" y="2238"/>
                </a:cubicBezTo>
                <a:cubicBezTo>
                  <a:pt x="8129" y="2231"/>
                  <a:pt x="8131" y="2212"/>
                  <a:pt x="8141" y="2211"/>
                </a:cubicBezTo>
                <a:cubicBezTo>
                  <a:pt x="8151" y="2210"/>
                  <a:pt x="8178" y="2217"/>
                  <a:pt x="8192" y="2222"/>
                </a:cubicBezTo>
                <a:cubicBezTo>
                  <a:pt x="8206" y="2227"/>
                  <a:pt x="8192" y="2254"/>
                  <a:pt x="8238" y="2253"/>
                </a:cubicBezTo>
                <a:cubicBezTo>
                  <a:pt x="8284" y="2252"/>
                  <a:pt x="8285" y="2227"/>
                  <a:pt x="8301" y="2222"/>
                </a:cubicBezTo>
                <a:cubicBezTo>
                  <a:pt x="8317" y="2217"/>
                  <a:pt x="8329" y="2213"/>
                  <a:pt x="8336" y="2219"/>
                </a:cubicBezTo>
                <a:cubicBezTo>
                  <a:pt x="8343" y="2225"/>
                  <a:pt x="8345" y="2231"/>
                  <a:pt x="8356" y="2226"/>
                </a:cubicBezTo>
                <a:cubicBezTo>
                  <a:pt x="8367" y="2221"/>
                  <a:pt x="8374" y="2205"/>
                  <a:pt x="8381" y="2212"/>
                </a:cubicBezTo>
                <a:cubicBezTo>
                  <a:pt x="8388" y="2219"/>
                  <a:pt x="8380" y="2228"/>
                  <a:pt x="8377" y="2234"/>
                </a:cubicBezTo>
                <a:cubicBezTo>
                  <a:pt x="8374" y="2240"/>
                  <a:pt x="8367" y="2252"/>
                  <a:pt x="8374" y="2257"/>
                </a:cubicBezTo>
                <a:cubicBezTo>
                  <a:pt x="8375" y="2258"/>
                  <a:pt x="8376" y="2259"/>
                  <a:pt x="8375" y="2261"/>
                </a:cubicBezTo>
                <a:cubicBezTo>
                  <a:pt x="8373" y="2266"/>
                  <a:pt x="8363" y="2274"/>
                  <a:pt x="8366" y="2281"/>
                </a:cubicBezTo>
                <a:cubicBezTo>
                  <a:pt x="8362" y="2282"/>
                  <a:pt x="8362" y="2282"/>
                  <a:pt x="8362" y="2282"/>
                </a:cubicBezTo>
                <a:cubicBezTo>
                  <a:pt x="8361" y="2314"/>
                  <a:pt x="8361" y="2314"/>
                  <a:pt x="8361" y="2314"/>
                </a:cubicBezTo>
                <a:cubicBezTo>
                  <a:pt x="8361" y="2314"/>
                  <a:pt x="8375" y="2322"/>
                  <a:pt x="8378" y="2330"/>
                </a:cubicBezTo>
                <a:cubicBezTo>
                  <a:pt x="8378" y="2332"/>
                  <a:pt x="8378" y="2334"/>
                  <a:pt x="8377" y="2335"/>
                </a:cubicBezTo>
                <a:cubicBezTo>
                  <a:pt x="8370" y="2345"/>
                  <a:pt x="8361" y="2351"/>
                  <a:pt x="8361" y="2351"/>
                </a:cubicBezTo>
                <a:cubicBezTo>
                  <a:pt x="8352" y="2375"/>
                  <a:pt x="8352" y="2375"/>
                  <a:pt x="8352" y="2375"/>
                </a:cubicBezTo>
                <a:cubicBezTo>
                  <a:pt x="8352" y="2375"/>
                  <a:pt x="8342" y="2399"/>
                  <a:pt x="8341" y="2419"/>
                </a:cubicBezTo>
                <a:cubicBezTo>
                  <a:pt x="8341" y="2424"/>
                  <a:pt x="8341" y="2430"/>
                  <a:pt x="8342" y="2435"/>
                </a:cubicBezTo>
                <a:cubicBezTo>
                  <a:pt x="8343" y="2448"/>
                  <a:pt x="8347" y="2459"/>
                  <a:pt x="8347" y="2459"/>
                </a:cubicBezTo>
                <a:cubicBezTo>
                  <a:pt x="8333" y="2485"/>
                  <a:pt x="8333" y="2485"/>
                  <a:pt x="8333" y="2485"/>
                </a:cubicBezTo>
                <a:cubicBezTo>
                  <a:pt x="8331" y="2501"/>
                  <a:pt x="8331" y="2501"/>
                  <a:pt x="8331" y="2501"/>
                </a:cubicBezTo>
                <a:cubicBezTo>
                  <a:pt x="8320" y="2509"/>
                  <a:pt x="8320" y="2509"/>
                  <a:pt x="8320" y="2509"/>
                </a:cubicBezTo>
                <a:cubicBezTo>
                  <a:pt x="8320" y="2509"/>
                  <a:pt x="8282" y="2524"/>
                  <a:pt x="8273" y="2520"/>
                </a:cubicBezTo>
                <a:cubicBezTo>
                  <a:pt x="8264" y="2516"/>
                  <a:pt x="8258" y="2512"/>
                  <a:pt x="8258" y="2512"/>
                </a:cubicBezTo>
                <a:cubicBezTo>
                  <a:pt x="8258" y="2512"/>
                  <a:pt x="8249" y="2523"/>
                  <a:pt x="8235" y="2516"/>
                </a:cubicBezTo>
                <a:cubicBezTo>
                  <a:pt x="8221" y="2509"/>
                  <a:pt x="8226" y="2500"/>
                  <a:pt x="8210" y="2497"/>
                </a:cubicBezTo>
                <a:cubicBezTo>
                  <a:pt x="8194" y="2494"/>
                  <a:pt x="8173" y="2504"/>
                  <a:pt x="8173" y="2504"/>
                </a:cubicBezTo>
                <a:cubicBezTo>
                  <a:pt x="8173" y="2504"/>
                  <a:pt x="8158" y="2497"/>
                  <a:pt x="8147" y="2501"/>
                </a:cubicBezTo>
                <a:cubicBezTo>
                  <a:pt x="8136" y="2505"/>
                  <a:pt x="8128" y="2520"/>
                  <a:pt x="8128" y="2520"/>
                </a:cubicBezTo>
                <a:cubicBezTo>
                  <a:pt x="8128" y="2520"/>
                  <a:pt x="8116" y="2518"/>
                  <a:pt x="8112" y="2520"/>
                </a:cubicBezTo>
                <a:cubicBezTo>
                  <a:pt x="8108" y="2522"/>
                  <a:pt x="8095" y="2533"/>
                  <a:pt x="8095" y="2533"/>
                </a:cubicBezTo>
                <a:cubicBezTo>
                  <a:pt x="8095" y="2533"/>
                  <a:pt x="8061" y="2519"/>
                  <a:pt x="8055" y="2519"/>
                </a:cubicBezTo>
                <a:cubicBezTo>
                  <a:pt x="8049" y="2519"/>
                  <a:pt x="8038" y="2522"/>
                  <a:pt x="8025" y="2519"/>
                </a:cubicBezTo>
                <a:cubicBezTo>
                  <a:pt x="8012" y="2516"/>
                  <a:pt x="8010" y="2504"/>
                  <a:pt x="7997" y="2503"/>
                </a:cubicBezTo>
                <a:cubicBezTo>
                  <a:pt x="7984" y="2502"/>
                  <a:pt x="7974" y="2502"/>
                  <a:pt x="7974" y="2502"/>
                </a:cubicBezTo>
                <a:cubicBezTo>
                  <a:pt x="7974" y="2502"/>
                  <a:pt x="7954" y="2491"/>
                  <a:pt x="7945" y="2491"/>
                </a:cubicBezTo>
                <a:cubicBezTo>
                  <a:pt x="7936" y="2491"/>
                  <a:pt x="7931" y="2505"/>
                  <a:pt x="7916" y="2496"/>
                </a:cubicBezTo>
                <a:cubicBezTo>
                  <a:pt x="7913" y="2494"/>
                  <a:pt x="7911" y="2492"/>
                  <a:pt x="7909" y="2490"/>
                </a:cubicBezTo>
                <a:cubicBezTo>
                  <a:pt x="7903" y="2481"/>
                  <a:pt x="7905" y="2472"/>
                  <a:pt x="7905" y="2472"/>
                </a:cubicBezTo>
                <a:cubicBezTo>
                  <a:pt x="7890" y="2477"/>
                  <a:pt x="7890" y="2477"/>
                  <a:pt x="7890" y="2477"/>
                </a:cubicBezTo>
                <a:cubicBezTo>
                  <a:pt x="7883" y="2468"/>
                  <a:pt x="7883" y="2468"/>
                  <a:pt x="7883" y="2468"/>
                </a:cubicBezTo>
                <a:cubicBezTo>
                  <a:pt x="7883" y="2468"/>
                  <a:pt x="7878" y="2476"/>
                  <a:pt x="7871" y="2476"/>
                </a:cubicBezTo>
                <a:cubicBezTo>
                  <a:pt x="7864" y="2476"/>
                  <a:pt x="7856" y="2459"/>
                  <a:pt x="7847" y="2459"/>
                </a:cubicBezTo>
                <a:cubicBezTo>
                  <a:pt x="7838" y="2459"/>
                  <a:pt x="7828" y="2466"/>
                  <a:pt x="7817" y="2458"/>
                </a:cubicBezTo>
                <a:cubicBezTo>
                  <a:pt x="7806" y="2450"/>
                  <a:pt x="7815" y="2441"/>
                  <a:pt x="7806" y="2437"/>
                </a:cubicBezTo>
                <a:cubicBezTo>
                  <a:pt x="7797" y="2433"/>
                  <a:pt x="7779" y="2432"/>
                  <a:pt x="7779" y="2432"/>
                </a:cubicBezTo>
                <a:cubicBezTo>
                  <a:pt x="7779" y="2432"/>
                  <a:pt x="7758" y="2424"/>
                  <a:pt x="7750" y="2424"/>
                </a:cubicBezTo>
                <a:cubicBezTo>
                  <a:pt x="7742" y="2424"/>
                  <a:pt x="7742" y="2432"/>
                  <a:pt x="7742" y="2432"/>
                </a:cubicBezTo>
                <a:cubicBezTo>
                  <a:pt x="7742" y="2432"/>
                  <a:pt x="7712" y="2430"/>
                  <a:pt x="7699" y="2440"/>
                </a:cubicBezTo>
                <a:cubicBezTo>
                  <a:pt x="7686" y="2450"/>
                  <a:pt x="7669" y="2463"/>
                  <a:pt x="7669" y="2479"/>
                </a:cubicBezTo>
                <a:cubicBezTo>
                  <a:pt x="7669" y="2495"/>
                  <a:pt x="7685" y="2514"/>
                  <a:pt x="7685" y="2523"/>
                </a:cubicBezTo>
                <a:cubicBezTo>
                  <a:pt x="7685" y="2532"/>
                  <a:pt x="7664" y="2561"/>
                  <a:pt x="7652" y="2563"/>
                </a:cubicBezTo>
                <a:cubicBezTo>
                  <a:pt x="7640" y="2565"/>
                  <a:pt x="7622" y="2568"/>
                  <a:pt x="7608" y="2553"/>
                </a:cubicBezTo>
                <a:cubicBezTo>
                  <a:pt x="7594" y="2538"/>
                  <a:pt x="7555" y="2515"/>
                  <a:pt x="7540" y="2514"/>
                </a:cubicBezTo>
                <a:cubicBezTo>
                  <a:pt x="7525" y="2513"/>
                  <a:pt x="7491" y="2522"/>
                  <a:pt x="7478" y="2506"/>
                </a:cubicBezTo>
                <a:cubicBezTo>
                  <a:pt x="7465" y="2490"/>
                  <a:pt x="7469" y="2478"/>
                  <a:pt x="7460" y="2462"/>
                </a:cubicBezTo>
                <a:cubicBezTo>
                  <a:pt x="7451" y="2446"/>
                  <a:pt x="7433" y="2449"/>
                  <a:pt x="7433" y="2449"/>
                </a:cubicBezTo>
                <a:cubicBezTo>
                  <a:pt x="7433" y="2449"/>
                  <a:pt x="7409" y="2431"/>
                  <a:pt x="7401" y="2430"/>
                </a:cubicBezTo>
                <a:cubicBezTo>
                  <a:pt x="7393" y="2429"/>
                  <a:pt x="7369" y="2428"/>
                  <a:pt x="7362" y="2429"/>
                </a:cubicBezTo>
                <a:cubicBezTo>
                  <a:pt x="7355" y="2430"/>
                  <a:pt x="7343" y="2437"/>
                  <a:pt x="7332" y="2433"/>
                </a:cubicBezTo>
                <a:cubicBezTo>
                  <a:pt x="7321" y="2429"/>
                  <a:pt x="7301" y="2413"/>
                  <a:pt x="7296" y="2412"/>
                </a:cubicBezTo>
                <a:cubicBezTo>
                  <a:pt x="7293" y="2411"/>
                  <a:pt x="7289" y="2410"/>
                  <a:pt x="7285" y="2409"/>
                </a:cubicBezTo>
                <a:cubicBezTo>
                  <a:pt x="7280" y="2408"/>
                  <a:pt x="7277" y="2407"/>
                  <a:pt x="7277" y="2407"/>
                </a:cubicBezTo>
                <a:cubicBezTo>
                  <a:pt x="7270" y="2388"/>
                  <a:pt x="7270" y="2388"/>
                  <a:pt x="7270" y="2388"/>
                </a:cubicBezTo>
                <a:cubicBezTo>
                  <a:pt x="7260" y="2382"/>
                  <a:pt x="7260" y="2382"/>
                  <a:pt x="7260" y="2382"/>
                </a:cubicBezTo>
                <a:cubicBezTo>
                  <a:pt x="7258" y="2393"/>
                  <a:pt x="7258" y="2393"/>
                  <a:pt x="7258" y="2393"/>
                </a:cubicBezTo>
                <a:cubicBezTo>
                  <a:pt x="7252" y="2384"/>
                  <a:pt x="7252" y="2384"/>
                  <a:pt x="7252" y="2384"/>
                </a:cubicBezTo>
                <a:cubicBezTo>
                  <a:pt x="7252" y="2384"/>
                  <a:pt x="7221" y="2383"/>
                  <a:pt x="7221" y="2364"/>
                </a:cubicBezTo>
                <a:cubicBezTo>
                  <a:pt x="7221" y="2345"/>
                  <a:pt x="7219" y="2355"/>
                  <a:pt x="7242" y="2335"/>
                </a:cubicBezTo>
                <a:cubicBezTo>
                  <a:pt x="7265" y="2315"/>
                  <a:pt x="7279" y="2299"/>
                  <a:pt x="7266" y="2283"/>
                </a:cubicBezTo>
                <a:cubicBezTo>
                  <a:pt x="7253" y="2267"/>
                  <a:pt x="7238" y="2270"/>
                  <a:pt x="7242" y="2254"/>
                </a:cubicBezTo>
                <a:cubicBezTo>
                  <a:pt x="7246" y="2238"/>
                  <a:pt x="7245" y="2240"/>
                  <a:pt x="7255" y="2231"/>
                </a:cubicBezTo>
                <a:cubicBezTo>
                  <a:pt x="7265" y="2222"/>
                  <a:pt x="7273" y="2200"/>
                  <a:pt x="7266" y="2199"/>
                </a:cubicBezTo>
                <a:cubicBezTo>
                  <a:pt x="7259" y="2198"/>
                  <a:pt x="7240" y="2224"/>
                  <a:pt x="7235" y="2226"/>
                </a:cubicBezTo>
                <a:cubicBezTo>
                  <a:pt x="7230" y="2228"/>
                  <a:pt x="7218" y="2214"/>
                  <a:pt x="7218" y="2214"/>
                </a:cubicBezTo>
                <a:cubicBezTo>
                  <a:pt x="7218" y="2214"/>
                  <a:pt x="7237" y="2197"/>
                  <a:pt x="7220" y="2189"/>
                </a:cubicBezTo>
                <a:cubicBezTo>
                  <a:pt x="7203" y="2181"/>
                  <a:pt x="7176" y="2200"/>
                  <a:pt x="7170" y="2204"/>
                </a:cubicBezTo>
                <a:cubicBezTo>
                  <a:pt x="7168" y="2205"/>
                  <a:pt x="7166" y="2206"/>
                  <a:pt x="7163" y="2206"/>
                </a:cubicBezTo>
                <a:cubicBezTo>
                  <a:pt x="7163" y="2216"/>
                  <a:pt x="7163" y="2216"/>
                  <a:pt x="7163" y="2216"/>
                </a:cubicBezTo>
                <a:cubicBezTo>
                  <a:pt x="7163" y="2206"/>
                  <a:pt x="7163" y="2206"/>
                  <a:pt x="7163" y="2206"/>
                </a:cubicBezTo>
                <a:cubicBezTo>
                  <a:pt x="7154" y="2206"/>
                  <a:pt x="7143" y="2205"/>
                  <a:pt x="7143" y="2205"/>
                </a:cubicBezTo>
                <a:cubicBezTo>
                  <a:pt x="7134" y="2210"/>
                  <a:pt x="7134" y="2210"/>
                  <a:pt x="7134" y="2210"/>
                </a:cubicBezTo>
                <a:cubicBezTo>
                  <a:pt x="7107" y="2198"/>
                  <a:pt x="7107" y="2198"/>
                  <a:pt x="7107" y="2198"/>
                </a:cubicBezTo>
                <a:cubicBezTo>
                  <a:pt x="7097" y="2200"/>
                  <a:pt x="7097" y="2200"/>
                  <a:pt x="7097" y="2200"/>
                </a:cubicBezTo>
                <a:cubicBezTo>
                  <a:pt x="7097" y="2209"/>
                  <a:pt x="7097" y="2209"/>
                  <a:pt x="7097" y="2209"/>
                </a:cubicBezTo>
                <a:cubicBezTo>
                  <a:pt x="7072" y="2207"/>
                  <a:pt x="7072" y="2207"/>
                  <a:pt x="7072" y="2207"/>
                </a:cubicBezTo>
                <a:cubicBezTo>
                  <a:pt x="7056" y="2195"/>
                  <a:pt x="7056" y="2195"/>
                  <a:pt x="7056" y="2195"/>
                </a:cubicBezTo>
                <a:cubicBezTo>
                  <a:pt x="7052" y="2214"/>
                  <a:pt x="7052" y="2214"/>
                  <a:pt x="7052" y="2214"/>
                </a:cubicBezTo>
                <a:cubicBezTo>
                  <a:pt x="7032" y="2209"/>
                  <a:pt x="7032" y="2209"/>
                  <a:pt x="7032" y="2209"/>
                </a:cubicBezTo>
                <a:cubicBezTo>
                  <a:pt x="7014" y="2224"/>
                  <a:pt x="7014" y="2224"/>
                  <a:pt x="7014" y="2224"/>
                </a:cubicBezTo>
                <a:cubicBezTo>
                  <a:pt x="7014" y="2224"/>
                  <a:pt x="6990" y="2212"/>
                  <a:pt x="6959" y="2213"/>
                </a:cubicBezTo>
                <a:cubicBezTo>
                  <a:pt x="6928" y="2214"/>
                  <a:pt x="6927" y="2221"/>
                  <a:pt x="6913" y="2222"/>
                </a:cubicBezTo>
                <a:cubicBezTo>
                  <a:pt x="6899" y="2223"/>
                  <a:pt x="6873" y="2222"/>
                  <a:pt x="6873" y="2222"/>
                </a:cubicBezTo>
                <a:cubicBezTo>
                  <a:pt x="6870" y="2229"/>
                  <a:pt x="6870" y="2229"/>
                  <a:pt x="6870" y="2229"/>
                </a:cubicBezTo>
                <a:cubicBezTo>
                  <a:pt x="6831" y="2228"/>
                  <a:pt x="6831" y="2228"/>
                  <a:pt x="6831" y="2228"/>
                </a:cubicBezTo>
                <a:cubicBezTo>
                  <a:pt x="6831" y="2228"/>
                  <a:pt x="6784" y="2238"/>
                  <a:pt x="6783" y="2246"/>
                </a:cubicBezTo>
                <a:cubicBezTo>
                  <a:pt x="6782" y="2254"/>
                  <a:pt x="6774" y="2267"/>
                  <a:pt x="6774" y="2267"/>
                </a:cubicBezTo>
                <a:cubicBezTo>
                  <a:pt x="6774" y="2267"/>
                  <a:pt x="6724" y="2269"/>
                  <a:pt x="6722" y="2278"/>
                </a:cubicBezTo>
                <a:cubicBezTo>
                  <a:pt x="6720" y="2287"/>
                  <a:pt x="6698" y="2308"/>
                  <a:pt x="6683" y="2308"/>
                </a:cubicBezTo>
                <a:cubicBezTo>
                  <a:pt x="6681" y="2308"/>
                  <a:pt x="6679" y="2308"/>
                  <a:pt x="6677" y="2307"/>
                </a:cubicBezTo>
                <a:cubicBezTo>
                  <a:pt x="6677" y="2307"/>
                  <a:pt x="6677" y="2307"/>
                  <a:pt x="6677" y="2307"/>
                </a:cubicBezTo>
                <a:cubicBezTo>
                  <a:pt x="6664" y="2304"/>
                  <a:pt x="6652" y="2294"/>
                  <a:pt x="6643" y="2294"/>
                </a:cubicBezTo>
                <a:cubicBezTo>
                  <a:pt x="6633" y="2294"/>
                  <a:pt x="6626" y="2302"/>
                  <a:pt x="6626" y="2302"/>
                </a:cubicBezTo>
                <a:cubicBezTo>
                  <a:pt x="6626" y="2302"/>
                  <a:pt x="6603" y="2297"/>
                  <a:pt x="6595" y="2297"/>
                </a:cubicBezTo>
                <a:cubicBezTo>
                  <a:pt x="6587" y="2297"/>
                  <a:pt x="6579" y="2306"/>
                  <a:pt x="6564" y="2301"/>
                </a:cubicBezTo>
                <a:cubicBezTo>
                  <a:pt x="6549" y="2296"/>
                  <a:pt x="6534" y="2272"/>
                  <a:pt x="6530" y="2270"/>
                </a:cubicBezTo>
                <a:cubicBezTo>
                  <a:pt x="6526" y="2268"/>
                  <a:pt x="6510" y="2268"/>
                  <a:pt x="6510" y="2268"/>
                </a:cubicBezTo>
                <a:cubicBezTo>
                  <a:pt x="6510" y="2268"/>
                  <a:pt x="6499" y="2303"/>
                  <a:pt x="6493" y="2316"/>
                </a:cubicBezTo>
                <a:cubicBezTo>
                  <a:pt x="6487" y="2329"/>
                  <a:pt x="6468" y="2366"/>
                  <a:pt x="6456" y="2375"/>
                </a:cubicBezTo>
                <a:cubicBezTo>
                  <a:pt x="6444" y="2384"/>
                  <a:pt x="6428" y="2380"/>
                  <a:pt x="6423" y="2384"/>
                </a:cubicBezTo>
                <a:cubicBezTo>
                  <a:pt x="6418" y="2388"/>
                  <a:pt x="6407" y="2399"/>
                  <a:pt x="6407" y="2399"/>
                </a:cubicBezTo>
                <a:cubicBezTo>
                  <a:pt x="6395" y="2396"/>
                  <a:pt x="6395" y="2396"/>
                  <a:pt x="6395" y="2396"/>
                </a:cubicBezTo>
                <a:cubicBezTo>
                  <a:pt x="6378" y="2405"/>
                  <a:pt x="6378" y="2405"/>
                  <a:pt x="6378" y="2405"/>
                </a:cubicBezTo>
                <a:cubicBezTo>
                  <a:pt x="6378" y="2405"/>
                  <a:pt x="6373" y="2418"/>
                  <a:pt x="6367" y="2426"/>
                </a:cubicBezTo>
                <a:cubicBezTo>
                  <a:pt x="6367" y="2426"/>
                  <a:pt x="6347" y="2438"/>
                  <a:pt x="6347" y="2442"/>
                </a:cubicBezTo>
                <a:cubicBezTo>
                  <a:pt x="6347" y="2446"/>
                  <a:pt x="6351" y="2460"/>
                  <a:pt x="6344" y="2467"/>
                </a:cubicBezTo>
                <a:cubicBezTo>
                  <a:pt x="6337" y="2474"/>
                  <a:pt x="6320" y="2498"/>
                  <a:pt x="6321" y="2512"/>
                </a:cubicBezTo>
                <a:cubicBezTo>
                  <a:pt x="6322" y="2526"/>
                  <a:pt x="6322" y="2537"/>
                  <a:pt x="6322" y="2537"/>
                </a:cubicBezTo>
                <a:cubicBezTo>
                  <a:pt x="6322" y="2537"/>
                  <a:pt x="6314" y="2541"/>
                  <a:pt x="6314" y="2544"/>
                </a:cubicBezTo>
                <a:cubicBezTo>
                  <a:pt x="6314" y="2547"/>
                  <a:pt x="6329" y="2545"/>
                  <a:pt x="6326" y="2560"/>
                </a:cubicBezTo>
                <a:cubicBezTo>
                  <a:pt x="6323" y="2575"/>
                  <a:pt x="6325" y="2584"/>
                  <a:pt x="6325" y="2584"/>
                </a:cubicBezTo>
                <a:cubicBezTo>
                  <a:pt x="6325" y="2584"/>
                  <a:pt x="6319" y="2578"/>
                  <a:pt x="6310" y="2589"/>
                </a:cubicBezTo>
                <a:cubicBezTo>
                  <a:pt x="6301" y="2600"/>
                  <a:pt x="6294" y="2616"/>
                  <a:pt x="6286" y="2627"/>
                </a:cubicBezTo>
                <a:cubicBezTo>
                  <a:pt x="6278" y="2638"/>
                  <a:pt x="6264" y="2634"/>
                  <a:pt x="6257" y="2644"/>
                </a:cubicBezTo>
                <a:cubicBezTo>
                  <a:pt x="6250" y="2654"/>
                  <a:pt x="6242" y="2666"/>
                  <a:pt x="6236" y="2672"/>
                </a:cubicBezTo>
                <a:cubicBezTo>
                  <a:pt x="6230" y="2678"/>
                  <a:pt x="6192" y="2688"/>
                  <a:pt x="6188" y="2689"/>
                </a:cubicBezTo>
                <a:cubicBezTo>
                  <a:pt x="6184" y="2690"/>
                  <a:pt x="6165" y="2691"/>
                  <a:pt x="6165" y="2691"/>
                </a:cubicBezTo>
                <a:cubicBezTo>
                  <a:pt x="6165" y="2691"/>
                  <a:pt x="6160" y="2697"/>
                  <a:pt x="6156" y="2706"/>
                </a:cubicBezTo>
                <a:cubicBezTo>
                  <a:pt x="6154" y="2709"/>
                  <a:pt x="6152" y="2714"/>
                  <a:pt x="6150" y="2718"/>
                </a:cubicBezTo>
                <a:cubicBezTo>
                  <a:pt x="6145" y="2731"/>
                  <a:pt x="6140" y="2753"/>
                  <a:pt x="6140" y="2753"/>
                </a:cubicBezTo>
                <a:cubicBezTo>
                  <a:pt x="6140" y="2753"/>
                  <a:pt x="6128" y="2763"/>
                  <a:pt x="6124" y="2767"/>
                </a:cubicBezTo>
                <a:cubicBezTo>
                  <a:pt x="6120" y="2771"/>
                  <a:pt x="6104" y="2772"/>
                  <a:pt x="6104" y="2772"/>
                </a:cubicBezTo>
                <a:cubicBezTo>
                  <a:pt x="6104" y="2772"/>
                  <a:pt x="6093" y="2769"/>
                  <a:pt x="6089" y="2778"/>
                </a:cubicBezTo>
                <a:cubicBezTo>
                  <a:pt x="6085" y="2787"/>
                  <a:pt x="6087" y="2803"/>
                  <a:pt x="6087" y="2803"/>
                </a:cubicBezTo>
                <a:cubicBezTo>
                  <a:pt x="6087" y="2803"/>
                  <a:pt x="6068" y="2822"/>
                  <a:pt x="6068" y="2828"/>
                </a:cubicBezTo>
                <a:cubicBezTo>
                  <a:pt x="6068" y="2834"/>
                  <a:pt x="6079" y="2851"/>
                  <a:pt x="6072" y="2864"/>
                </a:cubicBezTo>
                <a:cubicBezTo>
                  <a:pt x="6065" y="2877"/>
                  <a:pt x="6056" y="2877"/>
                  <a:pt x="6056" y="2877"/>
                </a:cubicBezTo>
                <a:cubicBezTo>
                  <a:pt x="6056" y="2877"/>
                  <a:pt x="6047" y="2891"/>
                  <a:pt x="6042" y="2896"/>
                </a:cubicBezTo>
                <a:cubicBezTo>
                  <a:pt x="6037" y="2901"/>
                  <a:pt x="6026" y="2903"/>
                  <a:pt x="6022" y="2907"/>
                </a:cubicBezTo>
                <a:cubicBezTo>
                  <a:pt x="6018" y="2911"/>
                  <a:pt x="6016" y="2918"/>
                  <a:pt x="6016" y="2918"/>
                </a:cubicBezTo>
                <a:cubicBezTo>
                  <a:pt x="6024" y="2922"/>
                  <a:pt x="6024" y="2922"/>
                  <a:pt x="6024" y="2922"/>
                </a:cubicBezTo>
                <a:cubicBezTo>
                  <a:pt x="6024" y="2922"/>
                  <a:pt x="6013" y="2933"/>
                  <a:pt x="6009" y="2943"/>
                </a:cubicBezTo>
                <a:cubicBezTo>
                  <a:pt x="6005" y="2953"/>
                  <a:pt x="6005" y="2965"/>
                  <a:pt x="6005" y="2965"/>
                </a:cubicBezTo>
                <a:cubicBezTo>
                  <a:pt x="5996" y="2965"/>
                  <a:pt x="5996" y="2965"/>
                  <a:pt x="5996" y="2965"/>
                </a:cubicBezTo>
                <a:cubicBezTo>
                  <a:pt x="5996" y="2965"/>
                  <a:pt x="6006" y="2977"/>
                  <a:pt x="5995" y="2987"/>
                </a:cubicBezTo>
                <a:cubicBezTo>
                  <a:pt x="5984" y="2997"/>
                  <a:pt x="5982" y="2992"/>
                  <a:pt x="5982" y="2992"/>
                </a:cubicBezTo>
                <a:cubicBezTo>
                  <a:pt x="5982" y="2992"/>
                  <a:pt x="5965" y="3010"/>
                  <a:pt x="5965" y="3024"/>
                </a:cubicBezTo>
                <a:cubicBezTo>
                  <a:pt x="5965" y="3031"/>
                  <a:pt x="5965" y="3041"/>
                  <a:pt x="5964" y="3049"/>
                </a:cubicBezTo>
                <a:cubicBezTo>
                  <a:pt x="5964" y="3049"/>
                  <a:pt x="5964" y="3049"/>
                  <a:pt x="5964" y="3049"/>
                </a:cubicBezTo>
                <a:cubicBezTo>
                  <a:pt x="5964" y="3056"/>
                  <a:pt x="5964" y="3062"/>
                  <a:pt x="5964" y="3062"/>
                </a:cubicBezTo>
                <a:cubicBezTo>
                  <a:pt x="5964" y="3062"/>
                  <a:pt x="5975" y="3061"/>
                  <a:pt x="5975" y="3066"/>
                </a:cubicBezTo>
                <a:cubicBezTo>
                  <a:pt x="5975" y="3071"/>
                  <a:pt x="5975" y="3084"/>
                  <a:pt x="5979" y="3087"/>
                </a:cubicBezTo>
                <a:cubicBezTo>
                  <a:pt x="5983" y="3090"/>
                  <a:pt x="5988" y="3079"/>
                  <a:pt x="5988" y="3079"/>
                </a:cubicBezTo>
                <a:cubicBezTo>
                  <a:pt x="5996" y="3102"/>
                  <a:pt x="5996" y="3102"/>
                  <a:pt x="5996" y="3102"/>
                </a:cubicBezTo>
                <a:cubicBezTo>
                  <a:pt x="5994" y="3133"/>
                  <a:pt x="5994" y="3133"/>
                  <a:pt x="5994" y="3133"/>
                </a:cubicBezTo>
                <a:cubicBezTo>
                  <a:pt x="5985" y="3133"/>
                  <a:pt x="5985" y="3133"/>
                  <a:pt x="5985" y="3133"/>
                </a:cubicBezTo>
                <a:cubicBezTo>
                  <a:pt x="5988" y="3147"/>
                  <a:pt x="5988" y="3147"/>
                  <a:pt x="5988" y="3147"/>
                </a:cubicBezTo>
                <a:cubicBezTo>
                  <a:pt x="5980" y="3153"/>
                  <a:pt x="5980" y="3153"/>
                  <a:pt x="5980" y="3153"/>
                </a:cubicBezTo>
                <a:cubicBezTo>
                  <a:pt x="5980" y="3153"/>
                  <a:pt x="6003" y="3182"/>
                  <a:pt x="6003" y="3200"/>
                </a:cubicBezTo>
                <a:cubicBezTo>
                  <a:pt x="6003" y="3218"/>
                  <a:pt x="5997" y="3239"/>
                  <a:pt x="5997" y="3239"/>
                </a:cubicBezTo>
                <a:cubicBezTo>
                  <a:pt x="5995" y="3268"/>
                  <a:pt x="5995" y="3268"/>
                  <a:pt x="5995" y="3268"/>
                </a:cubicBezTo>
                <a:cubicBezTo>
                  <a:pt x="5995" y="3268"/>
                  <a:pt x="5979" y="3285"/>
                  <a:pt x="5976" y="3300"/>
                </a:cubicBezTo>
                <a:cubicBezTo>
                  <a:pt x="5974" y="3309"/>
                  <a:pt x="5974" y="3324"/>
                  <a:pt x="5974" y="3335"/>
                </a:cubicBezTo>
                <a:cubicBezTo>
                  <a:pt x="5973" y="3342"/>
                  <a:pt x="5973" y="3348"/>
                  <a:pt x="5973" y="3349"/>
                </a:cubicBezTo>
                <a:cubicBezTo>
                  <a:pt x="5972" y="3352"/>
                  <a:pt x="5962" y="3359"/>
                  <a:pt x="5955" y="3372"/>
                </a:cubicBezTo>
                <a:cubicBezTo>
                  <a:pt x="5948" y="3385"/>
                  <a:pt x="5933" y="3398"/>
                  <a:pt x="5933" y="3398"/>
                </a:cubicBezTo>
                <a:cubicBezTo>
                  <a:pt x="5935" y="3405"/>
                  <a:pt x="5935" y="3405"/>
                  <a:pt x="5935" y="3405"/>
                </a:cubicBezTo>
                <a:cubicBezTo>
                  <a:pt x="5941" y="3404"/>
                  <a:pt x="5941" y="3404"/>
                  <a:pt x="5941" y="3404"/>
                </a:cubicBezTo>
                <a:cubicBezTo>
                  <a:pt x="5941" y="3404"/>
                  <a:pt x="5950" y="3413"/>
                  <a:pt x="5950" y="3420"/>
                </a:cubicBezTo>
                <a:cubicBezTo>
                  <a:pt x="5950" y="3427"/>
                  <a:pt x="5953" y="3433"/>
                  <a:pt x="5953" y="3433"/>
                </a:cubicBezTo>
                <a:cubicBezTo>
                  <a:pt x="5962" y="3441"/>
                  <a:pt x="5962" y="3441"/>
                  <a:pt x="5962" y="3441"/>
                </a:cubicBezTo>
                <a:cubicBezTo>
                  <a:pt x="5962" y="3441"/>
                  <a:pt x="5961" y="3442"/>
                  <a:pt x="5961" y="3449"/>
                </a:cubicBezTo>
                <a:cubicBezTo>
                  <a:pt x="5961" y="3454"/>
                  <a:pt x="5965" y="3458"/>
                  <a:pt x="5967" y="3461"/>
                </a:cubicBezTo>
                <a:cubicBezTo>
                  <a:pt x="5968" y="3462"/>
                  <a:pt x="5969" y="3463"/>
                  <a:pt x="5969" y="3463"/>
                </a:cubicBezTo>
                <a:cubicBezTo>
                  <a:pt x="5969" y="3463"/>
                  <a:pt x="5959" y="3478"/>
                  <a:pt x="5958" y="3485"/>
                </a:cubicBezTo>
                <a:cubicBezTo>
                  <a:pt x="5958" y="3486"/>
                  <a:pt x="5958" y="3486"/>
                  <a:pt x="5958" y="3487"/>
                </a:cubicBezTo>
                <a:cubicBezTo>
                  <a:pt x="5957" y="3494"/>
                  <a:pt x="5957" y="3504"/>
                  <a:pt x="5957" y="3504"/>
                </a:cubicBezTo>
                <a:cubicBezTo>
                  <a:pt x="5951" y="3507"/>
                  <a:pt x="5951" y="3507"/>
                  <a:pt x="5951" y="3507"/>
                </a:cubicBezTo>
                <a:cubicBezTo>
                  <a:pt x="5951" y="3507"/>
                  <a:pt x="5955" y="3528"/>
                  <a:pt x="5964" y="3533"/>
                </a:cubicBezTo>
                <a:cubicBezTo>
                  <a:pt x="5973" y="3538"/>
                  <a:pt x="5983" y="3533"/>
                  <a:pt x="5983" y="3533"/>
                </a:cubicBezTo>
                <a:cubicBezTo>
                  <a:pt x="5979" y="3556"/>
                  <a:pt x="5979" y="3556"/>
                  <a:pt x="5979" y="3556"/>
                </a:cubicBezTo>
                <a:cubicBezTo>
                  <a:pt x="5979" y="3556"/>
                  <a:pt x="5987" y="3564"/>
                  <a:pt x="5994" y="3558"/>
                </a:cubicBezTo>
                <a:cubicBezTo>
                  <a:pt x="6001" y="3552"/>
                  <a:pt x="6025" y="3553"/>
                  <a:pt x="6025" y="3553"/>
                </a:cubicBezTo>
                <a:cubicBezTo>
                  <a:pt x="6042" y="3547"/>
                  <a:pt x="6042" y="3547"/>
                  <a:pt x="6042" y="3547"/>
                </a:cubicBezTo>
                <a:cubicBezTo>
                  <a:pt x="6042" y="3562"/>
                  <a:pt x="6042" y="3562"/>
                  <a:pt x="6042" y="3562"/>
                </a:cubicBezTo>
                <a:cubicBezTo>
                  <a:pt x="6042" y="3562"/>
                  <a:pt x="6018" y="3550"/>
                  <a:pt x="6016" y="3560"/>
                </a:cubicBezTo>
                <a:cubicBezTo>
                  <a:pt x="6014" y="3570"/>
                  <a:pt x="6021" y="3576"/>
                  <a:pt x="6021" y="3576"/>
                </a:cubicBezTo>
                <a:cubicBezTo>
                  <a:pt x="6042" y="3571"/>
                  <a:pt x="6042" y="3571"/>
                  <a:pt x="6042" y="3571"/>
                </a:cubicBezTo>
                <a:cubicBezTo>
                  <a:pt x="6018" y="3583"/>
                  <a:pt x="6018" y="3583"/>
                  <a:pt x="6018" y="3583"/>
                </a:cubicBezTo>
                <a:cubicBezTo>
                  <a:pt x="6037" y="3611"/>
                  <a:pt x="6037" y="3611"/>
                  <a:pt x="6037" y="3611"/>
                </a:cubicBezTo>
                <a:cubicBezTo>
                  <a:pt x="6042" y="3596"/>
                  <a:pt x="6042" y="3596"/>
                  <a:pt x="6042" y="3596"/>
                </a:cubicBezTo>
                <a:cubicBezTo>
                  <a:pt x="6042" y="3596"/>
                  <a:pt x="6046" y="3610"/>
                  <a:pt x="6051" y="3612"/>
                </a:cubicBezTo>
                <a:cubicBezTo>
                  <a:pt x="6056" y="3614"/>
                  <a:pt x="6061" y="3613"/>
                  <a:pt x="6061" y="3613"/>
                </a:cubicBezTo>
                <a:cubicBezTo>
                  <a:pt x="6061" y="3613"/>
                  <a:pt x="6052" y="3637"/>
                  <a:pt x="6067" y="3644"/>
                </a:cubicBezTo>
                <a:cubicBezTo>
                  <a:pt x="6082" y="3651"/>
                  <a:pt x="6087" y="3648"/>
                  <a:pt x="6087" y="3648"/>
                </a:cubicBezTo>
                <a:cubicBezTo>
                  <a:pt x="6087" y="3648"/>
                  <a:pt x="6084" y="3660"/>
                  <a:pt x="6088" y="3664"/>
                </a:cubicBezTo>
                <a:cubicBezTo>
                  <a:pt x="6092" y="3668"/>
                  <a:pt x="6101" y="3659"/>
                  <a:pt x="6101" y="3659"/>
                </a:cubicBezTo>
                <a:cubicBezTo>
                  <a:pt x="6101" y="3659"/>
                  <a:pt x="6105" y="3679"/>
                  <a:pt x="6109" y="3686"/>
                </a:cubicBezTo>
                <a:cubicBezTo>
                  <a:pt x="6113" y="3693"/>
                  <a:pt x="6128" y="3704"/>
                  <a:pt x="6128" y="3704"/>
                </a:cubicBezTo>
                <a:cubicBezTo>
                  <a:pt x="6119" y="3709"/>
                  <a:pt x="6119" y="3709"/>
                  <a:pt x="6119" y="3709"/>
                </a:cubicBezTo>
                <a:cubicBezTo>
                  <a:pt x="6128" y="3716"/>
                  <a:pt x="6128" y="3716"/>
                  <a:pt x="6128" y="3716"/>
                </a:cubicBezTo>
                <a:cubicBezTo>
                  <a:pt x="6128" y="3716"/>
                  <a:pt x="6120" y="3725"/>
                  <a:pt x="6120" y="3734"/>
                </a:cubicBezTo>
                <a:cubicBezTo>
                  <a:pt x="6120" y="3743"/>
                  <a:pt x="6135" y="3753"/>
                  <a:pt x="6135" y="3753"/>
                </a:cubicBezTo>
                <a:cubicBezTo>
                  <a:pt x="6134" y="3771"/>
                  <a:pt x="6134" y="3771"/>
                  <a:pt x="6134" y="3771"/>
                </a:cubicBezTo>
                <a:cubicBezTo>
                  <a:pt x="6148" y="3782"/>
                  <a:pt x="6148" y="3782"/>
                  <a:pt x="6148" y="3782"/>
                </a:cubicBezTo>
                <a:cubicBezTo>
                  <a:pt x="6148" y="3782"/>
                  <a:pt x="6147" y="3789"/>
                  <a:pt x="6156" y="3798"/>
                </a:cubicBezTo>
                <a:cubicBezTo>
                  <a:pt x="6165" y="3807"/>
                  <a:pt x="6184" y="3807"/>
                  <a:pt x="6184" y="3807"/>
                </a:cubicBezTo>
                <a:cubicBezTo>
                  <a:pt x="6204" y="3829"/>
                  <a:pt x="6204" y="3829"/>
                  <a:pt x="6204" y="3829"/>
                </a:cubicBezTo>
                <a:cubicBezTo>
                  <a:pt x="6190" y="3813"/>
                  <a:pt x="6190" y="3813"/>
                  <a:pt x="6190" y="3813"/>
                </a:cubicBezTo>
                <a:cubicBezTo>
                  <a:pt x="6213" y="3839"/>
                  <a:pt x="6213" y="3839"/>
                  <a:pt x="6213" y="3839"/>
                </a:cubicBezTo>
                <a:cubicBezTo>
                  <a:pt x="6230" y="3841"/>
                  <a:pt x="6230" y="3841"/>
                  <a:pt x="6230" y="3841"/>
                </a:cubicBezTo>
                <a:cubicBezTo>
                  <a:pt x="6238" y="3859"/>
                  <a:pt x="6238" y="3859"/>
                  <a:pt x="6238" y="3859"/>
                </a:cubicBezTo>
                <a:cubicBezTo>
                  <a:pt x="6238" y="3859"/>
                  <a:pt x="6256" y="3855"/>
                  <a:pt x="6260" y="3863"/>
                </a:cubicBezTo>
                <a:cubicBezTo>
                  <a:pt x="6264" y="3871"/>
                  <a:pt x="6279" y="3897"/>
                  <a:pt x="6295" y="3911"/>
                </a:cubicBezTo>
                <a:cubicBezTo>
                  <a:pt x="6311" y="3925"/>
                  <a:pt x="6339" y="3932"/>
                  <a:pt x="6346" y="3937"/>
                </a:cubicBezTo>
                <a:cubicBezTo>
                  <a:pt x="6353" y="3942"/>
                  <a:pt x="6370" y="3960"/>
                  <a:pt x="6385" y="3960"/>
                </a:cubicBezTo>
                <a:cubicBezTo>
                  <a:pt x="6386" y="3960"/>
                  <a:pt x="6387" y="3960"/>
                  <a:pt x="6388" y="3960"/>
                </a:cubicBezTo>
                <a:cubicBezTo>
                  <a:pt x="6400" y="3958"/>
                  <a:pt x="6403" y="3948"/>
                  <a:pt x="6403" y="3948"/>
                </a:cubicBezTo>
                <a:cubicBezTo>
                  <a:pt x="6412" y="3948"/>
                  <a:pt x="6412" y="3948"/>
                  <a:pt x="6412" y="3948"/>
                </a:cubicBezTo>
                <a:cubicBezTo>
                  <a:pt x="6422" y="3940"/>
                  <a:pt x="6422" y="3940"/>
                  <a:pt x="6422" y="3940"/>
                </a:cubicBezTo>
                <a:cubicBezTo>
                  <a:pt x="6422" y="3940"/>
                  <a:pt x="6468" y="3915"/>
                  <a:pt x="6488" y="3917"/>
                </a:cubicBezTo>
                <a:cubicBezTo>
                  <a:pt x="6508" y="3919"/>
                  <a:pt x="6515" y="3913"/>
                  <a:pt x="6515" y="3913"/>
                </a:cubicBezTo>
                <a:cubicBezTo>
                  <a:pt x="6515" y="3913"/>
                  <a:pt x="6546" y="3902"/>
                  <a:pt x="6555" y="3907"/>
                </a:cubicBezTo>
                <a:cubicBezTo>
                  <a:pt x="6564" y="3912"/>
                  <a:pt x="6566" y="3917"/>
                  <a:pt x="6573" y="3916"/>
                </a:cubicBezTo>
                <a:cubicBezTo>
                  <a:pt x="6580" y="3915"/>
                  <a:pt x="6593" y="3906"/>
                  <a:pt x="6593" y="3906"/>
                </a:cubicBezTo>
                <a:cubicBezTo>
                  <a:pt x="6593" y="3906"/>
                  <a:pt x="6594" y="3916"/>
                  <a:pt x="6610" y="3923"/>
                </a:cubicBezTo>
                <a:cubicBezTo>
                  <a:pt x="6614" y="3925"/>
                  <a:pt x="6618" y="3926"/>
                  <a:pt x="6622" y="3927"/>
                </a:cubicBezTo>
                <a:cubicBezTo>
                  <a:pt x="6631" y="3929"/>
                  <a:pt x="6637" y="3929"/>
                  <a:pt x="6637" y="3929"/>
                </a:cubicBezTo>
                <a:cubicBezTo>
                  <a:pt x="6637" y="3929"/>
                  <a:pt x="6641" y="3944"/>
                  <a:pt x="6651" y="3940"/>
                </a:cubicBezTo>
                <a:cubicBezTo>
                  <a:pt x="6661" y="3936"/>
                  <a:pt x="6682" y="3918"/>
                  <a:pt x="6689" y="3916"/>
                </a:cubicBezTo>
                <a:cubicBezTo>
                  <a:pt x="6696" y="3914"/>
                  <a:pt x="6707" y="3916"/>
                  <a:pt x="6707" y="3916"/>
                </a:cubicBezTo>
                <a:cubicBezTo>
                  <a:pt x="6707" y="3916"/>
                  <a:pt x="6728" y="3898"/>
                  <a:pt x="6731" y="3897"/>
                </a:cubicBezTo>
                <a:cubicBezTo>
                  <a:pt x="6734" y="3896"/>
                  <a:pt x="6749" y="3893"/>
                  <a:pt x="6749" y="3893"/>
                </a:cubicBezTo>
                <a:cubicBezTo>
                  <a:pt x="6749" y="3893"/>
                  <a:pt x="6755" y="3877"/>
                  <a:pt x="6763" y="3878"/>
                </a:cubicBezTo>
                <a:cubicBezTo>
                  <a:pt x="6771" y="3879"/>
                  <a:pt x="6777" y="3887"/>
                  <a:pt x="6786" y="3882"/>
                </a:cubicBezTo>
                <a:cubicBezTo>
                  <a:pt x="6791" y="3879"/>
                  <a:pt x="6797" y="3873"/>
                  <a:pt x="6803" y="3868"/>
                </a:cubicBezTo>
                <a:cubicBezTo>
                  <a:pt x="6808" y="3862"/>
                  <a:pt x="6814" y="3858"/>
                  <a:pt x="6820" y="3857"/>
                </a:cubicBezTo>
                <a:cubicBezTo>
                  <a:pt x="6824" y="3856"/>
                  <a:pt x="6828" y="3856"/>
                  <a:pt x="6833" y="3856"/>
                </a:cubicBezTo>
                <a:cubicBezTo>
                  <a:pt x="6833" y="3856"/>
                  <a:pt x="6833" y="3856"/>
                  <a:pt x="6833" y="3856"/>
                </a:cubicBezTo>
                <a:cubicBezTo>
                  <a:pt x="6844" y="3857"/>
                  <a:pt x="6856" y="3859"/>
                  <a:pt x="6856" y="3859"/>
                </a:cubicBezTo>
                <a:cubicBezTo>
                  <a:pt x="6864" y="3845"/>
                  <a:pt x="6864" y="3845"/>
                  <a:pt x="6864" y="3845"/>
                </a:cubicBezTo>
                <a:cubicBezTo>
                  <a:pt x="6864" y="3845"/>
                  <a:pt x="6868" y="3847"/>
                  <a:pt x="6874" y="3850"/>
                </a:cubicBezTo>
                <a:cubicBezTo>
                  <a:pt x="6881" y="3853"/>
                  <a:pt x="6891" y="3856"/>
                  <a:pt x="6897" y="3854"/>
                </a:cubicBezTo>
                <a:cubicBezTo>
                  <a:pt x="6908" y="3850"/>
                  <a:pt x="6918" y="3842"/>
                  <a:pt x="6918" y="3842"/>
                </a:cubicBezTo>
                <a:cubicBezTo>
                  <a:pt x="6921" y="3849"/>
                  <a:pt x="6921" y="3849"/>
                  <a:pt x="6921" y="3849"/>
                </a:cubicBezTo>
                <a:cubicBezTo>
                  <a:pt x="6921" y="3849"/>
                  <a:pt x="6954" y="3842"/>
                  <a:pt x="6970" y="3861"/>
                </a:cubicBezTo>
                <a:cubicBezTo>
                  <a:pt x="6986" y="3880"/>
                  <a:pt x="6987" y="3889"/>
                  <a:pt x="6987" y="3889"/>
                </a:cubicBezTo>
                <a:cubicBezTo>
                  <a:pt x="7001" y="3888"/>
                  <a:pt x="7001" y="3888"/>
                  <a:pt x="7001" y="3888"/>
                </a:cubicBezTo>
                <a:cubicBezTo>
                  <a:pt x="7001" y="3888"/>
                  <a:pt x="6991" y="3903"/>
                  <a:pt x="6994" y="3904"/>
                </a:cubicBezTo>
                <a:cubicBezTo>
                  <a:pt x="6997" y="3905"/>
                  <a:pt x="7007" y="3898"/>
                  <a:pt x="7007" y="3901"/>
                </a:cubicBezTo>
                <a:cubicBezTo>
                  <a:pt x="7007" y="3904"/>
                  <a:pt x="7002" y="3912"/>
                  <a:pt x="7002" y="3920"/>
                </a:cubicBezTo>
                <a:cubicBezTo>
                  <a:pt x="7002" y="3928"/>
                  <a:pt x="7010" y="3957"/>
                  <a:pt x="7031" y="3958"/>
                </a:cubicBezTo>
                <a:cubicBezTo>
                  <a:pt x="7052" y="3959"/>
                  <a:pt x="7065" y="3957"/>
                  <a:pt x="7065" y="3957"/>
                </a:cubicBezTo>
                <a:cubicBezTo>
                  <a:pt x="7068" y="3939"/>
                  <a:pt x="7068" y="3939"/>
                  <a:pt x="7068" y="3939"/>
                </a:cubicBezTo>
                <a:cubicBezTo>
                  <a:pt x="7086" y="3949"/>
                  <a:pt x="7086" y="3949"/>
                  <a:pt x="7086" y="3949"/>
                </a:cubicBezTo>
                <a:cubicBezTo>
                  <a:pt x="7102" y="3944"/>
                  <a:pt x="7102" y="3944"/>
                  <a:pt x="7102" y="3944"/>
                </a:cubicBezTo>
                <a:cubicBezTo>
                  <a:pt x="7111" y="3953"/>
                  <a:pt x="7111" y="3953"/>
                  <a:pt x="7111" y="3953"/>
                </a:cubicBezTo>
                <a:cubicBezTo>
                  <a:pt x="7139" y="3952"/>
                  <a:pt x="7139" y="3952"/>
                  <a:pt x="7139" y="3952"/>
                </a:cubicBezTo>
                <a:cubicBezTo>
                  <a:pt x="7139" y="3936"/>
                  <a:pt x="7139" y="3936"/>
                  <a:pt x="7139" y="3936"/>
                </a:cubicBezTo>
                <a:cubicBezTo>
                  <a:pt x="7156" y="3935"/>
                  <a:pt x="7156" y="3935"/>
                  <a:pt x="7156" y="3935"/>
                </a:cubicBezTo>
                <a:cubicBezTo>
                  <a:pt x="7155" y="3938"/>
                  <a:pt x="7155" y="3938"/>
                  <a:pt x="7155" y="3938"/>
                </a:cubicBezTo>
                <a:cubicBezTo>
                  <a:pt x="7151" y="3947"/>
                  <a:pt x="7151" y="3947"/>
                  <a:pt x="7151" y="3947"/>
                </a:cubicBezTo>
                <a:cubicBezTo>
                  <a:pt x="7169" y="3944"/>
                  <a:pt x="7169" y="3944"/>
                  <a:pt x="7169" y="3944"/>
                </a:cubicBezTo>
                <a:cubicBezTo>
                  <a:pt x="7169" y="3944"/>
                  <a:pt x="7168" y="3966"/>
                  <a:pt x="7178" y="3975"/>
                </a:cubicBezTo>
                <a:cubicBezTo>
                  <a:pt x="7188" y="3984"/>
                  <a:pt x="7195" y="3986"/>
                  <a:pt x="7195" y="3986"/>
                </a:cubicBezTo>
                <a:cubicBezTo>
                  <a:pt x="7209" y="3973"/>
                  <a:pt x="7209" y="3973"/>
                  <a:pt x="7209" y="3973"/>
                </a:cubicBezTo>
                <a:cubicBezTo>
                  <a:pt x="7196" y="3993"/>
                  <a:pt x="7196" y="3993"/>
                  <a:pt x="7196" y="3993"/>
                </a:cubicBezTo>
                <a:cubicBezTo>
                  <a:pt x="7208" y="4011"/>
                  <a:pt x="7208" y="4011"/>
                  <a:pt x="7208" y="4011"/>
                </a:cubicBezTo>
                <a:cubicBezTo>
                  <a:pt x="7221" y="4016"/>
                  <a:pt x="7221" y="4016"/>
                  <a:pt x="7221" y="4016"/>
                </a:cubicBezTo>
                <a:cubicBezTo>
                  <a:pt x="7219" y="4046"/>
                  <a:pt x="7219" y="4046"/>
                  <a:pt x="7219" y="4046"/>
                </a:cubicBezTo>
                <a:cubicBezTo>
                  <a:pt x="7212" y="4048"/>
                  <a:pt x="7212" y="4048"/>
                  <a:pt x="7212" y="4048"/>
                </a:cubicBezTo>
                <a:cubicBezTo>
                  <a:pt x="7213" y="4069"/>
                  <a:pt x="7213" y="4069"/>
                  <a:pt x="7213" y="4069"/>
                </a:cubicBezTo>
                <a:cubicBezTo>
                  <a:pt x="7207" y="4072"/>
                  <a:pt x="7207" y="4072"/>
                  <a:pt x="7207" y="4072"/>
                </a:cubicBezTo>
                <a:cubicBezTo>
                  <a:pt x="7207" y="4072"/>
                  <a:pt x="7211" y="4090"/>
                  <a:pt x="7206" y="4098"/>
                </a:cubicBezTo>
                <a:cubicBezTo>
                  <a:pt x="7201" y="4106"/>
                  <a:pt x="7183" y="4119"/>
                  <a:pt x="7187" y="4126"/>
                </a:cubicBezTo>
                <a:cubicBezTo>
                  <a:pt x="7190" y="4132"/>
                  <a:pt x="7200" y="4135"/>
                  <a:pt x="7204" y="4136"/>
                </a:cubicBezTo>
                <a:cubicBezTo>
                  <a:pt x="7212" y="4134"/>
                  <a:pt x="7212" y="4134"/>
                  <a:pt x="7212" y="4134"/>
                </a:cubicBezTo>
                <a:cubicBezTo>
                  <a:pt x="7204" y="4136"/>
                  <a:pt x="7204" y="4136"/>
                  <a:pt x="7204" y="4136"/>
                </a:cubicBezTo>
                <a:cubicBezTo>
                  <a:pt x="7205" y="4137"/>
                  <a:pt x="7206" y="4137"/>
                  <a:pt x="7206" y="4137"/>
                </a:cubicBezTo>
                <a:cubicBezTo>
                  <a:pt x="7198" y="4142"/>
                  <a:pt x="7198" y="4142"/>
                  <a:pt x="7198" y="4142"/>
                </a:cubicBezTo>
                <a:cubicBezTo>
                  <a:pt x="7198" y="4142"/>
                  <a:pt x="7207" y="4170"/>
                  <a:pt x="7203" y="4172"/>
                </a:cubicBezTo>
                <a:cubicBezTo>
                  <a:pt x="7199" y="4174"/>
                  <a:pt x="7188" y="4172"/>
                  <a:pt x="7188" y="4172"/>
                </a:cubicBezTo>
                <a:cubicBezTo>
                  <a:pt x="7188" y="4172"/>
                  <a:pt x="7191" y="4213"/>
                  <a:pt x="7181" y="4224"/>
                </a:cubicBezTo>
                <a:cubicBezTo>
                  <a:pt x="7171" y="4235"/>
                  <a:pt x="7158" y="4231"/>
                  <a:pt x="7158" y="4231"/>
                </a:cubicBezTo>
                <a:cubicBezTo>
                  <a:pt x="7175" y="4268"/>
                  <a:pt x="7175" y="4268"/>
                  <a:pt x="7175" y="4268"/>
                </a:cubicBezTo>
                <a:cubicBezTo>
                  <a:pt x="7186" y="4260"/>
                  <a:pt x="7186" y="4260"/>
                  <a:pt x="7186" y="4260"/>
                </a:cubicBezTo>
                <a:cubicBezTo>
                  <a:pt x="7192" y="4273"/>
                  <a:pt x="7192" y="4273"/>
                  <a:pt x="7192" y="4273"/>
                </a:cubicBezTo>
                <a:cubicBezTo>
                  <a:pt x="7192" y="4273"/>
                  <a:pt x="7183" y="4286"/>
                  <a:pt x="7185" y="4293"/>
                </a:cubicBezTo>
                <a:cubicBezTo>
                  <a:pt x="7187" y="4300"/>
                  <a:pt x="7200" y="4297"/>
                  <a:pt x="7200" y="4297"/>
                </a:cubicBezTo>
                <a:cubicBezTo>
                  <a:pt x="7204" y="4324"/>
                  <a:pt x="7204" y="4324"/>
                  <a:pt x="7204" y="4324"/>
                </a:cubicBezTo>
                <a:cubicBezTo>
                  <a:pt x="7224" y="4328"/>
                  <a:pt x="7224" y="4328"/>
                  <a:pt x="7224" y="4328"/>
                </a:cubicBezTo>
                <a:cubicBezTo>
                  <a:pt x="7219" y="4336"/>
                  <a:pt x="7219" y="4336"/>
                  <a:pt x="7219" y="4336"/>
                </a:cubicBezTo>
                <a:cubicBezTo>
                  <a:pt x="7252" y="4371"/>
                  <a:pt x="7252" y="4371"/>
                  <a:pt x="7252" y="4371"/>
                </a:cubicBezTo>
                <a:cubicBezTo>
                  <a:pt x="7249" y="4376"/>
                  <a:pt x="7249" y="4376"/>
                  <a:pt x="7249" y="4376"/>
                </a:cubicBezTo>
                <a:cubicBezTo>
                  <a:pt x="7271" y="4403"/>
                  <a:pt x="7271" y="4403"/>
                  <a:pt x="7271" y="4403"/>
                </a:cubicBezTo>
                <a:cubicBezTo>
                  <a:pt x="7272" y="4404"/>
                  <a:pt x="7272" y="4404"/>
                  <a:pt x="7272" y="4404"/>
                </a:cubicBezTo>
                <a:cubicBezTo>
                  <a:pt x="7308" y="4435"/>
                  <a:pt x="7308" y="4435"/>
                  <a:pt x="7308" y="4435"/>
                </a:cubicBezTo>
                <a:cubicBezTo>
                  <a:pt x="7309" y="4447"/>
                  <a:pt x="7309" y="4447"/>
                  <a:pt x="7309" y="4447"/>
                </a:cubicBezTo>
                <a:cubicBezTo>
                  <a:pt x="7321" y="4463"/>
                  <a:pt x="7321" y="4463"/>
                  <a:pt x="7321" y="4463"/>
                </a:cubicBezTo>
                <a:cubicBezTo>
                  <a:pt x="7325" y="4501"/>
                  <a:pt x="7325" y="4501"/>
                  <a:pt x="7325" y="4501"/>
                </a:cubicBezTo>
                <a:cubicBezTo>
                  <a:pt x="7325" y="4501"/>
                  <a:pt x="7326" y="4502"/>
                  <a:pt x="7327" y="4503"/>
                </a:cubicBezTo>
                <a:cubicBezTo>
                  <a:pt x="7331" y="4501"/>
                  <a:pt x="7334" y="4499"/>
                  <a:pt x="7337" y="4497"/>
                </a:cubicBezTo>
                <a:cubicBezTo>
                  <a:pt x="7334" y="4499"/>
                  <a:pt x="7331" y="4501"/>
                  <a:pt x="7327" y="4503"/>
                </a:cubicBezTo>
                <a:cubicBezTo>
                  <a:pt x="7331" y="4506"/>
                  <a:pt x="7338" y="4513"/>
                  <a:pt x="7339" y="4518"/>
                </a:cubicBezTo>
                <a:cubicBezTo>
                  <a:pt x="7339" y="4519"/>
                  <a:pt x="7339" y="4520"/>
                  <a:pt x="7338" y="4521"/>
                </a:cubicBezTo>
                <a:cubicBezTo>
                  <a:pt x="7332" y="4525"/>
                  <a:pt x="7327" y="4526"/>
                  <a:pt x="7327" y="4526"/>
                </a:cubicBezTo>
                <a:cubicBezTo>
                  <a:pt x="7327" y="4526"/>
                  <a:pt x="7340" y="4545"/>
                  <a:pt x="7343" y="4552"/>
                </a:cubicBezTo>
                <a:cubicBezTo>
                  <a:pt x="7346" y="4559"/>
                  <a:pt x="7355" y="4562"/>
                  <a:pt x="7355" y="4562"/>
                </a:cubicBezTo>
                <a:cubicBezTo>
                  <a:pt x="7351" y="4581"/>
                  <a:pt x="7351" y="4581"/>
                  <a:pt x="7351" y="4581"/>
                </a:cubicBezTo>
                <a:cubicBezTo>
                  <a:pt x="7351" y="4581"/>
                  <a:pt x="7383" y="4618"/>
                  <a:pt x="7380" y="4645"/>
                </a:cubicBezTo>
                <a:cubicBezTo>
                  <a:pt x="7377" y="4672"/>
                  <a:pt x="7364" y="4678"/>
                  <a:pt x="7364" y="4678"/>
                </a:cubicBezTo>
                <a:cubicBezTo>
                  <a:pt x="7363" y="4695"/>
                  <a:pt x="7363" y="4695"/>
                  <a:pt x="7363" y="4695"/>
                </a:cubicBezTo>
                <a:cubicBezTo>
                  <a:pt x="7370" y="4694"/>
                  <a:pt x="7370" y="4694"/>
                  <a:pt x="7370" y="4694"/>
                </a:cubicBezTo>
                <a:cubicBezTo>
                  <a:pt x="7370" y="4694"/>
                  <a:pt x="7366" y="4717"/>
                  <a:pt x="7380" y="4738"/>
                </a:cubicBezTo>
                <a:cubicBezTo>
                  <a:pt x="7394" y="4759"/>
                  <a:pt x="7406" y="4797"/>
                  <a:pt x="7403" y="4812"/>
                </a:cubicBezTo>
                <a:cubicBezTo>
                  <a:pt x="7400" y="4827"/>
                  <a:pt x="7389" y="4844"/>
                  <a:pt x="7389" y="4844"/>
                </a:cubicBezTo>
                <a:cubicBezTo>
                  <a:pt x="7389" y="4844"/>
                  <a:pt x="7396" y="4860"/>
                  <a:pt x="7388" y="4866"/>
                </a:cubicBezTo>
                <a:cubicBezTo>
                  <a:pt x="7380" y="4872"/>
                  <a:pt x="7367" y="4870"/>
                  <a:pt x="7367" y="4870"/>
                </a:cubicBezTo>
                <a:cubicBezTo>
                  <a:pt x="7361" y="4884"/>
                  <a:pt x="7361" y="4884"/>
                  <a:pt x="7361" y="4884"/>
                </a:cubicBezTo>
                <a:cubicBezTo>
                  <a:pt x="7363" y="4899"/>
                  <a:pt x="7363" y="4899"/>
                  <a:pt x="7363" y="4899"/>
                </a:cubicBezTo>
                <a:cubicBezTo>
                  <a:pt x="7363" y="4899"/>
                  <a:pt x="7338" y="4896"/>
                  <a:pt x="7339" y="4908"/>
                </a:cubicBezTo>
                <a:cubicBezTo>
                  <a:pt x="7340" y="4920"/>
                  <a:pt x="7336" y="4938"/>
                  <a:pt x="7336" y="4938"/>
                </a:cubicBezTo>
                <a:cubicBezTo>
                  <a:pt x="7329" y="4948"/>
                  <a:pt x="7329" y="4948"/>
                  <a:pt x="7329" y="4948"/>
                </a:cubicBezTo>
                <a:cubicBezTo>
                  <a:pt x="7329" y="4948"/>
                  <a:pt x="7333" y="4980"/>
                  <a:pt x="7330" y="4990"/>
                </a:cubicBezTo>
                <a:cubicBezTo>
                  <a:pt x="7327" y="5000"/>
                  <a:pt x="7316" y="5003"/>
                  <a:pt x="7316" y="5003"/>
                </a:cubicBezTo>
                <a:cubicBezTo>
                  <a:pt x="7316" y="5030"/>
                  <a:pt x="7316" y="5030"/>
                  <a:pt x="7316" y="5030"/>
                </a:cubicBezTo>
                <a:cubicBezTo>
                  <a:pt x="7301" y="5042"/>
                  <a:pt x="7301" y="5042"/>
                  <a:pt x="7301" y="5042"/>
                </a:cubicBezTo>
                <a:cubicBezTo>
                  <a:pt x="7301" y="5069"/>
                  <a:pt x="7301" y="5069"/>
                  <a:pt x="7301" y="5069"/>
                </a:cubicBezTo>
                <a:cubicBezTo>
                  <a:pt x="7308" y="5078"/>
                  <a:pt x="7308" y="5078"/>
                  <a:pt x="7308" y="5078"/>
                </a:cubicBezTo>
                <a:cubicBezTo>
                  <a:pt x="7295" y="5093"/>
                  <a:pt x="7295" y="5093"/>
                  <a:pt x="7295" y="5093"/>
                </a:cubicBezTo>
                <a:cubicBezTo>
                  <a:pt x="7298" y="5120"/>
                  <a:pt x="7298" y="5120"/>
                  <a:pt x="7298" y="5120"/>
                </a:cubicBezTo>
                <a:cubicBezTo>
                  <a:pt x="7302" y="5166"/>
                  <a:pt x="7302" y="5166"/>
                  <a:pt x="7302" y="5166"/>
                </a:cubicBezTo>
                <a:cubicBezTo>
                  <a:pt x="7302" y="5166"/>
                  <a:pt x="7311" y="5183"/>
                  <a:pt x="7320" y="5196"/>
                </a:cubicBezTo>
                <a:cubicBezTo>
                  <a:pt x="7329" y="5209"/>
                  <a:pt x="7362" y="5257"/>
                  <a:pt x="7363" y="5274"/>
                </a:cubicBezTo>
                <a:cubicBezTo>
                  <a:pt x="7364" y="5291"/>
                  <a:pt x="7377" y="5308"/>
                  <a:pt x="7381" y="5321"/>
                </a:cubicBezTo>
                <a:cubicBezTo>
                  <a:pt x="7385" y="5334"/>
                  <a:pt x="7400" y="5349"/>
                  <a:pt x="7400" y="5349"/>
                </a:cubicBezTo>
                <a:cubicBezTo>
                  <a:pt x="7400" y="5363"/>
                  <a:pt x="7400" y="5363"/>
                  <a:pt x="7400" y="5363"/>
                </a:cubicBezTo>
                <a:cubicBezTo>
                  <a:pt x="7400" y="5363"/>
                  <a:pt x="7429" y="5384"/>
                  <a:pt x="7429" y="5400"/>
                </a:cubicBezTo>
                <a:cubicBezTo>
                  <a:pt x="7429" y="5416"/>
                  <a:pt x="7427" y="5490"/>
                  <a:pt x="7427" y="5490"/>
                </a:cubicBezTo>
                <a:cubicBezTo>
                  <a:pt x="7427" y="5490"/>
                  <a:pt x="7442" y="5515"/>
                  <a:pt x="7444" y="5535"/>
                </a:cubicBezTo>
                <a:cubicBezTo>
                  <a:pt x="7446" y="5555"/>
                  <a:pt x="7438" y="5555"/>
                  <a:pt x="7438" y="5555"/>
                </a:cubicBezTo>
                <a:cubicBezTo>
                  <a:pt x="7447" y="5588"/>
                  <a:pt x="7447" y="5588"/>
                  <a:pt x="7447" y="5588"/>
                </a:cubicBezTo>
                <a:cubicBezTo>
                  <a:pt x="7449" y="5612"/>
                  <a:pt x="7449" y="5612"/>
                  <a:pt x="7449" y="5612"/>
                </a:cubicBezTo>
                <a:cubicBezTo>
                  <a:pt x="7457" y="5612"/>
                  <a:pt x="7457" y="5612"/>
                  <a:pt x="7457" y="5612"/>
                </a:cubicBezTo>
                <a:cubicBezTo>
                  <a:pt x="7457" y="5612"/>
                  <a:pt x="7454" y="5632"/>
                  <a:pt x="7455" y="5636"/>
                </a:cubicBezTo>
                <a:cubicBezTo>
                  <a:pt x="7456" y="5640"/>
                  <a:pt x="7466" y="5648"/>
                  <a:pt x="7466" y="5648"/>
                </a:cubicBezTo>
                <a:cubicBezTo>
                  <a:pt x="7467" y="5667"/>
                  <a:pt x="7467" y="5667"/>
                  <a:pt x="7467" y="5667"/>
                </a:cubicBezTo>
                <a:cubicBezTo>
                  <a:pt x="7467" y="5667"/>
                  <a:pt x="7482" y="5699"/>
                  <a:pt x="7488" y="5710"/>
                </a:cubicBezTo>
                <a:cubicBezTo>
                  <a:pt x="7494" y="5721"/>
                  <a:pt x="7514" y="5728"/>
                  <a:pt x="7514" y="5728"/>
                </a:cubicBezTo>
                <a:cubicBezTo>
                  <a:pt x="7514" y="5728"/>
                  <a:pt x="7521" y="5751"/>
                  <a:pt x="7525" y="5755"/>
                </a:cubicBezTo>
                <a:cubicBezTo>
                  <a:pt x="7529" y="5759"/>
                  <a:pt x="7545" y="5777"/>
                  <a:pt x="7545" y="5790"/>
                </a:cubicBezTo>
                <a:cubicBezTo>
                  <a:pt x="7545" y="5803"/>
                  <a:pt x="7542" y="5829"/>
                  <a:pt x="7552" y="5844"/>
                </a:cubicBezTo>
                <a:cubicBezTo>
                  <a:pt x="7562" y="5859"/>
                  <a:pt x="7597" y="5892"/>
                  <a:pt x="7597" y="5906"/>
                </a:cubicBezTo>
                <a:cubicBezTo>
                  <a:pt x="7597" y="5920"/>
                  <a:pt x="7596" y="5947"/>
                  <a:pt x="7592" y="5951"/>
                </a:cubicBezTo>
                <a:cubicBezTo>
                  <a:pt x="7588" y="5955"/>
                  <a:pt x="7576" y="5947"/>
                  <a:pt x="7575" y="5955"/>
                </a:cubicBezTo>
                <a:cubicBezTo>
                  <a:pt x="7574" y="5963"/>
                  <a:pt x="7577" y="5971"/>
                  <a:pt x="7587" y="5988"/>
                </a:cubicBezTo>
                <a:cubicBezTo>
                  <a:pt x="7597" y="6005"/>
                  <a:pt x="7589" y="6024"/>
                  <a:pt x="7595" y="6032"/>
                </a:cubicBezTo>
                <a:cubicBezTo>
                  <a:pt x="7601" y="6040"/>
                  <a:pt x="7598" y="6029"/>
                  <a:pt x="7604" y="6026"/>
                </a:cubicBezTo>
                <a:cubicBezTo>
                  <a:pt x="7610" y="6023"/>
                  <a:pt x="7617" y="6033"/>
                  <a:pt x="7617" y="6033"/>
                </a:cubicBezTo>
                <a:cubicBezTo>
                  <a:pt x="7635" y="6039"/>
                  <a:pt x="7635" y="6039"/>
                  <a:pt x="7635" y="6039"/>
                </a:cubicBezTo>
                <a:cubicBezTo>
                  <a:pt x="7635" y="6039"/>
                  <a:pt x="7640" y="6065"/>
                  <a:pt x="7659" y="6062"/>
                </a:cubicBezTo>
                <a:cubicBezTo>
                  <a:pt x="7678" y="6059"/>
                  <a:pt x="7679" y="6045"/>
                  <a:pt x="7691" y="6041"/>
                </a:cubicBezTo>
                <a:cubicBezTo>
                  <a:pt x="7703" y="6037"/>
                  <a:pt x="7738" y="6048"/>
                  <a:pt x="7747" y="6045"/>
                </a:cubicBezTo>
                <a:cubicBezTo>
                  <a:pt x="7756" y="6042"/>
                  <a:pt x="7752" y="6021"/>
                  <a:pt x="7775" y="6021"/>
                </a:cubicBezTo>
                <a:cubicBezTo>
                  <a:pt x="7798" y="6021"/>
                  <a:pt x="7806" y="6029"/>
                  <a:pt x="7806" y="6029"/>
                </a:cubicBezTo>
                <a:cubicBezTo>
                  <a:pt x="7806" y="6029"/>
                  <a:pt x="7817" y="6018"/>
                  <a:pt x="7840" y="6019"/>
                </a:cubicBezTo>
                <a:cubicBezTo>
                  <a:pt x="7863" y="6020"/>
                  <a:pt x="7875" y="6030"/>
                  <a:pt x="7880" y="6029"/>
                </a:cubicBezTo>
                <a:cubicBezTo>
                  <a:pt x="7885" y="6028"/>
                  <a:pt x="7897" y="6018"/>
                  <a:pt x="7897" y="6018"/>
                </a:cubicBezTo>
                <a:cubicBezTo>
                  <a:pt x="7897" y="6018"/>
                  <a:pt x="7911" y="6025"/>
                  <a:pt x="7920" y="6020"/>
                </a:cubicBezTo>
                <a:cubicBezTo>
                  <a:pt x="7929" y="6015"/>
                  <a:pt x="7941" y="6007"/>
                  <a:pt x="7941" y="6007"/>
                </a:cubicBezTo>
                <a:cubicBezTo>
                  <a:pt x="7941" y="6007"/>
                  <a:pt x="7965" y="6015"/>
                  <a:pt x="7987" y="6000"/>
                </a:cubicBezTo>
                <a:cubicBezTo>
                  <a:pt x="8009" y="5985"/>
                  <a:pt x="8039" y="5956"/>
                  <a:pt x="8039" y="5956"/>
                </a:cubicBezTo>
                <a:cubicBezTo>
                  <a:pt x="8052" y="5948"/>
                  <a:pt x="8052" y="5948"/>
                  <a:pt x="8052" y="5948"/>
                </a:cubicBezTo>
                <a:cubicBezTo>
                  <a:pt x="8114" y="5882"/>
                  <a:pt x="8114" y="5882"/>
                  <a:pt x="8114" y="5882"/>
                </a:cubicBezTo>
                <a:cubicBezTo>
                  <a:pt x="8129" y="5883"/>
                  <a:pt x="8129" y="5883"/>
                  <a:pt x="8129" y="5883"/>
                </a:cubicBezTo>
                <a:cubicBezTo>
                  <a:pt x="8129" y="5883"/>
                  <a:pt x="8166" y="5832"/>
                  <a:pt x="8170" y="5818"/>
                </a:cubicBezTo>
                <a:cubicBezTo>
                  <a:pt x="8174" y="5804"/>
                  <a:pt x="8191" y="5768"/>
                  <a:pt x="8200" y="5762"/>
                </a:cubicBezTo>
                <a:cubicBezTo>
                  <a:pt x="8209" y="5756"/>
                  <a:pt x="8240" y="5743"/>
                  <a:pt x="8243" y="5732"/>
                </a:cubicBezTo>
                <a:cubicBezTo>
                  <a:pt x="8246" y="5721"/>
                  <a:pt x="8262" y="5680"/>
                  <a:pt x="8262" y="5680"/>
                </a:cubicBezTo>
                <a:cubicBezTo>
                  <a:pt x="8262" y="5680"/>
                  <a:pt x="8268" y="5663"/>
                  <a:pt x="8273" y="5647"/>
                </a:cubicBezTo>
                <a:cubicBezTo>
                  <a:pt x="8275" y="5639"/>
                  <a:pt x="8277" y="5632"/>
                  <a:pt x="8277" y="5627"/>
                </a:cubicBezTo>
                <a:cubicBezTo>
                  <a:pt x="8278" y="5612"/>
                  <a:pt x="8269" y="5601"/>
                  <a:pt x="8269" y="5601"/>
                </a:cubicBezTo>
                <a:cubicBezTo>
                  <a:pt x="8269" y="5601"/>
                  <a:pt x="8250" y="5595"/>
                  <a:pt x="8271" y="5575"/>
                </a:cubicBezTo>
                <a:cubicBezTo>
                  <a:pt x="8292" y="5555"/>
                  <a:pt x="8327" y="5541"/>
                  <a:pt x="8348" y="5529"/>
                </a:cubicBezTo>
                <a:cubicBezTo>
                  <a:pt x="8369" y="5517"/>
                  <a:pt x="8404" y="5500"/>
                  <a:pt x="8404" y="5491"/>
                </a:cubicBezTo>
                <a:cubicBezTo>
                  <a:pt x="8404" y="5482"/>
                  <a:pt x="8404" y="5474"/>
                  <a:pt x="8404" y="5474"/>
                </a:cubicBezTo>
                <a:cubicBezTo>
                  <a:pt x="8404" y="5474"/>
                  <a:pt x="8393" y="5483"/>
                  <a:pt x="8392" y="5469"/>
                </a:cubicBezTo>
                <a:cubicBezTo>
                  <a:pt x="8391" y="5455"/>
                  <a:pt x="8411" y="5440"/>
                  <a:pt x="8409" y="5430"/>
                </a:cubicBezTo>
                <a:cubicBezTo>
                  <a:pt x="8407" y="5420"/>
                  <a:pt x="8403" y="5406"/>
                  <a:pt x="8403" y="5406"/>
                </a:cubicBezTo>
                <a:cubicBezTo>
                  <a:pt x="8410" y="5387"/>
                  <a:pt x="8410" y="5387"/>
                  <a:pt x="8410" y="5387"/>
                </a:cubicBezTo>
                <a:cubicBezTo>
                  <a:pt x="8408" y="5382"/>
                  <a:pt x="8408" y="5382"/>
                  <a:pt x="8408" y="5382"/>
                </a:cubicBezTo>
                <a:cubicBezTo>
                  <a:pt x="8397" y="5395"/>
                  <a:pt x="8397" y="5395"/>
                  <a:pt x="8397" y="5395"/>
                </a:cubicBezTo>
                <a:cubicBezTo>
                  <a:pt x="8400" y="5368"/>
                  <a:pt x="8400" y="5368"/>
                  <a:pt x="8400" y="5368"/>
                </a:cubicBezTo>
                <a:cubicBezTo>
                  <a:pt x="8400" y="5368"/>
                  <a:pt x="8385" y="5353"/>
                  <a:pt x="8384" y="5343"/>
                </a:cubicBezTo>
                <a:cubicBezTo>
                  <a:pt x="8383" y="5333"/>
                  <a:pt x="8392" y="5323"/>
                  <a:pt x="8387" y="5311"/>
                </a:cubicBezTo>
                <a:cubicBezTo>
                  <a:pt x="8382" y="5299"/>
                  <a:pt x="8370" y="5310"/>
                  <a:pt x="8370" y="5297"/>
                </a:cubicBezTo>
                <a:cubicBezTo>
                  <a:pt x="8370" y="5284"/>
                  <a:pt x="8381" y="5263"/>
                  <a:pt x="8384" y="5259"/>
                </a:cubicBezTo>
                <a:cubicBezTo>
                  <a:pt x="8387" y="5255"/>
                  <a:pt x="8411" y="5249"/>
                  <a:pt x="8414" y="5240"/>
                </a:cubicBezTo>
                <a:cubicBezTo>
                  <a:pt x="8417" y="5231"/>
                  <a:pt x="8422" y="5216"/>
                  <a:pt x="8429" y="5211"/>
                </a:cubicBezTo>
                <a:cubicBezTo>
                  <a:pt x="8436" y="5206"/>
                  <a:pt x="8441" y="5211"/>
                  <a:pt x="8449" y="5205"/>
                </a:cubicBezTo>
                <a:cubicBezTo>
                  <a:pt x="8457" y="5199"/>
                  <a:pt x="8472" y="5191"/>
                  <a:pt x="8474" y="5175"/>
                </a:cubicBezTo>
                <a:cubicBezTo>
                  <a:pt x="8476" y="5159"/>
                  <a:pt x="8493" y="5141"/>
                  <a:pt x="8510" y="5133"/>
                </a:cubicBezTo>
                <a:cubicBezTo>
                  <a:pt x="8527" y="5125"/>
                  <a:pt x="8571" y="5111"/>
                  <a:pt x="8579" y="5104"/>
                </a:cubicBezTo>
                <a:cubicBezTo>
                  <a:pt x="8587" y="5097"/>
                  <a:pt x="8620" y="5080"/>
                  <a:pt x="8620" y="5080"/>
                </a:cubicBezTo>
                <a:cubicBezTo>
                  <a:pt x="8620" y="5070"/>
                  <a:pt x="8620" y="5070"/>
                  <a:pt x="8620" y="5070"/>
                </a:cubicBezTo>
                <a:cubicBezTo>
                  <a:pt x="8620" y="5070"/>
                  <a:pt x="8638" y="5051"/>
                  <a:pt x="8638" y="5046"/>
                </a:cubicBezTo>
                <a:cubicBezTo>
                  <a:pt x="8638" y="5041"/>
                  <a:pt x="8660" y="5019"/>
                  <a:pt x="8660" y="5019"/>
                </a:cubicBezTo>
                <a:cubicBezTo>
                  <a:pt x="8658" y="5010"/>
                  <a:pt x="8658" y="5010"/>
                  <a:pt x="8658" y="5010"/>
                </a:cubicBezTo>
                <a:cubicBezTo>
                  <a:pt x="8658" y="5010"/>
                  <a:pt x="8670" y="4993"/>
                  <a:pt x="8670" y="4985"/>
                </a:cubicBezTo>
                <a:cubicBezTo>
                  <a:pt x="8670" y="4977"/>
                  <a:pt x="8669" y="4966"/>
                  <a:pt x="8669" y="4966"/>
                </a:cubicBezTo>
                <a:cubicBezTo>
                  <a:pt x="8661" y="4967"/>
                  <a:pt x="8661" y="4967"/>
                  <a:pt x="8661" y="4967"/>
                </a:cubicBezTo>
                <a:cubicBezTo>
                  <a:pt x="8661" y="4926"/>
                  <a:pt x="8661" y="4926"/>
                  <a:pt x="8661" y="4926"/>
                </a:cubicBezTo>
                <a:cubicBezTo>
                  <a:pt x="8653" y="4918"/>
                  <a:pt x="8653" y="4918"/>
                  <a:pt x="8653" y="4918"/>
                </a:cubicBezTo>
                <a:cubicBezTo>
                  <a:pt x="8664" y="4911"/>
                  <a:pt x="8664" y="4911"/>
                  <a:pt x="8664" y="4911"/>
                </a:cubicBezTo>
                <a:cubicBezTo>
                  <a:pt x="8657" y="4880"/>
                  <a:pt x="8657" y="4880"/>
                  <a:pt x="8657" y="4880"/>
                </a:cubicBezTo>
                <a:cubicBezTo>
                  <a:pt x="8665" y="4860"/>
                  <a:pt x="8665" y="4860"/>
                  <a:pt x="8665" y="4860"/>
                </a:cubicBezTo>
                <a:cubicBezTo>
                  <a:pt x="8655" y="4834"/>
                  <a:pt x="8655" y="4834"/>
                  <a:pt x="8655" y="4834"/>
                </a:cubicBezTo>
                <a:cubicBezTo>
                  <a:pt x="8655" y="4834"/>
                  <a:pt x="8667" y="4777"/>
                  <a:pt x="8667" y="4769"/>
                </a:cubicBezTo>
                <a:cubicBezTo>
                  <a:pt x="8667" y="4761"/>
                  <a:pt x="8659" y="4756"/>
                  <a:pt x="8659" y="4756"/>
                </a:cubicBezTo>
                <a:cubicBezTo>
                  <a:pt x="8659" y="4756"/>
                  <a:pt x="8659" y="4756"/>
                  <a:pt x="8659" y="4756"/>
                </a:cubicBezTo>
                <a:cubicBezTo>
                  <a:pt x="8656" y="4745"/>
                  <a:pt x="8656" y="4745"/>
                  <a:pt x="8656" y="4745"/>
                </a:cubicBezTo>
                <a:cubicBezTo>
                  <a:pt x="8656" y="4745"/>
                  <a:pt x="8628" y="4738"/>
                  <a:pt x="8626" y="4727"/>
                </a:cubicBezTo>
                <a:cubicBezTo>
                  <a:pt x="8624" y="4716"/>
                  <a:pt x="8622" y="4685"/>
                  <a:pt x="8622" y="4685"/>
                </a:cubicBezTo>
                <a:cubicBezTo>
                  <a:pt x="8607" y="4654"/>
                  <a:pt x="8607" y="4654"/>
                  <a:pt x="8607" y="4654"/>
                </a:cubicBezTo>
                <a:cubicBezTo>
                  <a:pt x="8616" y="4623"/>
                  <a:pt x="8616" y="4623"/>
                  <a:pt x="8616" y="4623"/>
                </a:cubicBezTo>
                <a:cubicBezTo>
                  <a:pt x="8605" y="4609"/>
                  <a:pt x="8605" y="4609"/>
                  <a:pt x="8605" y="4609"/>
                </a:cubicBezTo>
                <a:cubicBezTo>
                  <a:pt x="8605" y="4609"/>
                  <a:pt x="8625" y="4574"/>
                  <a:pt x="8620" y="4566"/>
                </a:cubicBezTo>
                <a:cubicBezTo>
                  <a:pt x="8615" y="4558"/>
                  <a:pt x="8588" y="4551"/>
                  <a:pt x="8585" y="4539"/>
                </a:cubicBezTo>
                <a:cubicBezTo>
                  <a:pt x="8582" y="4527"/>
                  <a:pt x="8599" y="4488"/>
                  <a:pt x="8600" y="4481"/>
                </a:cubicBezTo>
                <a:cubicBezTo>
                  <a:pt x="8601" y="4475"/>
                  <a:pt x="8603" y="4452"/>
                  <a:pt x="8604" y="4447"/>
                </a:cubicBezTo>
                <a:cubicBezTo>
                  <a:pt x="8604" y="4446"/>
                  <a:pt x="8604" y="4446"/>
                  <a:pt x="8604" y="4446"/>
                </a:cubicBezTo>
                <a:cubicBezTo>
                  <a:pt x="8617" y="4443"/>
                  <a:pt x="8617" y="4443"/>
                  <a:pt x="8617" y="4443"/>
                </a:cubicBezTo>
                <a:cubicBezTo>
                  <a:pt x="8637" y="4401"/>
                  <a:pt x="8637" y="4401"/>
                  <a:pt x="8637" y="4401"/>
                </a:cubicBezTo>
                <a:cubicBezTo>
                  <a:pt x="8637" y="4401"/>
                  <a:pt x="8635" y="4386"/>
                  <a:pt x="8635" y="4379"/>
                </a:cubicBezTo>
                <a:cubicBezTo>
                  <a:pt x="8635" y="4372"/>
                  <a:pt x="8656" y="4372"/>
                  <a:pt x="8655" y="4362"/>
                </a:cubicBezTo>
                <a:cubicBezTo>
                  <a:pt x="8654" y="4352"/>
                  <a:pt x="8649" y="4339"/>
                  <a:pt x="8657" y="4336"/>
                </a:cubicBezTo>
                <a:cubicBezTo>
                  <a:pt x="8665" y="4333"/>
                  <a:pt x="8680" y="4326"/>
                  <a:pt x="8680" y="4326"/>
                </a:cubicBezTo>
                <a:cubicBezTo>
                  <a:pt x="8684" y="4299"/>
                  <a:pt x="8684" y="4299"/>
                  <a:pt x="8684" y="4299"/>
                </a:cubicBezTo>
                <a:cubicBezTo>
                  <a:pt x="8684" y="4299"/>
                  <a:pt x="8708" y="4304"/>
                  <a:pt x="8716" y="4289"/>
                </a:cubicBezTo>
                <a:cubicBezTo>
                  <a:pt x="8717" y="4287"/>
                  <a:pt x="8718" y="4284"/>
                  <a:pt x="8720" y="4281"/>
                </a:cubicBezTo>
                <a:cubicBezTo>
                  <a:pt x="8719" y="4283"/>
                  <a:pt x="8719" y="4284"/>
                  <a:pt x="8718" y="4285"/>
                </a:cubicBezTo>
                <a:cubicBezTo>
                  <a:pt x="8727" y="4268"/>
                  <a:pt x="8744" y="4236"/>
                  <a:pt x="8750" y="4226"/>
                </a:cubicBezTo>
                <a:cubicBezTo>
                  <a:pt x="8757" y="4215"/>
                  <a:pt x="8789" y="4200"/>
                  <a:pt x="8792" y="4185"/>
                </a:cubicBezTo>
                <a:cubicBezTo>
                  <a:pt x="8795" y="4170"/>
                  <a:pt x="8838" y="4132"/>
                  <a:pt x="8849" y="4119"/>
                </a:cubicBezTo>
                <a:cubicBezTo>
                  <a:pt x="8860" y="4106"/>
                  <a:pt x="8894" y="4087"/>
                  <a:pt x="8902" y="4082"/>
                </a:cubicBezTo>
                <a:cubicBezTo>
                  <a:pt x="8910" y="4077"/>
                  <a:pt x="8967" y="4030"/>
                  <a:pt x="8973" y="4019"/>
                </a:cubicBezTo>
                <a:cubicBezTo>
                  <a:pt x="8979" y="4008"/>
                  <a:pt x="9023" y="3959"/>
                  <a:pt x="9027" y="3945"/>
                </a:cubicBezTo>
                <a:cubicBezTo>
                  <a:pt x="9031" y="3931"/>
                  <a:pt x="9056" y="3885"/>
                  <a:pt x="9062" y="3880"/>
                </a:cubicBezTo>
                <a:cubicBezTo>
                  <a:pt x="9068" y="3875"/>
                  <a:pt x="9076" y="3862"/>
                  <a:pt x="9076" y="3854"/>
                </a:cubicBezTo>
                <a:cubicBezTo>
                  <a:pt x="9076" y="3846"/>
                  <a:pt x="9082" y="3817"/>
                  <a:pt x="9089" y="3808"/>
                </a:cubicBezTo>
                <a:cubicBezTo>
                  <a:pt x="9096" y="3799"/>
                  <a:pt x="9109" y="3787"/>
                  <a:pt x="9109" y="3774"/>
                </a:cubicBezTo>
                <a:cubicBezTo>
                  <a:pt x="9109" y="3761"/>
                  <a:pt x="9119" y="3751"/>
                  <a:pt x="9119" y="3751"/>
                </a:cubicBezTo>
                <a:cubicBezTo>
                  <a:pt x="9132" y="3715"/>
                  <a:pt x="9132" y="3715"/>
                  <a:pt x="9132" y="3715"/>
                </a:cubicBezTo>
                <a:cubicBezTo>
                  <a:pt x="9132" y="3715"/>
                  <a:pt x="9149" y="3719"/>
                  <a:pt x="9149" y="3693"/>
                </a:cubicBezTo>
                <a:cubicBezTo>
                  <a:pt x="9149" y="3667"/>
                  <a:pt x="9149" y="3639"/>
                  <a:pt x="9149" y="3639"/>
                </a:cubicBezTo>
                <a:cubicBezTo>
                  <a:pt x="9163" y="3630"/>
                  <a:pt x="9163" y="3630"/>
                  <a:pt x="9163" y="3630"/>
                </a:cubicBezTo>
                <a:cubicBezTo>
                  <a:pt x="9159" y="3584"/>
                  <a:pt x="9159" y="3584"/>
                  <a:pt x="9159" y="3584"/>
                </a:cubicBezTo>
                <a:cubicBezTo>
                  <a:pt x="9159" y="3584"/>
                  <a:pt x="9172" y="3560"/>
                  <a:pt x="9166" y="3554"/>
                </a:cubicBezTo>
                <a:cubicBezTo>
                  <a:pt x="9160" y="3548"/>
                  <a:pt x="9139" y="3546"/>
                  <a:pt x="9139" y="3546"/>
                </a:cubicBezTo>
                <a:cubicBezTo>
                  <a:pt x="9139" y="3546"/>
                  <a:pt x="9131" y="3560"/>
                  <a:pt x="9124" y="3567"/>
                </a:cubicBezTo>
                <a:cubicBezTo>
                  <a:pt x="9117" y="3574"/>
                  <a:pt x="9080" y="3583"/>
                  <a:pt x="9074" y="3583"/>
                </a:cubicBezTo>
                <a:cubicBezTo>
                  <a:pt x="9068" y="3583"/>
                  <a:pt x="9047" y="3577"/>
                  <a:pt x="9037" y="3581"/>
                </a:cubicBezTo>
                <a:cubicBezTo>
                  <a:pt x="9027" y="3585"/>
                  <a:pt x="9014" y="3600"/>
                  <a:pt x="9010" y="3600"/>
                </a:cubicBezTo>
                <a:cubicBezTo>
                  <a:pt x="9006" y="3600"/>
                  <a:pt x="8996" y="3588"/>
                  <a:pt x="8988" y="3589"/>
                </a:cubicBezTo>
                <a:cubicBezTo>
                  <a:pt x="8980" y="3590"/>
                  <a:pt x="8953" y="3618"/>
                  <a:pt x="8944" y="3619"/>
                </a:cubicBezTo>
                <a:cubicBezTo>
                  <a:pt x="8935" y="3620"/>
                  <a:pt x="8927" y="3604"/>
                  <a:pt x="8913" y="3608"/>
                </a:cubicBezTo>
                <a:cubicBezTo>
                  <a:pt x="8899" y="3612"/>
                  <a:pt x="8881" y="3629"/>
                  <a:pt x="8873" y="3630"/>
                </a:cubicBezTo>
                <a:cubicBezTo>
                  <a:pt x="8865" y="3631"/>
                  <a:pt x="8833" y="3631"/>
                  <a:pt x="8833" y="3631"/>
                </a:cubicBezTo>
                <a:cubicBezTo>
                  <a:pt x="8833" y="3631"/>
                  <a:pt x="8803" y="3604"/>
                  <a:pt x="8803" y="3594"/>
                </a:cubicBezTo>
                <a:cubicBezTo>
                  <a:pt x="8803" y="3586"/>
                  <a:pt x="8794" y="3582"/>
                  <a:pt x="8791" y="3581"/>
                </a:cubicBezTo>
                <a:cubicBezTo>
                  <a:pt x="8790" y="3581"/>
                  <a:pt x="8790" y="3581"/>
                  <a:pt x="8790" y="3581"/>
                </a:cubicBezTo>
                <a:cubicBezTo>
                  <a:pt x="8783" y="3571"/>
                  <a:pt x="8783" y="3571"/>
                  <a:pt x="8783" y="3571"/>
                </a:cubicBezTo>
                <a:cubicBezTo>
                  <a:pt x="8760" y="3573"/>
                  <a:pt x="8760" y="3573"/>
                  <a:pt x="8760" y="3573"/>
                </a:cubicBezTo>
                <a:cubicBezTo>
                  <a:pt x="8760" y="3573"/>
                  <a:pt x="8801" y="3540"/>
                  <a:pt x="8792" y="3527"/>
                </a:cubicBezTo>
                <a:cubicBezTo>
                  <a:pt x="8789" y="3522"/>
                  <a:pt x="8784" y="3516"/>
                  <a:pt x="8779" y="3510"/>
                </a:cubicBezTo>
                <a:cubicBezTo>
                  <a:pt x="8771" y="3500"/>
                  <a:pt x="8763" y="3491"/>
                  <a:pt x="8763" y="3491"/>
                </a:cubicBezTo>
                <a:cubicBezTo>
                  <a:pt x="8763" y="3491"/>
                  <a:pt x="8746" y="3494"/>
                  <a:pt x="8744" y="3487"/>
                </a:cubicBezTo>
                <a:cubicBezTo>
                  <a:pt x="8742" y="3480"/>
                  <a:pt x="8742" y="3462"/>
                  <a:pt x="8742" y="3462"/>
                </a:cubicBezTo>
                <a:cubicBezTo>
                  <a:pt x="8742" y="3462"/>
                  <a:pt x="8703" y="3448"/>
                  <a:pt x="8700" y="3439"/>
                </a:cubicBezTo>
                <a:cubicBezTo>
                  <a:pt x="8697" y="3430"/>
                  <a:pt x="8697" y="3408"/>
                  <a:pt x="8690" y="3404"/>
                </a:cubicBezTo>
                <a:cubicBezTo>
                  <a:pt x="8683" y="3400"/>
                  <a:pt x="8666" y="3404"/>
                  <a:pt x="8663" y="3400"/>
                </a:cubicBezTo>
                <a:cubicBezTo>
                  <a:pt x="8660" y="3396"/>
                  <a:pt x="8649" y="3382"/>
                  <a:pt x="8649" y="3382"/>
                </a:cubicBezTo>
                <a:cubicBezTo>
                  <a:pt x="8636" y="3388"/>
                  <a:pt x="8636" y="3388"/>
                  <a:pt x="8636" y="3388"/>
                </a:cubicBezTo>
                <a:cubicBezTo>
                  <a:pt x="8628" y="3375"/>
                  <a:pt x="8628" y="3375"/>
                  <a:pt x="8628" y="3375"/>
                </a:cubicBezTo>
                <a:cubicBezTo>
                  <a:pt x="8616" y="3372"/>
                  <a:pt x="8616" y="3372"/>
                  <a:pt x="8616" y="3372"/>
                </a:cubicBezTo>
                <a:cubicBezTo>
                  <a:pt x="8616" y="3372"/>
                  <a:pt x="8596" y="3352"/>
                  <a:pt x="8593" y="3340"/>
                </a:cubicBezTo>
                <a:cubicBezTo>
                  <a:pt x="8590" y="3328"/>
                  <a:pt x="8594" y="3308"/>
                  <a:pt x="8587" y="3285"/>
                </a:cubicBezTo>
                <a:cubicBezTo>
                  <a:pt x="8580" y="3262"/>
                  <a:pt x="8559" y="3224"/>
                  <a:pt x="8559" y="3224"/>
                </a:cubicBezTo>
                <a:cubicBezTo>
                  <a:pt x="8557" y="3223"/>
                  <a:pt x="8557" y="3223"/>
                  <a:pt x="8557" y="3223"/>
                </a:cubicBezTo>
                <a:cubicBezTo>
                  <a:pt x="8532" y="3208"/>
                  <a:pt x="8532" y="3208"/>
                  <a:pt x="8532" y="3208"/>
                </a:cubicBezTo>
                <a:cubicBezTo>
                  <a:pt x="8532" y="3208"/>
                  <a:pt x="8529" y="3192"/>
                  <a:pt x="8523" y="3188"/>
                </a:cubicBezTo>
                <a:cubicBezTo>
                  <a:pt x="8517" y="3184"/>
                  <a:pt x="8502" y="3194"/>
                  <a:pt x="8498" y="3180"/>
                </a:cubicBezTo>
                <a:cubicBezTo>
                  <a:pt x="8494" y="3166"/>
                  <a:pt x="8493" y="3128"/>
                  <a:pt x="8493" y="3128"/>
                </a:cubicBezTo>
                <a:cubicBezTo>
                  <a:pt x="8486" y="3126"/>
                  <a:pt x="8486" y="3126"/>
                  <a:pt x="8486" y="3126"/>
                </a:cubicBezTo>
                <a:cubicBezTo>
                  <a:pt x="8486" y="3126"/>
                  <a:pt x="8484" y="3084"/>
                  <a:pt x="8484" y="3079"/>
                </a:cubicBezTo>
                <a:cubicBezTo>
                  <a:pt x="8484" y="3074"/>
                  <a:pt x="8479" y="3063"/>
                  <a:pt x="8479" y="3063"/>
                </a:cubicBezTo>
                <a:cubicBezTo>
                  <a:pt x="8491" y="3060"/>
                  <a:pt x="8491" y="3060"/>
                  <a:pt x="8491" y="3060"/>
                </a:cubicBezTo>
                <a:cubicBezTo>
                  <a:pt x="8491" y="3060"/>
                  <a:pt x="8473" y="3045"/>
                  <a:pt x="8472" y="3036"/>
                </a:cubicBezTo>
                <a:cubicBezTo>
                  <a:pt x="8471" y="3027"/>
                  <a:pt x="8477" y="3011"/>
                  <a:pt x="8469" y="3005"/>
                </a:cubicBezTo>
                <a:cubicBezTo>
                  <a:pt x="8461" y="2999"/>
                  <a:pt x="8450" y="2991"/>
                  <a:pt x="8450" y="2991"/>
                </a:cubicBezTo>
                <a:cubicBezTo>
                  <a:pt x="8450" y="2991"/>
                  <a:pt x="8441" y="2979"/>
                  <a:pt x="8437" y="2975"/>
                </a:cubicBezTo>
                <a:cubicBezTo>
                  <a:pt x="8433" y="2971"/>
                  <a:pt x="8432" y="2978"/>
                  <a:pt x="8426" y="2974"/>
                </a:cubicBezTo>
                <a:cubicBezTo>
                  <a:pt x="8422" y="2971"/>
                  <a:pt x="8415" y="2962"/>
                  <a:pt x="8410" y="2952"/>
                </a:cubicBezTo>
                <a:cubicBezTo>
                  <a:pt x="8407" y="2946"/>
                  <a:pt x="8405" y="2940"/>
                  <a:pt x="8405" y="2935"/>
                </a:cubicBezTo>
                <a:cubicBezTo>
                  <a:pt x="8404" y="2920"/>
                  <a:pt x="8403" y="2906"/>
                  <a:pt x="8403" y="2906"/>
                </a:cubicBezTo>
                <a:cubicBezTo>
                  <a:pt x="8415" y="2905"/>
                  <a:pt x="8415" y="2905"/>
                  <a:pt x="8415" y="2905"/>
                </a:cubicBezTo>
                <a:cubicBezTo>
                  <a:pt x="8415" y="2905"/>
                  <a:pt x="8388" y="2887"/>
                  <a:pt x="8375" y="2859"/>
                </a:cubicBezTo>
                <a:cubicBezTo>
                  <a:pt x="8362" y="2831"/>
                  <a:pt x="8363" y="2816"/>
                  <a:pt x="8354" y="2805"/>
                </a:cubicBezTo>
                <a:cubicBezTo>
                  <a:pt x="8345" y="2794"/>
                  <a:pt x="8341" y="2792"/>
                  <a:pt x="8333" y="2778"/>
                </a:cubicBezTo>
                <a:cubicBezTo>
                  <a:pt x="8325" y="2764"/>
                  <a:pt x="8325" y="2742"/>
                  <a:pt x="8325" y="2742"/>
                </a:cubicBezTo>
                <a:cubicBezTo>
                  <a:pt x="8300" y="2715"/>
                  <a:pt x="8300" y="2715"/>
                  <a:pt x="8300" y="2715"/>
                </a:cubicBezTo>
                <a:cubicBezTo>
                  <a:pt x="8300" y="2715"/>
                  <a:pt x="8303" y="2706"/>
                  <a:pt x="8297" y="2694"/>
                </a:cubicBezTo>
                <a:cubicBezTo>
                  <a:pt x="8291" y="2682"/>
                  <a:pt x="8265" y="2660"/>
                  <a:pt x="8263" y="2651"/>
                </a:cubicBezTo>
                <a:cubicBezTo>
                  <a:pt x="8261" y="2642"/>
                  <a:pt x="8253" y="2637"/>
                  <a:pt x="8253" y="2637"/>
                </a:cubicBezTo>
                <a:cubicBezTo>
                  <a:pt x="8253" y="2637"/>
                  <a:pt x="8261" y="2627"/>
                  <a:pt x="8253" y="2616"/>
                </a:cubicBezTo>
                <a:cubicBezTo>
                  <a:pt x="8245" y="2605"/>
                  <a:pt x="8235" y="2602"/>
                  <a:pt x="8235" y="2602"/>
                </a:cubicBezTo>
                <a:cubicBezTo>
                  <a:pt x="8246" y="2589"/>
                  <a:pt x="8246" y="2589"/>
                  <a:pt x="8246" y="2589"/>
                </a:cubicBezTo>
                <a:cubicBezTo>
                  <a:pt x="8258" y="2597"/>
                  <a:pt x="8258" y="2597"/>
                  <a:pt x="8258" y="2597"/>
                </a:cubicBezTo>
                <a:cubicBezTo>
                  <a:pt x="8258" y="2597"/>
                  <a:pt x="8257" y="2614"/>
                  <a:pt x="8266" y="2620"/>
                </a:cubicBezTo>
                <a:cubicBezTo>
                  <a:pt x="8275" y="2626"/>
                  <a:pt x="8280" y="2635"/>
                  <a:pt x="8280" y="2635"/>
                </a:cubicBezTo>
                <a:cubicBezTo>
                  <a:pt x="8279" y="2652"/>
                  <a:pt x="8279" y="2652"/>
                  <a:pt x="8279" y="2652"/>
                </a:cubicBezTo>
                <a:cubicBezTo>
                  <a:pt x="8279" y="2652"/>
                  <a:pt x="8311" y="2704"/>
                  <a:pt x="8323" y="2697"/>
                </a:cubicBezTo>
                <a:cubicBezTo>
                  <a:pt x="8335" y="2690"/>
                  <a:pt x="8341" y="2685"/>
                  <a:pt x="8341" y="2685"/>
                </a:cubicBezTo>
                <a:cubicBezTo>
                  <a:pt x="8334" y="2673"/>
                  <a:pt x="8334" y="2673"/>
                  <a:pt x="8334" y="2673"/>
                </a:cubicBezTo>
                <a:cubicBezTo>
                  <a:pt x="8334" y="2673"/>
                  <a:pt x="8347" y="2647"/>
                  <a:pt x="8347" y="2633"/>
                </a:cubicBezTo>
                <a:cubicBezTo>
                  <a:pt x="8347" y="2619"/>
                  <a:pt x="8356" y="2602"/>
                  <a:pt x="8356" y="2602"/>
                </a:cubicBezTo>
                <a:cubicBezTo>
                  <a:pt x="8361" y="2612"/>
                  <a:pt x="8361" y="2612"/>
                  <a:pt x="8361" y="2612"/>
                </a:cubicBezTo>
                <a:cubicBezTo>
                  <a:pt x="8363" y="2618"/>
                  <a:pt x="8363" y="2618"/>
                  <a:pt x="8363" y="2618"/>
                </a:cubicBezTo>
                <a:cubicBezTo>
                  <a:pt x="8363" y="2618"/>
                  <a:pt x="8364" y="2618"/>
                  <a:pt x="8364" y="2618"/>
                </a:cubicBezTo>
                <a:cubicBezTo>
                  <a:pt x="8358" y="2619"/>
                  <a:pt x="8358" y="2623"/>
                  <a:pt x="8358" y="2624"/>
                </a:cubicBezTo>
                <a:cubicBezTo>
                  <a:pt x="8358" y="2624"/>
                  <a:pt x="8358" y="2624"/>
                  <a:pt x="8358" y="2624"/>
                </a:cubicBezTo>
                <a:cubicBezTo>
                  <a:pt x="8358" y="2633"/>
                  <a:pt x="8346" y="2700"/>
                  <a:pt x="8358" y="2712"/>
                </a:cubicBezTo>
                <a:cubicBezTo>
                  <a:pt x="8370" y="2723"/>
                  <a:pt x="8395" y="2723"/>
                  <a:pt x="8400" y="2737"/>
                </a:cubicBezTo>
                <a:cubicBezTo>
                  <a:pt x="8406" y="2751"/>
                  <a:pt x="8422" y="2788"/>
                  <a:pt x="8431" y="2797"/>
                </a:cubicBezTo>
                <a:cubicBezTo>
                  <a:pt x="8440" y="2806"/>
                  <a:pt x="8459" y="2821"/>
                  <a:pt x="8466" y="2833"/>
                </a:cubicBezTo>
                <a:cubicBezTo>
                  <a:pt x="8474" y="2846"/>
                  <a:pt x="8478" y="2884"/>
                  <a:pt x="8491" y="2896"/>
                </a:cubicBezTo>
                <a:cubicBezTo>
                  <a:pt x="8503" y="2908"/>
                  <a:pt x="8530" y="2897"/>
                  <a:pt x="8547" y="2916"/>
                </a:cubicBezTo>
                <a:cubicBezTo>
                  <a:pt x="8564" y="2935"/>
                  <a:pt x="8578" y="2994"/>
                  <a:pt x="8578" y="3023"/>
                </a:cubicBezTo>
                <a:cubicBezTo>
                  <a:pt x="8578" y="3053"/>
                  <a:pt x="8613" y="3089"/>
                  <a:pt x="8613" y="3089"/>
                </a:cubicBezTo>
                <a:cubicBezTo>
                  <a:pt x="8613" y="3089"/>
                  <a:pt x="8637" y="3086"/>
                  <a:pt x="8646" y="3094"/>
                </a:cubicBezTo>
                <a:cubicBezTo>
                  <a:pt x="8654" y="3102"/>
                  <a:pt x="8690" y="3167"/>
                  <a:pt x="8704" y="3191"/>
                </a:cubicBezTo>
                <a:cubicBezTo>
                  <a:pt x="8718" y="3215"/>
                  <a:pt x="8766" y="3273"/>
                  <a:pt x="8765" y="3289"/>
                </a:cubicBezTo>
                <a:cubicBezTo>
                  <a:pt x="8765" y="3296"/>
                  <a:pt x="8763" y="3305"/>
                  <a:pt x="8760" y="3314"/>
                </a:cubicBezTo>
                <a:cubicBezTo>
                  <a:pt x="8758" y="3323"/>
                  <a:pt x="8755" y="3332"/>
                  <a:pt x="8754" y="3337"/>
                </a:cubicBezTo>
                <a:cubicBezTo>
                  <a:pt x="8752" y="3347"/>
                  <a:pt x="8776" y="3366"/>
                  <a:pt x="8776" y="3366"/>
                </a:cubicBezTo>
                <a:cubicBezTo>
                  <a:pt x="8767" y="3443"/>
                  <a:pt x="8767" y="3443"/>
                  <a:pt x="8767" y="3443"/>
                </a:cubicBezTo>
                <a:cubicBezTo>
                  <a:pt x="8788" y="3465"/>
                  <a:pt x="8788" y="3465"/>
                  <a:pt x="8788" y="3465"/>
                </a:cubicBezTo>
                <a:cubicBezTo>
                  <a:pt x="8788" y="3465"/>
                  <a:pt x="8793" y="3494"/>
                  <a:pt x="8812" y="3498"/>
                </a:cubicBezTo>
                <a:cubicBezTo>
                  <a:pt x="8831" y="3503"/>
                  <a:pt x="8846" y="3502"/>
                  <a:pt x="8858" y="3494"/>
                </a:cubicBezTo>
                <a:cubicBezTo>
                  <a:pt x="8870" y="3486"/>
                  <a:pt x="8874" y="3460"/>
                  <a:pt x="8885" y="3460"/>
                </a:cubicBezTo>
                <a:cubicBezTo>
                  <a:pt x="8897" y="3459"/>
                  <a:pt x="8912" y="3466"/>
                  <a:pt x="8934" y="3463"/>
                </a:cubicBezTo>
                <a:cubicBezTo>
                  <a:pt x="8956" y="3460"/>
                  <a:pt x="8982" y="3455"/>
                  <a:pt x="8995" y="3455"/>
                </a:cubicBezTo>
                <a:cubicBezTo>
                  <a:pt x="9008" y="3456"/>
                  <a:pt x="9029" y="3422"/>
                  <a:pt x="9044" y="3416"/>
                </a:cubicBezTo>
                <a:cubicBezTo>
                  <a:pt x="9060" y="3411"/>
                  <a:pt x="9068" y="3391"/>
                  <a:pt x="9086" y="3386"/>
                </a:cubicBezTo>
                <a:cubicBezTo>
                  <a:pt x="9104" y="3380"/>
                  <a:pt x="9149" y="3354"/>
                  <a:pt x="9149" y="3354"/>
                </a:cubicBezTo>
                <a:cubicBezTo>
                  <a:pt x="9198" y="3353"/>
                  <a:pt x="9198" y="3353"/>
                  <a:pt x="9198" y="3353"/>
                </a:cubicBezTo>
                <a:cubicBezTo>
                  <a:pt x="9198" y="3353"/>
                  <a:pt x="9218" y="3308"/>
                  <a:pt x="9231" y="3298"/>
                </a:cubicBezTo>
                <a:cubicBezTo>
                  <a:pt x="9232" y="3296"/>
                  <a:pt x="9235" y="3295"/>
                  <a:pt x="9239" y="3293"/>
                </a:cubicBezTo>
                <a:cubicBezTo>
                  <a:pt x="9266" y="3282"/>
                  <a:pt x="9344" y="3263"/>
                  <a:pt x="9347" y="3258"/>
                </a:cubicBezTo>
                <a:cubicBezTo>
                  <a:pt x="9352" y="3252"/>
                  <a:pt x="9354" y="3223"/>
                  <a:pt x="9354" y="3223"/>
                </a:cubicBezTo>
                <a:cubicBezTo>
                  <a:pt x="9354" y="3223"/>
                  <a:pt x="9396" y="3217"/>
                  <a:pt x="9405" y="3206"/>
                </a:cubicBezTo>
                <a:cubicBezTo>
                  <a:pt x="9413" y="3196"/>
                  <a:pt x="9413" y="3178"/>
                  <a:pt x="9413" y="3178"/>
                </a:cubicBezTo>
                <a:cubicBezTo>
                  <a:pt x="9413" y="3178"/>
                  <a:pt x="9445" y="3167"/>
                  <a:pt x="9454" y="3152"/>
                </a:cubicBezTo>
                <a:cubicBezTo>
                  <a:pt x="9464" y="3136"/>
                  <a:pt x="9459" y="3098"/>
                  <a:pt x="9468" y="3097"/>
                </a:cubicBezTo>
                <a:cubicBezTo>
                  <a:pt x="9477" y="3096"/>
                  <a:pt x="9487" y="3108"/>
                  <a:pt x="9497" y="3097"/>
                </a:cubicBezTo>
                <a:cubicBezTo>
                  <a:pt x="9508" y="3086"/>
                  <a:pt x="9503" y="3066"/>
                  <a:pt x="9503" y="3066"/>
                </a:cubicBezTo>
                <a:cubicBezTo>
                  <a:pt x="9540" y="3032"/>
                  <a:pt x="9540" y="3032"/>
                  <a:pt x="9540" y="3032"/>
                </a:cubicBezTo>
                <a:cubicBezTo>
                  <a:pt x="9540" y="3032"/>
                  <a:pt x="9549" y="2992"/>
                  <a:pt x="9544" y="2982"/>
                </a:cubicBezTo>
                <a:cubicBezTo>
                  <a:pt x="9540" y="2972"/>
                  <a:pt x="9524" y="2975"/>
                  <a:pt x="9524" y="2975"/>
                </a:cubicBezTo>
                <a:cubicBezTo>
                  <a:pt x="9524" y="2975"/>
                  <a:pt x="9502" y="2935"/>
                  <a:pt x="9487" y="2922"/>
                </a:cubicBezTo>
                <a:cubicBezTo>
                  <a:pt x="9472" y="2909"/>
                  <a:pt x="9422" y="2900"/>
                  <a:pt x="9422" y="2900"/>
                </a:cubicBezTo>
                <a:cubicBezTo>
                  <a:pt x="9422" y="2900"/>
                  <a:pt x="9379" y="2886"/>
                  <a:pt x="9376" y="2871"/>
                </a:cubicBezTo>
                <a:cubicBezTo>
                  <a:pt x="9375" y="2866"/>
                  <a:pt x="9372" y="2861"/>
                  <a:pt x="9369" y="2855"/>
                </a:cubicBezTo>
                <a:cubicBezTo>
                  <a:pt x="9364" y="2842"/>
                  <a:pt x="9357" y="2827"/>
                  <a:pt x="9359" y="2815"/>
                </a:cubicBezTo>
                <a:cubicBezTo>
                  <a:pt x="9362" y="2798"/>
                  <a:pt x="9367" y="2770"/>
                  <a:pt x="9360" y="2767"/>
                </a:cubicBezTo>
                <a:cubicBezTo>
                  <a:pt x="9352" y="2764"/>
                  <a:pt x="9331" y="2815"/>
                  <a:pt x="9331" y="2815"/>
                </a:cubicBezTo>
                <a:cubicBezTo>
                  <a:pt x="9331" y="2815"/>
                  <a:pt x="9317" y="2817"/>
                  <a:pt x="9311" y="2825"/>
                </a:cubicBezTo>
                <a:cubicBezTo>
                  <a:pt x="9306" y="2834"/>
                  <a:pt x="9276" y="2866"/>
                  <a:pt x="9276" y="2866"/>
                </a:cubicBezTo>
                <a:cubicBezTo>
                  <a:pt x="9276" y="2866"/>
                  <a:pt x="9276" y="2894"/>
                  <a:pt x="9267" y="2895"/>
                </a:cubicBezTo>
                <a:cubicBezTo>
                  <a:pt x="9258" y="2896"/>
                  <a:pt x="9214" y="2891"/>
                  <a:pt x="9207" y="2891"/>
                </a:cubicBezTo>
                <a:cubicBezTo>
                  <a:pt x="9201" y="2891"/>
                  <a:pt x="9170" y="2908"/>
                  <a:pt x="9161" y="2904"/>
                </a:cubicBezTo>
                <a:cubicBezTo>
                  <a:pt x="9156" y="2902"/>
                  <a:pt x="9150" y="2896"/>
                  <a:pt x="9146" y="2891"/>
                </a:cubicBezTo>
                <a:cubicBezTo>
                  <a:pt x="9146" y="2891"/>
                  <a:pt x="9146" y="2891"/>
                  <a:pt x="9146" y="2891"/>
                </a:cubicBezTo>
                <a:cubicBezTo>
                  <a:pt x="9142" y="2886"/>
                  <a:pt x="9139" y="2880"/>
                  <a:pt x="9140" y="2876"/>
                </a:cubicBezTo>
                <a:cubicBezTo>
                  <a:pt x="9140" y="2876"/>
                  <a:pt x="9140" y="2875"/>
                  <a:pt x="9140" y="2875"/>
                </a:cubicBezTo>
                <a:cubicBezTo>
                  <a:pt x="9145" y="2866"/>
                  <a:pt x="9159" y="2836"/>
                  <a:pt x="9157" y="2815"/>
                </a:cubicBezTo>
                <a:cubicBezTo>
                  <a:pt x="9155" y="2794"/>
                  <a:pt x="9141" y="2780"/>
                  <a:pt x="9132" y="2783"/>
                </a:cubicBezTo>
                <a:cubicBezTo>
                  <a:pt x="9122" y="2786"/>
                  <a:pt x="9120" y="2812"/>
                  <a:pt x="9119" y="2827"/>
                </a:cubicBezTo>
                <a:cubicBezTo>
                  <a:pt x="9119" y="2842"/>
                  <a:pt x="9119" y="2863"/>
                  <a:pt x="9111" y="2864"/>
                </a:cubicBezTo>
                <a:cubicBezTo>
                  <a:pt x="9111" y="2864"/>
                  <a:pt x="9111" y="2864"/>
                  <a:pt x="9110" y="2863"/>
                </a:cubicBezTo>
                <a:cubicBezTo>
                  <a:pt x="9103" y="2861"/>
                  <a:pt x="9096" y="2822"/>
                  <a:pt x="9090" y="2817"/>
                </a:cubicBezTo>
                <a:cubicBezTo>
                  <a:pt x="9084" y="2812"/>
                  <a:pt x="9068" y="2809"/>
                  <a:pt x="9065" y="2795"/>
                </a:cubicBezTo>
                <a:cubicBezTo>
                  <a:pt x="9061" y="2781"/>
                  <a:pt x="9066" y="2759"/>
                  <a:pt x="9053" y="2749"/>
                </a:cubicBezTo>
                <a:cubicBezTo>
                  <a:pt x="9039" y="2738"/>
                  <a:pt x="9021" y="2740"/>
                  <a:pt x="9015" y="2728"/>
                </a:cubicBezTo>
                <a:cubicBezTo>
                  <a:pt x="9009" y="2715"/>
                  <a:pt x="9016" y="2702"/>
                  <a:pt x="9010" y="2698"/>
                </a:cubicBezTo>
                <a:cubicBezTo>
                  <a:pt x="9004" y="2694"/>
                  <a:pt x="8992" y="2681"/>
                  <a:pt x="8992" y="2681"/>
                </a:cubicBezTo>
                <a:cubicBezTo>
                  <a:pt x="8991" y="2664"/>
                  <a:pt x="8991" y="2664"/>
                  <a:pt x="8991" y="2664"/>
                </a:cubicBezTo>
                <a:cubicBezTo>
                  <a:pt x="8991" y="2664"/>
                  <a:pt x="8988" y="2661"/>
                  <a:pt x="8983" y="2658"/>
                </a:cubicBezTo>
                <a:cubicBezTo>
                  <a:pt x="8973" y="2650"/>
                  <a:pt x="8957" y="2636"/>
                  <a:pt x="8958" y="2625"/>
                </a:cubicBezTo>
                <a:cubicBezTo>
                  <a:pt x="8958" y="2625"/>
                  <a:pt x="8958" y="2625"/>
                  <a:pt x="8958" y="2624"/>
                </a:cubicBezTo>
                <a:cubicBezTo>
                  <a:pt x="8950" y="2619"/>
                  <a:pt x="8950" y="2619"/>
                  <a:pt x="8950" y="2619"/>
                </a:cubicBezTo>
                <a:cubicBezTo>
                  <a:pt x="8949" y="2605"/>
                  <a:pt x="8949" y="2605"/>
                  <a:pt x="8949" y="2605"/>
                </a:cubicBezTo>
                <a:cubicBezTo>
                  <a:pt x="8949" y="2605"/>
                  <a:pt x="8963" y="2603"/>
                  <a:pt x="8967" y="2603"/>
                </a:cubicBezTo>
                <a:cubicBezTo>
                  <a:pt x="8971" y="2603"/>
                  <a:pt x="8971" y="2594"/>
                  <a:pt x="8971" y="2594"/>
                </a:cubicBezTo>
                <a:cubicBezTo>
                  <a:pt x="8971" y="2594"/>
                  <a:pt x="8971" y="2586"/>
                  <a:pt x="8962" y="2586"/>
                </a:cubicBezTo>
                <a:cubicBezTo>
                  <a:pt x="8953" y="2586"/>
                  <a:pt x="8953" y="2591"/>
                  <a:pt x="8953" y="2591"/>
                </a:cubicBezTo>
                <a:cubicBezTo>
                  <a:pt x="8949" y="2578"/>
                  <a:pt x="8949" y="2578"/>
                  <a:pt x="8949" y="2578"/>
                </a:cubicBezTo>
                <a:cubicBezTo>
                  <a:pt x="8951" y="2583"/>
                  <a:pt x="8951" y="2583"/>
                  <a:pt x="8951" y="2583"/>
                </a:cubicBezTo>
                <a:cubicBezTo>
                  <a:pt x="8969" y="2577"/>
                  <a:pt x="8969" y="2577"/>
                  <a:pt x="8969" y="2577"/>
                </a:cubicBezTo>
                <a:cubicBezTo>
                  <a:pt x="8972" y="2572"/>
                  <a:pt x="8972" y="2572"/>
                  <a:pt x="8972" y="2572"/>
                </a:cubicBezTo>
                <a:cubicBezTo>
                  <a:pt x="8972" y="2572"/>
                  <a:pt x="8972" y="2572"/>
                  <a:pt x="8972" y="2572"/>
                </a:cubicBezTo>
                <a:cubicBezTo>
                  <a:pt x="8979" y="2579"/>
                  <a:pt x="8990" y="2584"/>
                  <a:pt x="8995" y="2581"/>
                </a:cubicBezTo>
                <a:cubicBezTo>
                  <a:pt x="9002" y="2576"/>
                  <a:pt x="8980" y="2565"/>
                  <a:pt x="8996" y="2558"/>
                </a:cubicBezTo>
                <a:cubicBezTo>
                  <a:pt x="9012" y="2551"/>
                  <a:pt x="9011" y="2569"/>
                  <a:pt x="9011" y="2569"/>
                </a:cubicBezTo>
                <a:cubicBezTo>
                  <a:pt x="9018" y="2575"/>
                  <a:pt x="9018" y="2575"/>
                  <a:pt x="9018" y="2575"/>
                </a:cubicBezTo>
                <a:cubicBezTo>
                  <a:pt x="9019" y="2574"/>
                  <a:pt x="9021" y="2574"/>
                  <a:pt x="9024" y="2575"/>
                </a:cubicBezTo>
                <a:cubicBezTo>
                  <a:pt x="9026" y="2576"/>
                  <a:pt x="9027" y="2576"/>
                  <a:pt x="9029" y="2577"/>
                </a:cubicBezTo>
                <a:cubicBezTo>
                  <a:pt x="9030" y="2576"/>
                  <a:pt x="9031" y="2574"/>
                  <a:pt x="9031" y="2573"/>
                </a:cubicBezTo>
                <a:cubicBezTo>
                  <a:pt x="9032" y="2569"/>
                  <a:pt x="9043" y="2566"/>
                  <a:pt x="9046" y="2568"/>
                </a:cubicBezTo>
                <a:cubicBezTo>
                  <a:pt x="9049" y="2570"/>
                  <a:pt x="9044" y="2591"/>
                  <a:pt x="9051" y="2594"/>
                </a:cubicBezTo>
                <a:cubicBezTo>
                  <a:pt x="9058" y="2597"/>
                  <a:pt x="9073" y="2608"/>
                  <a:pt x="9073" y="2608"/>
                </a:cubicBezTo>
                <a:cubicBezTo>
                  <a:pt x="9073" y="2608"/>
                  <a:pt x="9071" y="2613"/>
                  <a:pt x="9071" y="2618"/>
                </a:cubicBezTo>
                <a:cubicBezTo>
                  <a:pt x="9076" y="2624"/>
                  <a:pt x="9081" y="2630"/>
                  <a:pt x="9084" y="2636"/>
                </a:cubicBezTo>
                <a:cubicBezTo>
                  <a:pt x="9084" y="2636"/>
                  <a:pt x="9084" y="2636"/>
                  <a:pt x="9084" y="2636"/>
                </a:cubicBezTo>
                <a:cubicBezTo>
                  <a:pt x="9088" y="2638"/>
                  <a:pt x="9091" y="2640"/>
                  <a:pt x="9091" y="2640"/>
                </a:cubicBezTo>
                <a:cubicBezTo>
                  <a:pt x="9100" y="2653"/>
                  <a:pt x="9100" y="2653"/>
                  <a:pt x="9100" y="2653"/>
                </a:cubicBezTo>
                <a:cubicBezTo>
                  <a:pt x="9100" y="2653"/>
                  <a:pt x="9102" y="2677"/>
                  <a:pt x="9112" y="2679"/>
                </a:cubicBezTo>
                <a:cubicBezTo>
                  <a:pt x="9122" y="2681"/>
                  <a:pt x="9122" y="2697"/>
                  <a:pt x="9122" y="2697"/>
                </a:cubicBezTo>
                <a:cubicBezTo>
                  <a:pt x="9144" y="2697"/>
                  <a:pt x="9144" y="2697"/>
                  <a:pt x="9144" y="2697"/>
                </a:cubicBezTo>
                <a:cubicBezTo>
                  <a:pt x="9156" y="2709"/>
                  <a:pt x="9156" y="2709"/>
                  <a:pt x="9156" y="2709"/>
                </a:cubicBezTo>
                <a:cubicBezTo>
                  <a:pt x="9164" y="2707"/>
                  <a:pt x="9171" y="2705"/>
                  <a:pt x="9178" y="2709"/>
                </a:cubicBezTo>
                <a:cubicBezTo>
                  <a:pt x="9188" y="2714"/>
                  <a:pt x="9217" y="2739"/>
                  <a:pt x="9239" y="2756"/>
                </a:cubicBezTo>
                <a:cubicBezTo>
                  <a:pt x="9240" y="2757"/>
                  <a:pt x="9241" y="2757"/>
                  <a:pt x="9242" y="2757"/>
                </a:cubicBezTo>
                <a:cubicBezTo>
                  <a:pt x="9248" y="2757"/>
                  <a:pt x="9259" y="2759"/>
                  <a:pt x="9259" y="2759"/>
                </a:cubicBezTo>
                <a:cubicBezTo>
                  <a:pt x="9259" y="2759"/>
                  <a:pt x="9262" y="2773"/>
                  <a:pt x="9278" y="2768"/>
                </a:cubicBezTo>
                <a:cubicBezTo>
                  <a:pt x="9294" y="2763"/>
                  <a:pt x="9297" y="2756"/>
                  <a:pt x="9297" y="2756"/>
                </a:cubicBezTo>
                <a:cubicBezTo>
                  <a:pt x="9313" y="2758"/>
                  <a:pt x="9313" y="2758"/>
                  <a:pt x="9313" y="2758"/>
                </a:cubicBezTo>
                <a:cubicBezTo>
                  <a:pt x="9319" y="2744"/>
                  <a:pt x="9319" y="2744"/>
                  <a:pt x="9319" y="2744"/>
                </a:cubicBezTo>
                <a:cubicBezTo>
                  <a:pt x="9333" y="2742"/>
                  <a:pt x="9333" y="2742"/>
                  <a:pt x="9333" y="2742"/>
                </a:cubicBezTo>
                <a:cubicBezTo>
                  <a:pt x="9349" y="2727"/>
                  <a:pt x="9349" y="2727"/>
                  <a:pt x="9349" y="2727"/>
                </a:cubicBezTo>
                <a:cubicBezTo>
                  <a:pt x="9354" y="2735"/>
                  <a:pt x="9354" y="2735"/>
                  <a:pt x="9354" y="2735"/>
                </a:cubicBezTo>
                <a:cubicBezTo>
                  <a:pt x="9362" y="2733"/>
                  <a:pt x="9369" y="2732"/>
                  <a:pt x="9372" y="2736"/>
                </a:cubicBezTo>
                <a:cubicBezTo>
                  <a:pt x="9385" y="2747"/>
                  <a:pt x="9399" y="2770"/>
                  <a:pt x="9401" y="2788"/>
                </a:cubicBezTo>
                <a:cubicBezTo>
                  <a:pt x="9403" y="2807"/>
                  <a:pt x="9431" y="2805"/>
                  <a:pt x="9431" y="2805"/>
                </a:cubicBezTo>
                <a:cubicBezTo>
                  <a:pt x="9431" y="2805"/>
                  <a:pt x="9430" y="2812"/>
                  <a:pt x="9443" y="2815"/>
                </a:cubicBezTo>
                <a:cubicBezTo>
                  <a:pt x="9456" y="2818"/>
                  <a:pt x="9487" y="2814"/>
                  <a:pt x="9487" y="2814"/>
                </a:cubicBezTo>
                <a:cubicBezTo>
                  <a:pt x="9487" y="2814"/>
                  <a:pt x="9513" y="2834"/>
                  <a:pt x="9518" y="2834"/>
                </a:cubicBezTo>
                <a:cubicBezTo>
                  <a:pt x="9523" y="2834"/>
                  <a:pt x="9541" y="2825"/>
                  <a:pt x="9541" y="2825"/>
                </a:cubicBezTo>
                <a:cubicBezTo>
                  <a:pt x="9541" y="2825"/>
                  <a:pt x="9567" y="2841"/>
                  <a:pt x="9585" y="2842"/>
                </a:cubicBezTo>
                <a:cubicBezTo>
                  <a:pt x="9591" y="2842"/>
                  <a:pt x="9597" y="2841"/>
                  <a:pt x="9602" y="2839"/>
                </a:cubicBezTo>
                <a:cubicBezTo>
                  <a:pt x="9603" y="2839"/>
                  <a:pt x="9603" y="2839"/>
                  <a:pt x="9603" y="2839"/>
                </a:cubicBezTo>
                <a:cubicBezTo>
                  <a:pt x="9613" y="2835"/>
                  <a:pt x="9621" y="2830"/>
                  <a:pt x="9621" y="2830"/>
                </a:cubicBezTo>
                <a:cubicBezTo>
                  <a:pt x="9621" y="2830"/>
                  <a:pt x="9643" y="2837"/>
                  <a:pt x="9653" y="2837"/>
                </a:cubicBezTo>
                <a:cubicBezTo>
                  <a:pt x="9663" y="2838"/>
                  <a:pt x="9692" y="2822"/>
                  <a:pt x="9692" y="2822"/>
                </a:cubicBezTo>
                <a:cubicBezTo>
                  <a:pt x="9692" y="2822"/>
                  <a:pt x="9708" y="2830"/>
                  <a:pt x="9718" y="2828"/>
                </a:cubicBezTo>
                <a:cubicBezTo>
                  <a:pt x="9729" y="2826"/>
                  <a:pt x="9751" y="2817"/>
                  <a:pt x="9751" y="2817"/>
                </a:cubicBezTo>
                <a:cubicBezTo>
                  <a:pt x="9777" y="2824"/>
                  <a:pt x="9777" y="2824"/>
                  <a:pt x="9777" y="2824"/>
                </a:cubicBezTo>
                <a:cubicBezTo>
                  <a:pt x="9777" y="2824"/>
                  <a:pt x="9792" y="2803"/>
                  <a:pt x="9810" y="2815"/>
                </a:cubicBezTo>
                <a:cubicBezTo>
                  <a:pt x="9827" y="2826"/>
                  <a:pt x="9828" y="2861"/>
                  <a:pt x="9842" y="2864"/>
                </a:cubicBezTo>
                <a:cubicBezTo>
                  <a:pt x="9856" y="2867"/>
                  <a:pt x="9882" y="2867"/>
                  <a:pt x="9891" y="2876"/>
                </a:cubicBezTo>
                <a:cubicBezTo>
                  <a:pt x="9901" y="2885"/>
                  <a:pt x="9902" y="2906"/>
                  <a:pt x="9913" y="2907"/>
                </a:cubicBezTo>
                <a:cubicBezTo>
                  <a:pt x="9916" y="2907"/>
                  <a:pt x="9920" y="2907"/>
                  <a:pt x="9924" y="2907"/>
                </a:cubicBezTo>
                <a:cubicBezTo>
                  <a:pt x="9935" y="2908"/>
                  <a:pt x="9947" y="2908"/>
                  <a:pt x="9947" y="2908"/>
                </a:cubicBezTo>
                <a:cubicBezTo>
                  <a:pt x="9947" y="2908"/>
                  <a:pt x="9937" y="2932"/>
                  <a:pt x="9950" y="2941"/>
                </a:cubicBezTo>
                <a:cubicBezTo>
                  <a:pt x="9962" y="2951"/>
                  <a:pt x="9995" y="2954"/>
                  <a:pt x="10002" y="2952"/>
                </a:cubicBezTo>
                <a:cubicBezTo>
                  <a:pt x="10008" y="2950"/>
                  <a:pt x="10032" y="2933"/>
                  <a:pt x="10032" y="2933"/>
                </a:cubicBezTo>
                <a:cubicBezTo>
                  <a:pt x="10032" y="2933"/>
                  <a:pt x="10042" y="2945"/>
                  <a:pt x="10030" y="2956"/>
                </a:cubicBezTo>
                <a:cubicBezTo>
                  <a:pt x="10018" y="2967"/>
                  <a:pt x="9994" y="2974"/>
                  <a:pt x="9994" y="2974"/>
                </a:cubicBezTo>
                <a:cubicBezTo>
                  <a:pt x="9994" y="2974"/>
                  <a:pt x="9956" y="2979"/>
                  <a:pt x="9954" y="2990"/>
                </a:cubicBezTo>
                <a:cubicBezTo>
                  <a:pt x="9952" y="3001"/>
                  <a:pt x="9982" y="3025"/>
                  <a:pt x="9994" y="3034"/>
                </a:cubicBezTo>
                <a:cubicBezTo>
                  <a:pt x="10007" y="3043"/>
                  <a:pt x="10030" y="3071"/>
                  <a:pt x="10060" y="3073"/>
                </a:cubicBezTo>
                <a:cubicBezTo>
                  <a:pt x="10091" y="3076"/>
                  <a:pt x="10129" y="3049"/>
                  <a:pt x="10125" y="3030"/>
                </a:cubicBezTo>
                <a:cubicBezTo>
                  <a:pt x="10121" y="3012"/>
                  <a:pt x="10131" y="2997"/>
                  <a:pt x="10141" y="2988"/>
                </a:cubicBezTo>
                <a:cubicBezTo>
                  <a:pt x="10150" y="2978"/>
                  <a:pt x="10172" y="2973"/>
                  <a:pt x="10162" y="2990"/>
                </a:cubicBezTo>
                <a:cubicBezTo>
                  <a:pt x="10153" y="3007"/>
                  <a:pt x="10130" y="3022"/>
                  <a:pt x="10137" y="3036"/>
                </a:cubicBezTo>
                <a:cubicBezTo>
                  <a:pt x="10144" y="3050"/>
                  <a:pt x="10162" y="3048"/>
                  <a:pt x="10162" y="3063"/>
                </a:cubicBezTo>
                <a:cubicBezTo>
                  <a:pt x="10161" y="3077"/>
                  <a:pt x="10157" y="3093"/>
                  <a:pt x="10151" y="3116"/>
                </a:cubicBezTo>
                <a:cubicBezTo>
                  <a:pt x="10144" y="3140"/>
                  <a:pt x="10144" y="3162"/>
                  <a:pt x="10151" y="3191"/>
                </a:cubicBezTo>
                <a:cubicBezTo>
                  <a:pt x="10159" y="3219"/>
                  <a:pt x="10171" y="3269"/>
                  <a:pt x="10182" y="3284"/>
                </a:cubicBezTo>
                <a:cubicBezTo>
                  <a:pt x="10193" y="3300"/>
                  <a:pt x="10196" y="3294"/>
                  <a:pt x="10191" y="3317"/>
                </a:cubicBezTo>
                <a:cubicBezTo>
                  <a:pt x="10186" y="3340"/>
                  <a:pt x="10223" y="3347"/>
                  <a:pt x="10223" y="3347"/>
                </a:cubicBezTo>
                <a:cubicBezTo>
                  <a:pt x="10223" y="3347"/>
                  <a:pt x="10228" y="3379"/>
                  <a:pt x="10236" y="3390"/>
                </a:cubicBezTo>
                <a:cubicBezTo>
                  <a:pt x="10245" y="3402"/>
                  <a:pt x="10263" y="3411"/>
                  <a:pt x="10263" y="3411"/>
                </a:cubicBezTo>
                <a:cubicBezTo>
                  <a:pt x="10263" y="3411"/>
                  <a:pt x="10268" y="3477"/>
                  <a:pt x="10278" y="3507"/>
                </a:cubicBezTo>
                <a:cubicBezTo>
                  <a:pt x="10289" y="3537"/>
                  <a:pt x="10326" y="3578"/>
                  <a:pt x="10331" y="3590"/>
                </a:cubicBezTo>
                <a:cubicBezTo>
                  <a:pt x="10336" y="3603"/>
                  <a:pt x="10338" y="3629"/>
                  <a:pt x="10337" y="3641"/>
                </a:cubicBezTo>
                <a:cubicBezTo>
                  <a:pt x="10335" y="3653"/>
                  <a:pt x="10403" y="3757"/>
                  <a:pt x="10403" y="3757"/>
                </a:cubicBezTo>
                <a:cubicBezTo>
                  <a:pt x="10403" y="3757"/>
                  <a:pt x="10436" y="3748"/>
                  <a:pt x="10442" y="3739"/>
                </a:cubicBezTo>
                <a:cubicBezTo>
                  <a:pt x="10447" y="3729"/>
                  <a:pt x="10439" y="3707"/>
                  <a:pt x="10450" y="3700"/>
                </a:cubicBezTo>
                <a:cubicBezTo>
                  <a:pt x="10460" y="3693"/>
                  <a:pt x="10464" y="3701"/>
                  <a:pt x="10474" y="3698"/>
                </a:cubicBezTo>
                <a:cubicBezTo>
                  <a:pt x="10485" y="3695"/>
                  <a:pt x="10502" y="3682"/>
                  <a:pt x="10502" y="3682"/>
                </a:cubicBezTo>
                <a:cubicBezTo>
                  <a:pt x="10502" y="3682"/>
                  <a:pt x="10487" y="3686"/>
                  <a:pt x="10490" y="3669"/>
                </a:cubicBezTo>
                <a:cubicBezTo>
                  <a:pt x="10492" y="3652"/>
                  <a:pt x="10499" y="3649"/>
                  <a:pt x="10511" y="3643"/>
                </a:cubicBezTo>
                <a:cubicBezTo>
                  <a:pt x="10523" y="3637"/>
                  <a:pt x="10537" y="3634"/>
                  <a:pt x="10537" y="3626"/>
                </a:cubicBezTo>
                <a:cubicBezTo>
                  <a:pt x="10538" y="3617"/>
                  <a:pt x="10525" y="3585"/>
                  <a:pt x="10525" y="3566"/>
                </a:cubicBezTo>
                <a:cubicBezTo>
                  <a:pt x="10524" y="3548"/>
                  <a:pt x="10523" y="3519"/>
                  <a:pt x="10529" y="3516"/>
                </a:cubicBezTo>
                <a:cubicBezTo>
                  <a:pt x="10536" y="3512"/>
                  <a:pt x="10533" y="3504"/>
                  <a:pt x="10534" y="3472"/>
                </a:cubicBezTo>
                <a:cubicBezTo>
                  <a:pt x="10536" y="3440"/>
                  <a:pt x="10516" y="3440"/>
                  <a:pt x="10514" y="3427"/>
                </a:cubicBezTo>
                <a:cubicBezTo>
                  <a:pt x="10512" y="3415"/>
                  <a:pt x="10522" y="3409"/>
                  <a:pt x="10523" y="3397"/>
                </a:cubicBezTo>
                <a:cubicBezTo>
                  <a:pt x="10525" y="3385"/>
                  <a:pt x="10518" y="3378"/>
                  <a:pt x="10518" y="3362"/>
                </a:cubicBezTo>
                <a:cubicBezTo>
                  <a:pt x="10519" y="3346"/>
                  <a:pt x="10555" y="3344"/>
                  <a:pt x="10555" y="3337"/>
                </a:cubicBezTo>
                <a:cubicBezTo>
                  <a:pt x="10555" y="3330"/>
                  <a:pt x="10555" y="3314"/>
                  <a:pt x="10562" y="3309"/>
                </a:cubicBezTo>
                <a:cubicBezTo>
                  <a:pt x="10570" y="3304"/>
                  <a:pt x="10584" y="3305"/>
                  <a:pt x="10584" y="3305"/>
                </a:cubicBezTo>
                <a:cubicBezTo>
                  <a:pt x="10587" y="3299"/>
                  <a:pt x="10587" y="3299"/>
                  <a:pt x="10587" y="3299"/>
                </a:cubicBezTo>
                <a:cubicBezTo>
                  <a:pt x="10587" y="3299"/>
                  <a:pt x="10610" y="3310"/>
                  <a:pt x="10612" y="3299"/>
                </a:cubicBezTo>
                <a:cubicBezTo>
                  <a:pt x="10614" y="3288"/>
                  <a:pt x="10633" y="3253"/>
                  <a:pt x="10639" y="3243"/>
                </a:cubicBezTo>
                <a:cubicBezTo>
                  <a:pt x="10646" y="3234"/>
                  <a:pt x="10668" y="3235"/>
                  <a:pt x="10675" y="3221"/>
                </a:cubicBezTo>
                <a:cubicBezTo>
                  <a:pt x="10682" y="3208"/>
                  <a:pt x="10693" y="3180"/>
                  <a:pt x="10703" y="3171"/>
                </a:cubicBezTo>
                <a:cubicBezTo>
                  <a:pt x="10712" y="3161"/>
                  <a:pt x="10751" y="3141"/>
                  <a:pt x="10751" y="3141"/>
                </a:cubicBezTo>
                <a:cubicBezTo>
                  <a:pt x="10744" y="3121"/>
                  <a:pt x="10744" y="3121"/>
                  <a:pt x="10744" y="3121"/>
                </a:cubicBezTo>
                <a:cubicBezTo>
                  <a:pt x="10750" y="3116"/>
                  <a:pt x="10750" y="3116"/>
                  <a:pt x="10750" y="3116"/>
                </a:cubicBezTo>
                <a:cubicBezTo>
                  <a:pt x="10763" y="3135"/>
                  <a:pt x="10763" y="3135"/>
                  <a:pt x="10763" y="3135"/>
                </a:cubicBezTo>
                <a:cubicBezTo>
                  <a:pt x="10804" y="3096"/>
                  <a:pt x="10804" y="3096"/>
                  <a:pt x="10804" y="3096"/>
                </a:cubicBezTo>
                <a:cubicBezTo>
                  <a:pt x="10811" y="3078"/>
                  <a:pt x="10811" y="3078"/>
                  <a:pt x="10811" y="3078"/>
                </a:cubicBezTo>
                <a:cubicBezTo>
                  <a:pt x="10811" y="3078"/>
                  <a:pt x="10797" y="3061"/>
                  <a:pt x="10797" y="3050"/>
                </a:cubicBezTo>
                <a:cubicBezTo>
                  <a:pt x="10798" y="3039"/>
                  <a:pt x="10821" y="3043"/>
                  <a:pt x="10833" y="3028"/>
                </a:cubicBezTo>
                <a:cubicBezTo>
                  <a:pt x="10845" y="3012"/>
                  <a:pt x="10841" y="2999"/>
                  <a:pt x="10841" y="2999"/>
                </a:cubicBezTo>
                <a:cubicBezTo>
                  <a:pt x="10852" y="3004"/>
                  <a:pt x="10852" y="3004"/>
                  <a:pt x="10852" y="3004"/>
                </a:cubicBezTo>
                <a:cubicBezTo>
                  <a:pt x="10858" y="3022"/>
                  <a:pt x="10858" y="3022"/>
                  <a:pt x="10858" y="3022"/>
                </a:cubicBezTo>
                <a:cubicBezTo>
                  <a:pt x="10866" y="2999"/>
                  <a:pt x="10866" y="2999"/>
                  <a:pt x="10866" y="2999"/>
                </a:cubicBezTo>
                <a:cubicBezTo>
                  <a:pt x="10866" y="2999"/>
                  <a:pt x="10874" y="3041"/>
                  <a:pt x="10881" y="3044"/>
                </a:cubicBezTo>
                <a:cubicBezTo>
                  <a:pt x="10889" y="3046"/>
                  <a:pt x="10892" y="3018"/>
                  <a:pt x="10892" y="3018"/>
                </a:cubicBezTo>
                <a:cubicBezTo>
                  <a:pt x="10909" y="3041"/>
                  <a:pt x="10909" y="3041"/>
                  <a:pt x="10909" y="3041"/>
                </a:cubicBezTo>
                <a:cubicBezTo>
                  <a:pt x="10911" y="3002"/>
                  <a:pt x="10911" y="3002"/>
                  <a:pt x="10911" y="3002"/>
                </a:cubicBezTo>
                <a:cubicBezTo>
                  <a:pt x="10911" y="3002"/>
                  <a:pt x="10953" y="3018"/>
                  <a:pt x="10961" y="3016"/>
                </a:cubicBezTo>
                <a:cubicBezTo>
                  <a:pt x="10969" y="3013"/>
                  <a:pt x="10953" y="2995"/>
                  <a:pt x="10962" y="2993"/>
                </a:cubicBezTo>
                <a:cubicBezTo>
                  <a:pt x="10971" y="2991"/>
                  <a:pt x="10988" y="3011"/>
                  <a:pt x="11001" y="3006"/>
                </a:cubicBezTo>
                <a:cubicBezTo>
                  <a:pt x="11014" y="3002"/>
                  <a:pt x="11009" y="2989"/>
                  <a:pt x="11009" y="2989"/>
                </a:cubicBezTo>
                <a:cubicBezTo>
                  <a:pt x="11001" y="2968"/>
                  <a:pt x="11001" y="2968"/>
                  <a:pt x="11001" y="2968"/>
                </a:cubicBezTo>
                <a:cubicBezTo>
                  <a:pt x="11032" y="3001"/>
                  <a:pt x="11032" y="3001"/>
                  <a:pt x="11032" y="3001"/>
                </a:cubicBezTo>
                <a:cubicBezTo>
                  <a:pt x="11032" y="3001"/>
                  <a:pt x="11020" y="3040"/>
                  <a:pt x="11029" y="3046"/>
                </a:cubicBezTo>
                <a:cubicBezTo>
                  <a:pt x="11032" y="3048"/>
                  <a:pt x="11037" y="3049"/>
                  <a:pt x="11041" y="3050"/>
                </a:cubicBezTo>
                <a:cubicBezTo>
                  <a:pt x="11041" y="3050"/>
                  <a:pt x="11041" y="3050"/>
                  <a:pt x="11041" y="3050"/>
                </a:cubicBezTo>
                <a:cubicBezTo>
                  <a:pt x="11046" y="3050"/>
                  <a:pt x="11050" y="3050"/>
                  <a:pt x="11050" y="3050"/>
                </a:cubicBezTo>
                <a:cubicBezTo>
                  <a:pt x="11050" y="3081"/>
                  <a:pt x="11050" y="3081"/>
                  <a:pt x="11050" y="3081"/>
                </a:cubicBezTo>
                <a:cubicBezTo>
                  <a:pt x="11050" y="3081"/>
                  <a:pt x="11073" y="3087"/>
                  <a:pt x="11082" y="3097"/>
                </a:cubicBezTo>
                <a:cubicBezTo>
                  <a:pt x="11092" y="3107"/>
                  <a:pt x="11100" y="3129"/>
                  <a:pt x="11100" y="3129"/>
                </a:cubicBezTo>
                <a:cubicBezTo>
                  <a:pt x="11122" y="3124"/>
                  <a:pt x="11122" y="3124"/>
                  <a:pt x="11122" y="3124"/>
                </a:cubicBezTo>
                <a:cubicBezTo>
                  <a:pt x="11108" y="3153"/>
                  <a:pt x="11108" y="3153"/>
                  <a:pt x="11108" y="3153"/>
                </a:cubicBezTo>
                <a:cubicBezTo>
                  <a:pt x="11108" y="3153"/>
                  <a:pt x="11139" y="3160"/>
                  <a:pt x="11151" y="3169"/>
                </a:cubicBezTo>
                <a:cubicBezTo>
                  <a:pt x="11163" y="3178"/>
                  <a:pt x="11171" y="3214"/>
                  <a:pt x="11173" y="3221"/>
                </a:cubicBezTo>
                <a:cubicBezTo>
                  <a:pt x="11175" y="3227"/>
                  <a:pt x="11189" y="3240"/>
                  <a:pt x="11189" y="3240"/>
                </a:cubicBezTo>
                <a:cubicBezTo>
                  <a:pt x="11178" y="3252"/>
                  <a:pt x="11178" y="3252"/>
                  <a:pt x="11178" y="3252"/>
                </a:cubicBezTo>
                <a:cubicBezTo>
                  <a:pt x="11186" y="3313"/>
                  <a:pt x="11186" y="3313"/>
                  <a:pt x="11186" y="3313"/>
                </a:cubicBezTo>
                <a:cubicBezTo>
                  <a:pt x="11175" y="3321"/>
                  <a:pt x="11175" y="3321"/>
                  <a:pt x="11175" y="3321"/>
                </a:cubicBezTo>
                <a:cubicBezTo>
                  <a:pt x="11175" y="3321"/>
                  <a:pt x="11181" y="3340"/>
                  <a:pt x="11190" y="3339"/>
                </a:cubicBezTo>
                <a:cubicBezTo>
                  <a:pt x="11199" y="3338"/>
                  <a:pt x="11209" y="3330"/>
                  <a:pt x="11209" y="3330"/>
                </a:cubicBezTo>
                <a:cubicBezTo>
                  <a:pt x="11209" y="3330"/>
                  <a:pt x="11213" y="3345"/>
                  <a:pt x="11224" y="3340"/>
                </a:cubicBezTo>
                <a:cubicBezTo>
                  <a:pt x="11236" y="3336"/>
                  <a:pt x="11247" y="3313"/>
                  <a:pt x="11247" y="3313"/>
                </a:cubicBezTo>
                <a:cubicBezTo>
                  <a:pt x="11247" y="3313"/>
                  <a:pt x="11269" y="3309"/>
                  <a:pt x="11281" y="3300"/>
                </a:cubicBezTo>
                <a:cubicBezTo>
                  <a:pt x="11293" y="3290"/>
                  <a:pt x="11279" y="3261"/>
                  <a:pt x="11286" y="3255"/>
                </a:cubicBezTo>
                <a:close/>
                <a:moveTo>
                  <a:pt x="8218" y="4658"/>
                </a:moveTo>
                <a:cubicBezTo>
                  <a:pt x="8216" y="4663"/>
                  <a:pt x="8213" y="4668"/>
                  <a:pt x="8210" y="4670"/>
                </a:cubicBezTo>
                <a:cubicBezTo>
                  <a:pt x="8202" y="4674"/>
                  <a:pt x="8201" y="4657"/>
                  <a:pt x="8201" y="4657"/>
                </a:cubicBezTo>
                <a:cubicBezTo>
                  <a:pt x="8201" y="4657"/>
                  <a:pt x="8193" y="4652"/>
                  <a:pt x="8182" y="4648"/>
                </a:cubicBezTo>
                <a:cubicBezTo>
                  <a:pt x="8175" y="4645"/>
                  <a:pt x="8180" y="4638"/>
                  <a:pt x="8184" y="4632"/>
                </a:cubicBezTo>
                <a:cubicBezTo>
                  <a:pt x="8187" y="4629"/>
                  <a:pt x="8189" y="4627"/>
                  <a:pt x="8189" y="4627"/>
                </a:cubicBezTo>
                <a:cubicBezTo>
                  <a:pt x="8189" y="4627"/>
                  <a:pt x="8182" y="4615"/>
                  <a:pt x="8177" y="4611"/>
                </a:cubicBezTo>
                <a:cubicBezTo>
                  <a:pt x="8173" y="4607"/>
                  <a:pt x="8176" y="4589"/>
                  <a:pt x="8176" y="4582"/>
                </a:cubicBezTo>
                <a:cubicBezTo>
                  <a:pt x="8176" y="4575"/>
                  <a:pt x="8164" y="4579"/>
                  <a:pt x="8161" y="4578"/>
                </a:cubicBezTo>
                <a:cubicBezTo>
                  <a:pt x="8158" y="4577"/>
                  <a:pt x="8155" y="4567"/>
                  <a:pt x="8155" y="4559"/>
                </a:cubicBezTo>
                <a:cubicBezTo>
                  <a:pt x="8155" y="4551"/>
                  <a:pt x="8146" y="4550"/>
                  <a:pt x="8139" y="4543"/>
                </a:cubicBezTo>
                <a:cubicBezTo>
                  <a:pt x="8132" y="4536"/>
                  <a:pt x="8130" y="4519"/>
                  <a:pt x="8131" y="4513"/>
                </a:cubicBezTo>
                <a:cubicBezTo>
                  <a:pt x="8132" y="4507"/>
                  <a:pt x="8137" y="4497"/>
                  <a:pt x="8137" y="4490"/>
                </a:cubicBezTo>
                <a:cubicBezTo>
                  <a:pt x="8137" y="4483"/>
                  <a:pt x="8127" y="4483"/>
                  <a:pt x="8123" y="4473"/>
                </a:cubicBezTo>
                <a:cubicBezTo>
                  <a:pt x="8119" y="4463"/>
                  <a:pt x="8123" y="4451"/>
                  <a:pt x="8124" y="4439"/>
                </a:cubicBezTo>
                <a:cubicBezTo>
                  <a:pt x="8125" y="4427"/>
                  <a:pt x="8126" y="4416"/>
                  <a:pt x="8129" y="4403"/>
                </a:cubicBezTo>
                <a:cubicBezTo>
                  <a:pt x="8131" y="4395"/>
                  <a:pt x="8137" y="4396"/>
                  <a:pt x="8141" y="4399"/>
                </a:cubicBezTo>
                <a:cubicBezTo>
                  <a:pt x="8141" y="4406"/>
                  <a:pt x="8142" y="4425"/>
                  <a:pt x="8147" y="4435"/>
                </a:cubicBezTo>
                <a:cubicBezTo>
                  <a:pt x="8148" y="4435"/>
                  <a:pt x="8150" y="4434"/>
                  <a:pt x="8152" y="4434"/>
                </a:cubicBezTo>
                <a:cubicBezTo>
                  <a:pt x="8152" y="4434"/>
                  <a:pt x="8151" y="4434"/>
                  <a:pt x="8151" y="4434"/>
                </a:cubicBezTo>
                <a:cubicBezTo>
                  <a:pt x="8149" y="4443"/>
                  <a:pt x="8149" y="4443"/>
                  <a:pt x="8149" y="4443"/>
                </a:cubicBezTo>
                <a:cubicBezTo>
                  <a:pt x="8149" y="4443"/>
                  <a:pt x="8155" y="4454"/>
                  <a:pt x="8158" y="4458"/>
                </a:cubicBezTo>
                <a:cubicBezTo>
                  <a:pt x="8161" y="4462"/>
                  <a:pt x="8157" y="4475"/>
                  <a:pt x="8157" y="4475"/>
                </a:cubicBezTo>
                <a:cubicBezTo>
                  <a:pt x="8157" y="4475"/>
                  <a:pt x="8168" y="4505"/>
                  <a:pt x="8164" y="4510"/>
                </a:cubicBezTo>
                <a:cubicBezTo>
                  <a:pt x="8160" y="4515"/>
                  <a:pt x="8157" y="4518"/>
                  <a:pt x="8158" y="4528"/>
                </a:cubicBezTo>
                <a:cubicBezTo>
                  <a:pt x="8159" y="4538"/>
                  <a:pt x="8167" y="4543"/>
                  <a:pt x="8173" y="4545"/>
                </a:cubicBezTo>
                <a:cubicBezTo>
                  <a:pt x="8179" y="4547"/>
                  <a:pt x="8196" y="4565"/>
                  <a:pt x="8200" y="4571"/>
                </a:cubicBezTo>
                <a:cubicBezTo>
                  <a:pt x="8204" y="4577"/>
                  <a:pt x="8200" y="4586"/>
                  <a:pt x="8198" y="4594"/>
                </a:cubicBezTo>
                <a:cubicBezTo>
                  <a:pt x="8196" y="4602"/>
                  <a:pt x="8205" y="4619"/>
                  <a:pt x="8205" y="4619"/>
                </a:cubicBezTo>
                <a:cubicBezTo>
                  <a:pt x="8223" y="4643"/>
                  <a:pt x="8223" y="4643"/>
                  <a:pt x="8223" y="4643"/>
                </a:cubicBezTo>
                <a:cubicBezTo>
                  <a:pt x="8223" y="4643"/>
                  <a:pt x="8221" y="4650"/>
                  <a:pt x="8218" y="4658"/>
                </a:cubicBezTo>
                <a:close/>
                <a:moveTo>
                  <a:pt x="8429" y="4817"/>
                </a:moveTo>
                <a:cubicBezTo>
                  <a:pt x="8429" y="4817"/>
                  <a:pt x="8429" y="4817"/>
                  <a:pt x="8428" y="4817"/>
                </a:cubicBezTo>
                <a:cubicBezTo>
                  <a:pt x="8429" y="4817"/>
                  <a:pt x="8429" y="4817"/>
                  <a:pt x="8429" y="4817"/>
                </a:cubicBezTo>
                <a:close/>
                <a:moveTo>
                  <a:pt x="8428" y="4817"/>
                </a:moveTo>
                <a:cubicBezTo>
                  <a:pt x="8425" y="4817"/>
                  <a:pt x="8417" y="4818"/>
                  <a:pt x="8408" y="4818"/>
                </a:cubicBezTo>
                <a:cubicBezTo>
                  <a:pt x="8417" y="4818"/>
                  <a:pt x="8425" y="4817"/>
                  <a:pt x="8428" y="4817"/>
                </a:cubicBezTo>
                <a:close/>
                <a:moveTo>
                  <a:pt x="8400" y="4818"/>
                </a:moveTo>
                <a:cubicBezTo>
                  <a:pt x="8400" y="4818"/>
                  <a:pt x="8400" y="4818"/>
                  <a:pt x="8399" y="4818"/>
                </a:cubicBezTo>
                <a:cubicBezTo>
                  <a:pt x="8398" y="4822"/>
                  <a:pt x="8398" y="4826"/>
                  <a:pt x="8398" y="4828"/>
                </a:cubicBezTo>
                <a:cubicBezTo>
                  <a:pt x="8398" y="4831"/>
                  <a:pt x="8395" y="4837"/>
                  <a:pt x="8386" y="4845"/>
                </a:cubicBezTo>
                <a:cubicBezTo>
                  <a:pt x="8377" y="4853"/>
                  <a:pt x="8387" y="4860"/>
                  <a:pt x="8391" y="4865"/>
                </a:cubicBezTo>
                <a:cubicBezTo>
                  <a:pt x="8395" y="4870"/>
                  <a:pt x="8395" y="4888"/>
                  <a:pt x="8390" y="4900"/>
                </a:cubicBezTo>
                <a:cubicBezTo>
                  <a:pt x="8387" y="4907"/>
                  <a:pt x="8387" y="4915"/>
                  <a:pt x="8388" y="4920"/>
                </a:cubicBezTo>
                <a:cubicBezTo>
                  <a:pt x="8388" y="4925"/>
                  <a:pt x="8390" y="4928"/>
                  <a:pt x="8392" y="4929"/>
                </a:cubicBezTo>
                <a:cubicBezTo>
                  <a:pt x="8397" y="4931"/>
                  <a:pt x="8401" y="4937"/>
                  <a:pt x="8401" y="4937"/>
                </a:cubicBezTo>
                <a:cubicBezTo>
                  <a:pt x="8401" y="4937"/>
                  <a:pt x="8406" y="4962"/>
                  <a:pt x="8400" y="4964"/>
                </a:cubicBezTo>
                <a:cubicBezTo>
                  <a:pt x="8394" y="4966"/>
                  <a:pt x="8392" y="4953"/>
                  <a:pt x="8392" y="4953"/>
                </a:cubicBezTo>
                <a:cubicBezTo>
                  <a:pt x="8392" y="4953"/>
                  <a:pt x="8380" y="4959"/>
                  <a:pt x="8377" y="4957"/>
                </a:cubicBezTo>
                <a:cubicBezTo>
                  <a:pt x="8374" y="4955"/>
                  <a:pt x="8374" y="4941"/>
                  <a:pt x="8373" y="4934"/>
                </a:cubicBezTo>
                <a:cubicBezTo>
                  <a:pt x="8372" y="4927"/>
                  <a:pt x="8370" y="4924"/>
                  <a:pt x="8368" y="4920"/>
                </a:cubicBezTo>
                <a:cubicBezTo>
                  <a:pt x="8366" y="4916"/>
                  <a:pt x="8368" y="4903"/>
                  <a:pt x="8368" y="4895"/>
                </a:cubicBezTo>
                <a:cubicBezTo>
                  <a:pt x="8368" y="4887"/>
                  <a:pt x="8363" y="4881"/>
                  <a:pt x="8351" y="4871"/>
                </a:cubicBezTo>
                <a:cubicBezTo>
                  <a:pt x="8339" y="4861"/>
                  <a:pt x="8348" y="4863"/>
                  <a:pt x="8346" y="4854"/>
                </a:cubicBezTo>
                <a:cubicBezTo>
                  <a:pt x="8344" y="4845"/>
                  <a:pt x="8354" y="4837"/>
                  <a:pt x="8364" y="4826"/>
                </a:cubicBezTo>
                <a:cubicBezTo>
                  <a:pt x="8374" y="4815"/>
                  <a:pt x="8370" y="4813"/>
                  <a:pt x="8371" y="4808"/>
                </a:cubicBezTo>
                <a:cubicBezTo>
                  <a:pt x="8372" y="4803"/>
                  <a:pt x="8368" y="4798"/>
                  <a:pt x="8368" y="4790"/>
                </a:cubicBezTo>
                <a:cubicBezTo>
                  <a:pt x="8368" y="4782"/>
                  <a:pt x="8366" y="4767"/>
                  <a:pt x="8365" y="4751"/>
                </a:cubicBezTo>
                <a:cubicBezTo>
                  <a:pt x="8364" y="4735"/>
                  <a:pt x="8362" y="4744"/>
                  <a:pt x="8351" y="4737"/>
                </a:cubicBezTo>
                <a:cubicBezTo>
                  <a:pt x="8340" y="4730"/>
                  <a:pt x="8348" y="4721"/>
                  <a:pt x="8347" y="4710"/>
                </a:cubicBezTo>
                <a:cubicBezTo>
                  <a:pt x="8347" y="4710"/>
                  <a:pt x="8351" y="4697"/>
                  <a:pt x="8361" y="4702"/>
                </a:cubicBezTo>
                <a:cubicBezTo>
                  <a:pt x="8371" y="4707"/>
                  <a:pt x="8379" y="4728"/>
                  <a:pt x="8379" y="4728"/>
                </a:cubicBezTo>
                <a:cubicBezTo>
                  <a:pt x="8381" y="4763"/>
                  <a:pt x="8381" y="4763"/>
                  <a:pt x="8381" y="4763"/>
                </a:cubicBezTo>
                <a:cubicBezTo>
                  <a:pt x="8381" y="4763"/>
                  <a:pt x="8386" y="4764"/>
                  <a:pt x="8386" y="4771"/>
                </a:cubicBezTo>
                <a:cubicBezTo>
                  <a:pt x="8386" y="4778"/>
                  <a:pt x="8383" y="4780"/>
                  <a:pt x="8380" y="4788"/>
                </a:cubicBezTo>
                <a:cubicBezTo>
                  <a:pt x="8377" y="4796"/>
                  <a:pt x="8399" y="4806"/>
                  <a:pt x="8399" y="4806"/>
                </a:cubicBezTo>
                <a:cubicBezTo>
                  <a:pt x="8398" y="4818"/>
                  <a:pt x="8398" y="4818"/>
                  <a:pt x="8398" y="4818"/>
                </a:cubicBezTo>
                <a:cubicBezTo>
                  <a:pt x="8399" y="4818"/>
                  <a:pt x="8399" y="4818"/>
                  <a:pt x="8400" y="4818"/>
                </a:cubicBezTo>
                <a:close/>
                <a:moveTo>
                  <a:pt x="8250" y="4289"/>
                </a:moveTo>
                <a:cubicBezTo>
                  <a:pt x="8252" y="4275"/>
                  <a:pt x="8260" y="4257"/>
                  <a:pt x="8261" y="4251"/>
                </a:cubicBezTo>
                <a:cubicBezTo>
                  <a:pt x="8261" y="4250"/>
                  <a:pt x="8261" y="4250"/>
                  <a:pt x="8261" y="4249"/>
                </a:cubicBezTo>
                <a:cubicBezTo>
                  <a:pt x="8261" y="4244"/>
                  <a:pt x="8255" y="4238"/>
                  <a:pt x="8253" y="4232"/>
                </a:cubicBezTo>
                <a:cubicBezTo>
                  <a:pt x="8251" y="4225"/>
                  <a:pt x="8258" y="4217"/>
                  <a:pt x="8262" y="4213"/>
                </a:cubicBezTo>
                <a:cubicBezTo>
                  <a:pt x="8266" y="4209"/>
                  <a:pt x="8260" y="4197"/>
                  <a:pt x="8269" y="4190"/>
                </a:cubicBezTo>
                <a:cubicBezTo>
                  <a:pt x="8278" y="4183"/>
                  <a:pt x="8308" y="4185"/>
                  <a:pt x="8311" y="4183"/>
                </a:cubicBezTo>
                <a:cubicBezTo>
                  <a:pt x="8314" y="4181"/>
                  <a:pt x="8321" y="4169"/>
                  <a:pt x="8327" y="4169"/>
                </a:cubicBezTo>
                <a:cubicBezTo>
                  <a:pt x="8333" y="4169"/>
                  <a:pt x="8333" y="4186"/>
                  <a:pt x="8333" y="4186"/>
                </a:cubicBezTo>
                <a:cubicBezTo>
                  <a:pt x="8333" y="4186"/>
                  <a:pt x="8340" y="4179"/>
                  <a:pt x="8351" y="4182"/>
                </a:cubicBezTo>
                <a:cubicBezTo>
                  <a:pt x="8353" y="4182"/>
                  <a:pt x="8355" y="4183"/>
                  <a:pt x="8358" y="4184"/>
                </a:cubicBezTo>
                <a:cubicBezTo>
                  <a:pt x="8358" y="4185"/>
                  <a:pt x="8358" y="4185"/>
                  <a:pt x="8358" y="4186"/>
                </a:cubicBezTo>
                <a:cubicBezTo>
                  <a:pt x="8358" y="4197"/>
                  <a:pt x="8367" y="4207"/>
                  <a:pt x="8374" y="4208"/>
                </a:cubicBezTo>
                <a:cubicBezTo>
                  <a:pt x="8381" y="4209"/>
                  <a:pt x="8381" y="4200"/>
                  <a:pt x="8381" y="4200"/>
                </a:cubicBezTo>
                <a:cubicBezTo>
                  <a:pt x="8395" y="4199"/>
                  <a:pt x="8395" y="4199"/>
                  <a:pt x="8395" y="4199"/>
                </a:cubicBezTo>
                <a:cubicBezTo>
                  <a:pt x="8398" y="4211"/>
                  <a:pt x="8398" y="4211"/>
                  <a:pt x="8398" y="4211"/>
                </a:cubicBezTo>
                <a:cubicBezTo>
                  <a:pt x="8389" y="4213"/>
                  <a:pt x="8389" y="4213"/>
                  <a:pt x="8389" y="4213"/>
                </a:cubicBezTo>
                <a:cubicBezTo>
                  <a:pt x="8379" y="4221"/>
                  <a:pt x="8379" y="4221"/>
                  <a:pt x="8379" y="4221"/>
                </a:cubicBezTo>
                <a:cubicBezTo>
                  <a:pt x="8379" y="4221"/>
                  <a:pt x="8374" y="4211"/>
                  <a:pt x="8365" y="4221"/>
                </a:cubicBezTo>
                <a:cubicBezTo>
                  <a:pt x="8356" y="4231"/>
                  <a:pt x="8369" y="4240"/>
                  <a:pt x="8369" y="4240"/>
                </a:cubicBezTo>
                <a:cubicBezTo>
                  <a:pt x="8366" y="4249"/>
                  <a:pt x="8366" y="4249"/>
                  <a:pt x="8366" y="4249"/>
                </a:cubicBezTo>
                <a:cubicBezTo>
                  <a:pt x="8360" y="4249"/>
                  <a:pt x="8355" y="4249"/>
                  <a:pt x="8355" y="4250"/>
                </a:cubicBezTo>
                <a:cubicBezTo>
                  <a:pt x="8355" y="4250"/>
                  <a:pt x="8355" y="4250"/>
                  <a:pt x="8355" y="4250"/>
                </a:cubicBezTo>
                <a:cubicBezTo>
                  <a:pt x="8355" y="4259"/>
                  <a:pt x="8358" y="4273"/>
                  <a:pt x="8358" y="4273"/>
                </a:cubicBezTo>
                <a:cubicBezTo>
                  <a:pt x="8343" y="4280"/>
                  <a:pt x="8343" y="4280"/>
                  <a:pt x="8343" y="4280"/>
                </a:cubicBezTo>
                <a:cubicBezTo>
                  <a:pt x="8343" y="4280"/>
                  <a:pt x="8330" y="4289"/>
                  <a:pt x="8325" y="4304"/>
                </a:cubicBezTo>
                <a:cubicBezTo>
                  <a:pt x="8320" y="4319"/>
                  <a:pt x="8355" y="4308"/>
                  <a:pt x="8355" y="4308"/>
                </a:cubicBezTo>
                <a:cubicBezTo>
                  <a:pt x="8355" y="4308"/>
                  <a:pt x="8336" y="4324"/>
                  <a:pt x="8330" y="4327"/>
                </a:cubicBezTo>
                <a:cubicBezTo>
                  <a:pt x="8324" y="4330"/>
                  <a:pt x="8320" y="4321"/>
                  <a:pt x="8311" y="4320"/>
                </a:cubicBezTo>
                <a:cubicBezTo>
                  <a:pt x="8302" y="4319"/>
                  <a:pt x="8303" y="4338"/>
                  <a:pt x="8303" y="4338"/>
                </a:cubicBezTo>
                <a:cubicBezTo>
                  <a:pt x="8310" y="4348"/>
                  <a:pt x="8310" y="4348"/>
                  <a:pt x="8310" y="4348"/>
                </a:cubicBezTo>
                <a:cubicBezTo>
                  <a:pt x="8310" y="4348"/>
                  <a:pt x="8307" y="4349"/>
                  <a:pt x="8297" y="4348"/>
                </a:cubicBezTo>
                <a:cubicBezTo>
                  <a:pt x="8287" y="4347"/>
                  <a:pt x="8299" y="4322"/>
                  <a:pt x="8299" y="4322"/>
                </a:cubicBezTo>
                <a:cubicBezTo>
                  <a:pt x="8287" y="4327"/>
                  <a:pt x="8287" y="4327"/>
                  <a:pt x="8287" y="4327"/>
                </a:cubicBezTo>
                <a:cubicBezTo>
                  <a:pt x="8287" y="4327"/>
                  <a:pt x="8279" y="4315"/>
                  <a:pt x="8272" y="4315"/>
                </a:cubicBezTo>
                <a:cubicBezTo>
                  <a:pt x="8262" y="4315"/>
                  <a:pt x="8263" y="4341"/>
                  <a:pt x="8258" y="4341"/>
                </a:cubicBezTo>
                <a:cubicBezTo>
                  <a:pt x="8253" y="4341"/>
                  <a:pt x="8253" y="4329"/>
                  <a:pt x="8253" y="4329"/>
                </a:cubicBezTo>
                <a:cubicBezTo>
                  <a:pt x="8253" y="4329"/>
                  <a:pt x="8248" y="4303"/>
                  <a:pt x="8250" y="4289"/>
                </a:cubicBezTo>
                <a:close/>
                <a:moveTo>
                  <a:pt x="8586" y="1964"/>
                </a:moveTo>
                <a:cubicBezTo>
                  <a:pt x="8578" y="1973"/>
                  <a:pt x="8560" y="1988"/>
                  <a:pt x="8550" y="1992"/>
                </a:cubicBezTo>
                <a:cubicBezTo>
                  <a:pt x="8536" y="1997"/>
                  <a:pt x="8492" y="1991"/>
                  <a:pt x="8492" y="1991"/>
                </a:cubicBezTo>
                <a:cubicBezTo>
                  <a:pt x="8456" y="2002"/>
                  <a:pt x="8456" y="2002"/>
                  <a:pt x="8456" y="2002"/>
                </a:cubicBezTo>
                <a:cubicBezTo>
                  <a:pt x="8413" y="1986"/>
                  <a:pt x="8413" y="1986"/>
                  <a:pt x="8413" y="1986"/>
                </a:cubicBezTo>
                <a:cubicBezTo>
                  <a:pt x="8395" y="1992"/>
                  <a:pt x="8395" y="1992"/>
                  <a:pt x="8395" y="1992"/>
                </a:cubicBezTo>
                <a:cubicBezTo>
                  <a:pt x="8395" y="1992"/>
                  <a:pt x="8386" y="1970"/>
                  <a:pt x="8378" y="1972"/>
                </a:cubicBezTo>
                <a:cubicBezTo>
                  <a:pt x="8370" y="1973"/>
                  <a:pt x="8361" y="1980"/>
                  <a:pt x="8361" y="1980"/>
                </a:cubicBezTo>
                <a:cubicBezTo>
                  <a:pt x="8345" y="1970"/>
                  <a:pt x="8345" y="1970"/>
                  <a:pt x="8345" y="1970"/>
                </a:cubicBezTo>
                <a:cubicBezTo>
                  <a:pt x="8342" y="1955"/>
                  <a:pt x="8342" y="1955"/>
                  <a:pt x="8342" y="1955"/>
                </a:cubicBezTo>
                <a:cubicBezTo>
                  <a:pt x="8312" y="1960"/>
                  <a:pt x="8312" y="1960"/>
                  <a:pt x="8312" y="1960"/>
                </a:cubicBezTo>
                <a:cubicBezTo>
                  <a:pt x="8293" y="1950"/>
                  <a:pt x="8293" y="1950"/>
                  <a:pt x="8293" y="1950"/>
                </a:cubicBezTo>
                <a:cubicBezTo>
                  <a:pt x="8290" y="1935"/>
                  <a:pt x="8290" y="1935"/>
                  <a:pt x="8290" y="1935"/>
                </a:cubicBezTo>
                <a:cubicBezTo>
                  <a:pt x="8290" y="1935"/>
                  <a:pt x="8268" y="1946"/>
                  <a:pt x="8255" y="1946"/>
                </a:cubicBezTo>
                <a:cubicBezTo>
                  <a:pt x="8242" y="1946"/>
                  <a:pt x="8224" y="1940"/>
                  <a:pt x="8212" y="1941"/>
                </a:cubicBezTo>
                <a:cubicBezTo>
                  <a:pt x="8201" y="1942"/>
                  <a:pt x="8166" y="1956"/>
                  <a:pt x="8160" y="1962"/>
                </a:cubicBezTo>
                <a:cubicBezTo>
                  <a:pt x="8155" y="1969"/>
                  <a:pt x="8140" y="1972"/>
                  <a:pt x="8140" y="1972"/>
                </a:cubicBezTo>
                <a:cubicBezTo>
                  <a:pt x="8134" y="1987"/>
                  <a:pt x="8134" y="1987"/>
                  <a:pt x="8134" y="1987"/>
                </a:cubicBezTo>
                <a:cubicBezTo>
                  <a:pt x="8134" y="1987"/>
                  <a:pt x="8134" y="1991"/>
                  <a:pt x="8120" y="1988"/>
                </a:cubicBezTo>
                <a:cubicBezTo>
                  <a:pt x="8108" y="1985"/>
                  <a:pt x="8084" y="1982"/>
                  <a:pt x="8071" y="1982"/>
                </a:cubicBezTo>
                <a:cubicBezTo>
                  <a:pt x="8059" y="1982"/>
                  <a:pt x="8019" y="1973"/>
                  <a:pt x="8019" y="1973"/>
                </a:cubicBezTo>
                <a:cubicBezTo>
                  <a:pt x="8019" y="1973"/>
                  <a:pt x="7994" y="1976"/>
                  <a:pt x="7991" y="1963"/>
                </a:cubicBezTo>
                <a:cubicBezTo>
                  <a:pt x="7989" y="1956"/>
                  <a:pt x="7988" y="1949"/>
                  <a:pt x="7987" y="1944"/>
                </a:cubicBezTo>
                <a:cubicBezTo>
                  <a:pt x="7978" y="1945"/>
                  <a:pt x="7964" y="1943"/>
                  <a:pt x="7964" y="1943"/>
                </a:cubicBezTo>
                <a:cubicBezTo>
                  <a:pt x="7962" y="1940"/>
                  <a:pt x="7961" y="1938"/>
                  <a:pt x="7960" y="1936"/>
                </a:cubicBezTo>
                <a:cubicBezTo>
                  <a:pt x="7966" y="1928"/>
                  <a:pt x="7966" y="1928"/>
                  <a:pt x="7966" y="1928"/>
                </a:cubicBezTo>
                <a:cubicBezTo>
                  <a:pt x="7976" y="1941"/>
                  <a:pt x="7976" y="1941"/>
                  <a:pt x="7976" y="1941"/>
                </a:cubicBezTo>
                <a:cubicBezTo>
                  <a:pt x="7976" y="1941"/>
                  <a:pt x="7990" y="1943"/>
                  <a:pt x="7999" y="1942"/>
                </a:cubicBezTo>
                <a:cubicBezTo>
                  <a:pt x="7998" y="1939"/>
                  <a:pt x="7998" y="1937"/>
                  <a:pt x="7998" y="1937"/>
                </a:cubicBezTo>
                <a:cubicBezTo>
                  <a:pt x="7975" y="1909"/>
                  <a:pt x="7975" y="1909"/>
                  <a:pt x="7975" y="1909"/>
                </a:cubicBezTo>
                <a:cubicBezTo>
                  <a:pt x="7975" y="1909"/>
                  <a:pt x="7985" y="1904"/>
                  <a:pt x="7989" y="1897"/>
                </a:cubicBezTo>
                <a:cubicBezTo>
                  <a:pt x="7993" y="1890"/>
                  <a:pt x="7982" y="1876"/>
                  <a:pt x="7991" y="1869"/>
                </a:cubicBezTo>
                <a:cubicBezTo>
                  <a:pt x="8000" y="1862"/>
                  <a:pt x="8017" y="1866"/>
                  <a:pt x="8017" y="1866"/>
                </a:cubicBezTo>
                <a:cubicBezTo>
                  <a:pt x="8017" y="1866"/>
                  <a:pt x="8015" y="1857"/>
                  <a:pt x="8014" y="1845"/>
                </a:cubicBezTo>
                <a:cubicBezTo>
                  <a:pt x="8012" y="1834"/>
                  <a:pt x="8013" y="1820"/>
                  <a:pt x="8018" y="1813"/>
                </a:cubicBezTo>
                <a:cubicBezTo>
                  <a:pt x="8027" y="1801"/>
                  <a:pt x="8033" y="1791"/>
                  <a:pt x="8033" y="1791"/>
                </a:cubicBezTo>
                <a:cubicBezTo>
                  <a:pt x="8033" y="1791"/>
                  <a:pt x="8065" y="1801"/>
                  <a:pt x="8061" y="1778"/>
                </a:cubicBezTo>
                <a:cubicBezTo>
                  <a:pt x="8058" y="1762"/>
                  <a:pt x="8053" y="1753"/>
                  <a:pt x="8050" y="1750"/>
                </a:cubicBezTo>
                <a:cubicBezTo>
                  <a:pt x="8050" y="1748"/>
                  <a:pt x="8049" y="1748"/>
                  <a:pt x="8049" y="1748"/>
                </a:cubicBezTo>
                <a:cubicBezTo>
                  <a:pt x="8049" y="1748"/>
                  <a:pt x="8066" y="1741"/>
                  <a:pt x="8074" y="1735"/>
                </a:cubicBezTo>
                <a:cubicBezTo>
                  <a:pt x="8083" y="1729"/>
                  <a:pt x="8096" y="1705"/>
                  <a:pt x="8096" y="1705"/>
                </a:cubicBezTo>
                <a:cubicBezTo>
                  <a:pt x="8117" y="1696"/>
                  <a:pt x="8117" y="1696"/>
                  <a:pt x="8117" y="1696"/>
                </a:cubicBezTo>
                <a:cubicBezTo>
                  <a:pt x="8126" y="1685"/>
                  <a:pt x="8126" y="1685"/>
                  <a:pt x="8126" y="1685"/>
                </a:cubicBezTo>
                <a:cubicBezTo>
                  <a:pt x="8137" y="1690"/>
                  <a:pt x="8137" y="1690"/>
                  <a:pt x="8137" y="1690"/>
                </a:cubicBezTo>
                <a:cubicBezTo>
                  <a:pt x="8137" y="1690"/>
                  <a:pt x="8159" y="1694"/>
                  <a:pt x="8162" y="1694"/>
                </a:cubicBezTo>
                <a:cubicBezTo>
                  <a:pt x="8165" y="1694"/>
                  <a:pt x="8173" y="1688"/>
                  <a:pt x="8173" y="1688"/>
                </a:cubicBezTo>
                <a:cubicBezTo>
                  <a:pt x="8161" y="1704"/>
                  <a:pt x="8161" y="1704"/>
                  <a:pt x="8161" y="1704"/>
                </a:cubicBezTo>
                <a:cubicBezTo>
                  <a:pt x="8161" y="1704"/>
                  <a:pt x="8143" y="1698"/>
                  <a:pt x="8146" y="1705"/>
                </a:cubicBezTo>
                <a:cubicBezTo>
                  <a:pt x="8149" y="1712"/>
                  <a:pt x="8169" y="1717"/>
                  <a:pt x="8169" y="1717"/>
                </a:cubicBezTo>
                <a:cubicBezTo>
                  <a:pt x="8201" y="1718"/>
                  <a:pt x="8201" y="1718"/>
                  <a:pt x="8201" y="1718"/>
                </a:cubicBezTo>
                <a:cubicBezTo>
                  <a:pt x="8214" y="1719"/>
                  <a:pt x="8214" y="1719"/>
                  <a:pt x="8214" y="1719"/>
                </a:cubicBezTo>
                <a:cubicBezTo>
                  <a:pt x="8221" y="1730"/>
                  <a:pt x="8221" y="1730"/>
                  <a:pt x="8221" y="1730"/>
                </a:cubicBezTo>
                <a:cubicBezTo>
                  <a:pt x="8221" y="1730"/>
                  <a:pt x="8175" y="1756"/>
                  <a:pt x="8178" y="1759"/>
                </a:cubicBezTo>
                <a:cubicBezTo>
                  <a:pt x="8181" y="1762"/>
                  <a:pt x="8223" y="1763"/>
                  <a:pt x="8225" y="1776"/>
                </a:cubicBezTo>
                <a:cubicBezTo>
                  <a:pt x="8227" y="1790"/>
                  <a:pt x="8215" y="1804"/>
                  <a:pt x="8220" y="1806"/>
                </a:cubicBezTo>
                <a:cubicBezTo>
                  <a:pt x="8226" y="1808"/>
                  <a:pt x="8247" y="1810"/>
                  <a:pt x="8247" y="1810"/>
                </a:cubicBezTo>
                <a:cubicBezTo>
                  <a:pt x="8247" y="1810"/>
                  <a:pt x="8261" y="1791"/>
                  <a:pt x="8268" y="1791"/>
                </a:cubicBezTo>
                <a:cubicBezTo>
                  <a:pt x="8276" y="1791"/>
                  <a:pt x="8279" y="1797"/>
                  <a:pt x="8289" y="1791"/>
                </a:cubicBezTo>
                <a:cubicBezTo>
                  <a:pt x="8299" y="1785"/>
                  <a:pt x="8297" y="1773"/>
                  <a:pt x="8304" y="1772"/>
                </a:cubicBezTo>
                <a:cubicBezTo>
                  <a:pt x="8311" y="1771"/>
                  <a:pt x="8317" y="1780"/>
                  <a:pt x="8317" y="1780"/>
                </a:cubicBezTo>
                <a:cubicBezTo>
                  <a:pt x="8340" y="1776"/>
                  <a:pt x="8340" y="1776"/>
                  <a:pt x="8340" y="1776"/>
                </a:cubicBezTo>
                <a:cubicBezTo>
                  <a:pt x="8342" y="1765"/>
                  <a:pt x="8342" y="1765"/>
                  <a:pt x="8342" y="1765"/>
                </a:cubicBezTo>
                <a:cubicBezTo>
                  <a:pt x="8348" y="1756"/>
                  <a:pt x="8348" y="1756"/>
                  <a:pt x="8348" y="1756"/>
                </a:cubicBezTo>
                <a:cubicBezTo>
                  <a:pt x="8348" y="1756"/>
                  <a:pt x="8334" y="1750"/>
                  <a:pt x="8328" y="1756"/>
                </a:cubicBezTo>
                <a:cubicBezTo>
                  <a:pt x="8322" y="1762"/>
                  <a:pt x="8298" y="1763"/>
                  <a:pt x="8298" y="1763"/>
                </a:cubicBezTo>
                <a:cubicBezTo>
                  <a:pt x="8298" y="1763"/>
                  <a:pt x="8280" y="1757"/>
                  <a:pt x="8279" y="1747"/>
                </a:cubicBezTo>
                <a:cubicBezTo>
                  <a:pt x="8278" y="1737"/>
                  <a:pt x="8266" y="1738"/>
                  <a:pt x="8266" y="1738"/>
                </a:cubicBezTo>
                <a:cubicBezTo>
                  <a:pt x="8254" y="1725"/>
                  <a:pt x="8254" y="1725"/>
                  <a:pt x="8254" y="1725"/>
                </a:cubicBezTo>
                <a:cubicBezTo>
                  <a:pt x="8229" y="1723"/>
                  <a:pt x="8229" y="1723"/>
                  <a:pt x="8229" y="1723"/>
                </a:cubicBezTo>
                <a:cubicBezTo>
                  <a:pt x="8222" y="1715"/>
                  <a:pt x="8222" y="1715"/>
                  <a:pt x="8222" y="1715"/>
                </a:cubicBezTo>
                <a:cubicBezTo>
                  <a:pt x="8238" y="1714"/>
                  <a:pt x="8238" y="1714"/>
                  <a:pt x="8238" y="1714"/>
                </a:cubicBezTo>
                <a:cubicBezTo>
                  <a:pt x="8238" y="1714"/>
                  <a:pt x="8257" y="1718"/>
                  <a:pt x="8263" y="1717"/>
                </a:cubicBezTo>
                <a:cubicBezTo>
                  <a:pt x="8270" y="1715"/>
                  <a:pt x="8285" y="1703"/>
                  <a:pt x="8285" y="1703"/>
                </a:cubicBezTo>
                <a:cubicBezTo>
                  <a:pt x="8291" y="1708"/>
                  <a:pt x="8291" y="1708"/>
                  <a:pt x="8291" y="1708"/>
                </a:cubicBezTo>
                <a:cubicBezTo>
                  <a:pt x="8291" y="1708"/>
                  <a:pt x="8305" y="1695"/>
                  <a:pt x="8314" y="1692"/>
                </a:cubicBezTo>
                <a:cubicBezTo>
                  <a:pt x="8324" y="1689"/>
                  <a:pt x="8350" y="1688"/>
                  <a:pt x="8350" y="1688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8" y="1666"/>
                  <a:pt x="8378" y="1666"/>
                </a:cubicBezTo>
                <a:cubicBezTo>
                  <a:pt x="8378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79" y="1666"/>
                </a:cubicBezTo>
                <a:cubicBezTo>
                  <a:pt x="8379" y="1666"/>
                  <a:pt x="8379" y="1666"/>
                  <a:pt x="8380" y="1666"/>
                </a:cubicBezTo>
                <a:cubicBezTo>
                  <a:pt x="8380" y="1666"/>
                  <a:pt x="8380" y="1666"/>
                  <a:pt x="8380" y="1666"/>
                </a:cubicBezTo>
                <a:cubicBezTo>
                  <a:pt x="8381" y="1667"/>
                  <a:pt x="8381" y="1667"/>
                  <a:pt x="8382" y="1667"/>
                </a:cubicBezTo>
                <a:cubicBezTo>
                  <a:pt x="8387" y="1669"/>
                  <a:pt x="8397" y="1671"/>
                  <a:pt x="8405" y="1668"/>
                </a:cubicBezTo>
                <a:cubicBezTo>
                  <a:pt x="8404" y="1669"/>
                  <a:pt x="8403" y="1669"/>
                  <a:pt x="8403" y="1669"/>
                </a:cubicBezTo>
                <a:cubicBezTo>
                  <a:pt x="8404" y="1669"/>
                  <a:pt x="8405" y="1668"/>
                  <a:pt x="8407" y="1668"/>
                </a:cubicBezTo>
                <a:cubicBezTo>
                  <a:pt x="8418" y="1662"/>
                  <a:pt x="8447" y="1653"/>
                  <a:pt x="8448" y="1662"/>
                </a:cubicBezTo>
                <a:cubicBezTo>
                  <a:pt x="8449" y="1670"/>
                  <a:pt x="8427" y="1686"/>
                  <a:pt x="8427" y="1686"/>
                </a:cubicBezTo>
                <a:cubicBezTo>
                  <a:pt x="8394" y="1696"/>
                  <a:pt x="8394" y="1696"/>
                  <a:pt x="8394" y="1696"/>
                </a:cubicBezTo>
                <a:cubicBezTo>
                  <a:pt x="8424" y="1719"/>
                  <a:pt x="8424" y="1719"/>
                  <a:pt x="8424" y="1719"/>
                </a:cubicBezTo>
                <a:cubicBezTo>
                  <a:pt x="8424" y="1719"/>
                  <a:pt x="8400" y="1724"/>
                  <a:pt x="8399" y="1734"/>
                </a:cubicBezTo>
                <a:cubicBezTo>
                  <a:pt x="8398" y="1744"/>
                  <a:pt x="8398" y="1755"/>
                  <a:pt x="8398" y="1755"/>
                </a:cubicBezTo>
                <a:cubicBezTo>
                  <a:pt x="8398" y="1755"/>
                  <a:pt x="8385" y="1764"/>
                  <a:pt x="8380" y="1764"/>
                </a:cubicBezTo>
                <a:cubicBezTo>
                  <a:pt x="8375" y="1764"/>
                  <a:pt x="8360" y="1753"/>
                  <a:pt x="8360" y="1753"/>
                </a:cubicBezTo>
                <a:cubicBezTo>
                  <a:pt x="8356" y="1764"/>
                  <a:pt x="8356" y="1764"/>
                  <a:pt x="8356" y="1764"/>
                </a:cubicBezTo>
                <a:cubicBezTo>
                  <a:pt x="8356" y="1764"/>
                  <a:pt x="8368" y="1777"/>
                  <a:pt x="8371" y="1777"/>
                </a:cubicBezTo>
                <a:cubicBezTo>
                  <a:pt x="8374" y="1777"/>
                  <a:pt x="8383" y="1796"/>
                  <a:pt x="8383" y="1796"/>
                </a:cubicBezTo>
                <a:cubicBezTo>
                  <a:pt x="8408" y="1794"/>
                  <a:pt x="8408" y="1794"/>
                  <a:pt x="8408" y="1794"/>
                </a:cubicBezTo>
                <a:cubicBezTo>
                  <a:pt x="8408" y="1794"/>
                  <a:pt x="8426" y="1813"/>
                  <a:pt x="8432" y="1813"/>
                </a:cubicBezTo>
                <a:cubicBezTo>
                  <a:pt x="8438" y="1813"/>
                  <a:pt x="8450" y="1814"/>
                  <a:pt x="8450" y="1814"/>
                </a:cubicBezTo>
                <a:cubicBezTo>
                  <a:pt x="8450" y="1814"/>
                  <a:pt x="8481" y="1851"/>
                  <a:pt x="8489" y="1854"/>
                </a:cubicBezTo>
                <a:cubicBezTo>
                  <a:pt x="8493" y="1855"/>
                  <a:pt x="8500" y="1858"/>
                  <a:pt x="8505" y="1861"/>
                </a:cubicBezTo>
                <a:cubicBezTo>
                  <a:pt x="8504" y="1861"/>
                  <a:pt x="8503" y="1862"/>
                  <a:pt x="8503" y="1863"/>
                </a:cubicBezTo>
                <a:cubicBezTo>
                  <a:pt x="8504" y="1864"/>
                  <a:pt x="8505" y="1865"/>
                  <a:pt x="8505" y="1865"/>
                </a:cubicBezTo>
                <a:cubicBezTo>
                  <a:pt x="8505" y="1865"/>
                  <a:pt x="8545" y="1888"/>
                  <a:pt x="8554" y="1891"/>
                </a:cubicBezTo>
                <a:cubicBezTo>
                  <a:pt x="8562" y="1894"/>
                  <a:pt x="8577" y="1907"/>
                  <a:pt x="8577" y="1907"/>
                </a:cubicBezTo>
                <a:cubicBezTo>
                  <a:pt x="8577" y="1907"/>
                  <a:pt x="8581" y="1935"/>
                  <a:pt x="8581" y="1938"/>
                </a:cubicBezTo>
                <a:cubicBezTo>
                  <a:pt x="8581" y="1942"/>
                  <a:pt x="8593" y="1957"/>
                  <a:pt x="8593" y="1957"/>
                </a:cubicBezTo>
                <a:cubicBezTo>
                  <a:pt x="8593" y="1957"/>
                  <a:pt x="8591" y="1959"/>
                  <a:pt x="8586" y="1964"/>
                </a:cubicBezTo>
                <a:close/>
                <a:moveTo>
                  <a:pt x="8770" y="1610"/>
                </a:moveTo>
                <a:cubicBezTo>
                  <a:pt x="8770" y="1610"/>
                  <a:pt x="8770" y="1610"/>
                  <a:pt x="8770" y="1610"/>
                </a:cubicBezTo>
                <a:cubicBezTo>
                  <a:pt x="8770" y="1610"/>
                  <a:pt x="8770" y="1610"/>
                  <a:pt x="8770" y="1610"/>
                </a:cubicBezTo>
                <a:cubicBezTo>
                  <a:pt x="8770" y="1610"/>
                  <a:pt x="8770" y="1610"/>
                  <a:pt x="8770" y="1610"/>
                </a:cubicBezTo>
                <a:close/>
                <a:moveTo>
                  <a:pt x="8771" y="1494"/>
                </a:moveTo>
                <a:cubicBezTo>
                  <a:pt x="8770" y="1493"/>
                  <a:pt x="8769" y="1492"/>
                  <a:pt x="8768" y="1492"/>
                </a:cubicBezTo>
                <a:cubicBezTo>
                  <a:pt x="8769" y="1492"/>
                  <a:pt x="8770" y="1493"/>
                  <a:pt x="8771" y="1494"/>
                </a:cubicBezTo>
                <a:cubicBezTo>
                  <a:pt x="8771" y="1494"/>
                  <a:pt x="8771" y="1494"/>
                  <a:pt x="8771" y="1494"/>
                </a:cubicBezTo>
                <a:close/>
                <a:moveTo>
                  <a:pt x="9119" y="1937"/>
                </a:moveTo>
                <a:cubicBezTo>
                  <a:pt x="9119" y="1941"/>
                  <a:pt x="9122" y="1941"/>
                  <a:pt x="9129" y="1953"/>
                </a:cubicBezTo>
                <a:cubicBezTo>
                  <a:pt x="9135" y="1965"/>
                  <a:pt x="9171" y="1974"/>
                  <a:pt x="9169" y="1985"/>
                </a:cubicBezTo>
                <a:cubicBezTo>
                  <a:pt x="9166" y="1995"/>
                  <a:pt x="9166" y="2001"/>
                  <a:pt x="9159" y="1999"/>
                </a:cubicBezTo>
                <a:cubicBezTo>
                  <a:pt x="9153" y="1998"/>
                  <a:pt x="9138" y="1985"/>
                  <a:pt x="9141" y="1989"/>
                </a:cubicBezTo>
                <a:cubicBezTo>
                  <a:pt x="9143" y="1993"/>
                  <a:pt x="9138" y="2002"/>
                  <a:pt x="9138" y="2002"/>
                </a:cubicBezTo>
                <a:cubicBezTo>
                  <a:pt x="9111" y="2003"/>
                  <a:pt x="9111" y="2003"/>
                  <a:pt x="9111" y="2003"/>
                </a:cubicBezTo>
                <a:cubicBezTo>
                  <a:pt x="9103" y="1990"/>
                  <a:pt x="9103" y="1990"/>
                  <a:pt x="9103" y="1990"/>
                </a:cubicBezTo>
                <a:cubicBezTo>
                  <a:pt x="9099" y="1995"/>
                  <a:pt x="9099" y="1995"/>
                  <a:pt x="9099" y="1995"/>
                </a:cubicBezTo>
                <a:cubicBezTo>
                  <a:pt x="9099" y="1995"/>
                  <a:pt x="9089" y="1985"/>
                  <a:pt x="9083" y="1975"/>
                </a:cubicBezTo>
                <a:cubicBezTo>
                  <a:pt x="9078" y="1966"/>
                  <a:pt x="9082" y="1951"/>
                  <a:pt x="9078" y="1950"/>
                </a:cubicBezTo>
                <a:cubicBezTo>
                  <a:pt x="9077" y="1950"/>
                  <a:pt x="9075" y="1949"/>
                  <a:pt x="9073" y="1948"/>
                </a:cubicBezTo>
                <a:cubicBezTo>
                  <a:pt x="9073" y="1948"/>
                  <a:pt x="9073" y="1948"/>
                  <a:pt x="9073" y="1948"/>
                </a:cubicBezTo>
                <a:cubicBezTo>
                  <a:pt x="9075" y="1942"/>
                  <a:pt x="9081" y="1922"/>
                  <a:pt x="9089" y="1921"/>
                </a:cubicBezTo>
                <a:cubicBezTo>
                  <a:pt x="9094" y="1920"/>
                  <a:pt x="9102" y="1921"/>
                  <a:pt x="9108" y="1922"/>
                </a:cubicBezTo>
                <a:cubicBezTo>
                  <a:pt x="9108" y="1925"/>
                  <a:pt x="9109" y="1927"/>
                  <a:pt x="9109" y="1927"/>
                </a:cubicBezTo>
                <a:cubicBezTo>
                  <a:pt x="9109" y="1927"/>
                  <a:pt x="9119" y="1933"/>
                  <a:pt x="9119" y="1937"/>
                </a:cubicBezTo>
                <a:close/>
                <a:moveTo>
                  <a:pt x="8999" y="1443"/>
                </a:moveTo>
                <a:cubicBezTo>
                  <a:pt x="8998" y="1442"/>
                  <a:pt x="8997" y="1441"/>
                  <a:pt x="8997" y="1441"/>
                </a:cubicBezTo>
                <a:cubicBezTo>
                  <a:pt x="8997" y="1441"/>
                  <a:pt x="8998" y="1442"/>
                  <a:pt x="8999" y="1443"/>
                </a:cubicBezTo>
                <a:close/>
                <a:moveTo>
                  <a:pt x="8994" y="1439"/>
                </a:moveTo>
                <a:cubicBezTo>
                  <a:pt x="8993" y="1439"/>
                  <a:pt x="8991" y="1439"/>
                  <a:pt x="8990" y="1439"/>
                </a:cubicBezTo>
                <a:cubicBezTo>
                  <a:pt x="8991" y="1439"/>
                  <a:pt x="8993" y="1439"/>
                  <a:pt x="8994" y="1439"/>
                </a:cubicBezTo>
                <a:close/>
                <a:moveTo>
                  <a:pt x="8852" y="1687"/>
                </a:moveTo>
                <a:cubicBezTo>
                  <a:pt x="8851" y="1687"/>
                  <a:pt x="8851" y="1687"/>
                  <a:pt x="8851" y="1687"/>
                </a:cubicBezTo>
                <a:cubicBezTo>
                  <a:pt x="8850" y="1687"/>
                  <a:pt x="8850" y="1687"/>
                  <a:pt x="8849" y="1686"/>
                </a:cubicBezTo>
                <a:cubicBezTo>
                  <a:pt x="8850" y="1687"/>
                  <a:pt x="8851" y="1687"/>
                  <a:pt x="8852" y="1687"/>
                </a:cubicBezTo>
                <a:close/>
                <a:moveTo>
                  <a:pt x="8846" y="1660"/>
                </a:moveTo>
                <a:cubicBezTo>
                  <a:pt x="8846" y="1660"/>
                  <a:pt x="8846" y="1660"/>
                  <a:pt x="8846" y="1660"/>
                </a:cubicBezTo>
                <a:cubicBezTo>
                  <a:pt x="8845" y="1683"/>
                  <a:pt x="8845" y="1683"/>
                  <a:pt x="8845" y="1683"/>
                </a:cubicBezTo>
                <a:lnTo>
                  <a:pt x="8846" y="1660"/>
                </a:lnTo>
                <a:close/>
                <a:moveTo>
                  <a:pt x="8820" y="1496"/>
                </a:moveTo>
                <a:cubicBezTo>
                  <a:pt x="8820" y="1496"/>
                  <a:pt x="8820" y="1496"/>
                  <a:pt x="8820" y="1496"/>
                </a:cubicBezTo>
                <a:cubicBezTo>
                  <a:pt x="8820" y="1496"/>
                  <a:pt x="8819" y="1495"/>
                  <a:pt x="8819" y="1495"/>
                </a:cubicBezTo>
                <a:cubicBezTo>
                  <a:pt x="8819" y="1495"/>
                  <a:pt x="8820" y="1495"/>
                  <a:pt x="8820" y="1496"/>
                </a:cubicBezTo>
                <a:close/>
                <a:moveTo>
                  <a:pt x="8818" y="1493"/>
                </a:moveTo>
                <a:cubicBezTo>
                  <a:pt x="8818" y="1493"/>
                  <a:pt x="8818" y="1493"/>
                  <a:pt x="8818" y="1494"/>
                </a:cubicBezTo>
                <a:cubicBezTo>
                  <a:pt x="8818" y="1494"/>
                  <a:pt x="8818" y="1494"/>
                  <a:pt x="8818" y="1494"/>
                </a:cubicBezTo>
                <a:cubicBezTo>
                  <a:pt x="8818" y="1493"/>
                  <a:pt x="8818" y="1493"/>
                  <a:pt x="8818" y="1492"/>
                </a:cubicBezTo>
                <a:cubicBezTo>
                  <a:pt x="8818" y="1493"/>
                  <a:pt x="8818" y="1493"/>
                  <a:pt x="8818" y="1493"/>
                </a:cubicBezTo>
                <a:close/>
                <a:moveTo>
                  <a:pt x="8817" y="1491"/>
                </a:moveTo>
                <a:cubicBezTo>
                  <a:pt x="8817" y="1491"/>
                  <a:pt x="8817" y="1491"/>
                  <a:pt x="8817" y="1491"/>
                </a:cubicBezTo>
                <a:cubicBezTo>
                  <a:pt x="8817" y="1491"/>
                  <a:pt x="8816" y="1491"/>
                  <a:pt x="8816" y="1490"/>
                </a:cubicBezTo>
                <a:cubicBezTo>
                  <a:pt x="8816" y="1491"/>
                  <a:pt x="8816" y="1491"/>
                  <a:pt x="8817" y="1491"/>
                </a:cubicBezTo>
                <a:close/>
                <a:moveTo>
                  <a:pt x="8814" y="1488"/>
                </a:moveTo>
                <a:cubicBezTo>
                  <a:pt x="8814" y="1488"/>
                  <a:pt x="8814" y="1489"/>
                  <a:pt x="8814" y="1489"/>
                </a:cubicBezTo>
                <a:cubicBezTo>
                  <a:pt x="8814" y="1489"/>
                  <a:pt x="8815" y="1489"/>
                  <a:pt x="8815" y="1490"/>
                </a:cubicBezTo>
                <a:cubicBezTo>
                  <a:pt x="8815" y="1489"/>
                  <a:pt x="8815" y="1489"/>
                  <a:pt x="8814" y="1489"/>
                </a:cubicBezTo>
                <a:cubicBezTo>
                  <a:pt x="8815" y="1489"/>
                  <a:pt x="8815" y="1489"/>
                  <a:pt x="8815" y="1490"/>
                </a:cubicBezTo>
                <a:cubicBezTo>
                  <a:pt x="8815" y="1490"/>
                  <a:pt x="8815" y="1490"/>
                  <a:pt x="8815" y="1490"/>
                </a:cubicBezTo>
                <a:cubicBezTo>
                  <a:pt x="8815" y="1489"/>
                  <a:pt x="8814" y="1489"/>
                  <a:pt x="8814" y="1488"/>
                </a:cubicBezTo>
                <a:cubicBezTo>
                  <a:pt x="8814" y="1488"/>
                  <a:pt x="8814" y="1488"/>
                  <a:pt x="8814" y="1488"/>
                </a:cubicBezTo>
                <a:close/>
                <a:moveTo>
                  <a:pt x="8931" y="2133"/>
                </a:moveTo>
                <a:cubicBezTo>
                  <a:pt x="8931" y="2133"/>
                  <a:pt x="8931" y="2134"/>
                  <a:pt x="8932" y="2136"/>
                </a:cubicBezTo>
                <a:cubicBezTo>
                  <a:pt x="8931" y="2134"/>
                  <a:pt x="8931" y="2133"/>
                  <a:pt x="8931" y="2133"/>
                </a:cubicBezTo>
                <a:close/>
                <a:moveTo>
                  <a:pt x="9173" y="2214"/>
                </a:moveTo>
                <a:cubicBezTo>
                  <a:pt x="9161" y="2216"/>
                  <a:pt x="9150" y="2209"/>
                  <a:pt x="9150" y="2209"/>
                </a:cubicBezTo>
                <a:cubicBezTo>
                  <a:pt x="9150" y="2209"/>
                  <a:pt x="9125" y="2214"/>
                  <a:pt x="9112" y="2217"/>
                </a:cubicBezTo>
                <a:cubicBezTo>
                  <a:pt x="9099" y="2220"/>
                  <a:pt x="9092" y="2229"/>
                  <a:pt x="9084" y="2228"/>
                </a:cubicBezTo>
                <a:cubicBezTo>
                  <a:pt x="9076" y="2227"/>
                  <a:pt x="9068" y="2218"/>
                  <a:pt x="9058" y="2218"/>
                </a:cubicBezTo>
                <a:cubicBezTo>
                  <a:pt x="9048" y="2218"/>
                  <a:pt x="9036" y="2218"/>
                  <a:pt x="9022" y="2208"/>
                </a:cubicBezTo>
                <a:cubicBezTo>
                  <a:pt x="9008" y="2198"/>
                  <a:pt x="9000" y="2181"/>
                  <a:pt x="9000" y="2181"/>
                </a:cubicBezTo>
                <a:cubicBezTo>
                  <a:pt x="9000" y="2181"/>
                  <a:pt x="8971" y="2178"/>
                  <a:pt x="8968" y="2178"/>
                </a:cubicBezTo>
                <a:cubicBezTo>
                  <a:pt x="8965" y="2178"/>
                  <a:pt x="8953" y="2171"/>
                  <a:pt x="8946" y="2163"/>
                </a:cubicBezTo>
                <a:cubicBezTo>
                  <a:pt x="8941" y="2157"/>
                  <a:pt x="8935" y="2143"/>
                  <a:pt x="8932" y="2136"/>
                </a:cubicBezTo>
                <a:cubicBezTo>
                  <a:pt x="8934" y="2129"/>
                  <a:pt x="8936" y="2120"/>
                  <a:pt x="8935" y="2116"/>
                </a:cubicBezTo>
                <a:cubicBezTo>
                  <a:pt x="8933" y="2110"/>
                  <a:pt x="8923" y="2107"/>
                  <a:pt x="8923" y="2107"/>
                </a:cubicBezTo>
                <a:cubicBezTo>
                  <a:pt x="8934" y="2103"/>
                  <a:pt x="8934" y="2103"/>
                  <a:pt x="8934" y="2103"/>
                </a:cubicBezTo>
                <a:cubicBezTo>
                  <a:pt x="8934" y="2084"/>
                  <a:pt x="8934" y="2084"/>
                  <a:pt x="8934" y="2084"/>
                </a:cubicBezTo>
                <a:cubicBezTo>
                  <a:pt x="8934" y="2084"/>
                  <a:pt x="8946" y="2097"/>
                  <a:pt x="8952" y="2089"/>
                </a:cubicBezTo>
                <a:cubicBezTo>
                  <a:pt x="8958" y="2081"/>
                  <a:pt x="8942" y="2071"/>
                  <a:pt x="8942" y="2071"/>
                </a:cubicBezTo>
                <a:cubicBezTo>
                  <a:pt x="8945" y="2058"/>
                  <a:pt x="8945" y="2058"/>
                  <a:pt x="8945" y="2058"/>
                </a:cubicBezTo>
                <a:cubicBezTo>
                  <a:pt x="8944" y="2035"/>
                  <a:pt x="8944" y="2035"/>
                  <a:pt x="8944" y="2035"/>
                </a:cubicBezTo>
                <a:cubicBezTo>
                  <a:pt x="8954" y="2037"/>
                  <a:pt x="8954" y="2037"/>
                  <a:pt x="8954" y="2037"/>
                </a:cubicBezTo>
                <a:cubicBezTo>
                  <a:pt x="8962" y="2028"/>
                  <a:pt x="8962" y="2028"/>
                  <a:pt x="8962" y="2028"/>
                </a:cubicBezTo>
                <a:cubicBezTo>
                  <a:pt x="8984" y="2030"/>
                  <a:pt x="8984" y="2030"/>
                  <a:pt x="8984" y="2030"/>
                </a:cubicBezTo>
                <a:cubicBezTo>
                  <a:pt x="8984" y="2030"/>
                  <a:pt x="8983" y="2025"/>
                  <a:pt x="8979" y="2017"/>
                </a:cubicBezTo>
                <a:cubicBezTo>
                  <a:pt x="8975" y="2009"/>
                  <a:pt x="8959" y="2016"/>
                  <a:pt x="8949" y="2016"/>
                </a:cubicBezTo>
                <a:cubicBezTo>
                  <a:pt x="8939" y="2016"/>
                  <a:pt x="8937" y="1998"/>
                  <a:pt x="8937" y="1998"/>
                </a:cubicBezTo>
                <a:cubicBezTo>
                  <a:pt x="8920" y="1980"/>
                  <a:pt x="8920" y="1980"/>
                  <a:pt x="8920" y="1980"/>
                </a:cubicBezTo>
                <a:cubicBezTo>
                  <a:pt x="8921" y="1971"/>
                  <a:pt x="8921" y="1971"/>
                  <a:pt x="8921" y="1971"/>
                </a:cubicBezTo>
                <a:cubicBezTo>
                  <a:pt x="8889" y="1944"/>
                  <a:pt x="8889" y="1944"/>
                  <a:pt x="8889" y="1944"/>
                </a:cubicBezTo>
                <a:cubicBezTo>
                  <a:pt x="8882" y="1941"/>
                  <a:pt x="8882" y="1941"/>
                  <a:pt x="8882" y="1941"/>
                </a:cubicBezTo>
                <a:cubicBezTo>
                  <a:pt x="8882" y="1941"/>
                  <a:pt x="8877" y="1927"/>
                  <a:pt x="8872" y="1919"/>
                </a:cubicBezTo>
                <a:cubicBezTo>
                  <a:pt x="8867" y="1911"/>
                  <a:pt x="8848" y="1907"/>
                  <a:pt x="8848" y="1907"/>
                </a:cubicBezTo>
                <a:cubicBezTo>
                  <a:pt x="8848" y="1892"/>
                  <a:pt x="8848" y="1892"/>
                  <a:pt x="8848" y="1892"/>
                </a:cubicBezTo>
                <a:cubicBezTo>
                  <a:pt x="8848" y="1892"/>
                  <a:pt x="8840" y="1888"/>
                  <a:pt x="8831" y="1877"/>
                </a:cubicBezTo>
                <a:cubicBezTo>
                  <a:pt x="8822" y="1866"/>
                  <a:pt x="8834" y="1852"/>
                  <a:pt x="8829" y="1839"/>
                </a:cubicBezTo>
                <a:cubicBezTo>
                  <a:pt x="8824" y="1826"/>
                  <a:pt x="8803" y="1812"/>
                  <a:pt x="8803" y="1812"/>
                </a:cubicBezTo>
                <a:cubicBezTo>
                  <a:pt x="8803" y="1812"/>
                  <a:pt x="8794" y="1811"/>
                  <a:pt x="8785" y="1806"/>
                </a:cubicBezTo>
                <a:cubicBezTo>
                  <a:pt x="8776" y="1801"/>
                  <a:pt x="8798" y="1780"/>
                  <a:pt x="8798" y="1780"/>
                </a:cubicBezTo>
                <a:cubicBezTo>
                  <a:pt x="8798" y="1780"/>
                  <a:pt x="8813" y="1767"/>
                  <a:pt x="8816" y="1760"/>
                </a:cubicBezTo>
                <a:cubicBezTo>
                  <a:pt x="8819" y="1753"/>
                  <a:pt x="8805" y="1738"/>
                  <a:pt x="8805" y="1738"/>
                </a:cubicBezTo>
                <a:cubicBezTo>
                  <a:pt x="8805" y="1738"/>
                  <a:pt x="8819" y="1744"/>
                  <a:pt x="8822" y="1744"/>
                </a:cubicBezTo>
                <a:cubicBezTo>
                  <a:pt x="8825" y="1744"/>
                  <a:pt x="8837" y="1743"/>
                  <a:pt x="8840" y="1737"/>
                </a:cubicBezTo>
                <a:cubicBezTo>
                  <a:pt x="8843" y="1731"/>
                  <a:pt x="8846" y="1737"/>
                  <a:pt x="8858" y="1735"/>
                </a:cubicBezTo>
                <a:cubicBezTo>
                  <a:pt x="8870" y="1733"/>
                  <a:pt x="8853" y="1720"/>
                  <a:pt x="8853" y="1720"/>
                </a:cubicBezTo>
                <a:cubicBezTo>
                  <a:pt x="8853" y="1720"/>
                  <a:pt x="8869" y="1721"/>
                  <a:pt x="8872" y="1721"/>
                </a:cubicBezTo>
                <a:cubicBezTo>
                  <a:pt x="8874" y="1721"/>
                  <a:pt x="8873" y="1711"/>
                  <a:pt x="8872" y="1708"/>
                </a:cubicBezTo>
                <a:cubicBezTo>
                  <a:pt x="8873" y="1708"/>
                  <a:pt x="8874" y="1709"/>
                  <a:pt x="8874" y="1709"/>
                </a:cubicBezTo>
                <a:cubicBezTo>
                  <a:pt x="8881" y="1699"/>
                  <a:pt x="8881" y="1699"/>
                  <a:pt x="8881" y="1699"/>
                </a:cubicBezTo>
                <a:cubicBezTo>
                  <a:pt x="8881" y="1699"/>
                  <a:pt x="8890" y="1701"/>
                  <a:pt x="8897" y="1694"/>
                </a:cubicBezTo>
                <a:cubicBezTo>
                  <a:pt x="8903" y="1687"/>
                  <a:pt x="8953" y="1666"/>
                  <a:pt x="8959" y="1669"/>
                </a:cubicBezTo>
                <a:cubicBezTo>
                  <a:pt x="8966" y="1671"/>
                  <a:pt x="8987" y="1687"/>
                  <a:pt x="8997" y="1687"/>
                </a:cubicBezTo>
                <a:cubicBezTo>
                  <a:pt x="9006" y="1687"/>
                  <a:pt x="9014" y="1669"/>
                  <a:pt x="9034" y="1694"/>
                </a:cubicBezTo>
                <a:cubicBezTo>
                  <a:pt x="9054" y="1719"/>
                  <a:pt x="9038" y="1727"/>
                  <a:pt x="9035" y="1735"/>
                </a:cubicBezTo>
                <a:cubicBezTo>
                  <a:pt x="9033" y="1743"/>
                  <a:pt x="9054" y="1759"/>
                  <a:pt x="9061" y="1762"/>
                </a:cubicBezTo>
                <a:cubicBezTo>
                  <a:pt x="9067" y="1765"/>
                  <a:pt x="9078" y="1750"/>
                  <a:pt x="9086" y="1746"/>
                </a:cubicBezTo>
                <a:cubicBezTo>
                  <a:pt x="9094" y="1742"/>
                  <a:pt x="9097" y="1755"/>
                  <a:pt x="9097" y="1763"/>
                </a:cubicBezTo>
                <a:cubicBezTo>
                  <a:pt x="9097" y="1771"/>
                  <a:pt x="9109" y="1781"/>
                  <a:pt x="9109" y="1781"/>
                </a:cubicBezTo>
                <a:cubicBezTo>
                  <a:pt x="9082" y="1782"/>
                  <a:pt x="9082" y="1782"/>
                  <a:pt x="9082" y="1782"/>
                </a:cubicBezTo>
                <a:cubicBezTo>
                  <a:pt x="9082" y="1782"/>
                  <a:pt x="9083" y="1802"/>
                  <a:pt x="9070" y="1793"/>
                </a:cubicBezTo>
                <a:cubicBezTo>
                  <a:pt x="9057" y="1783"/>
                  <a:pt x="9083" y="1770"/>
                  <a:pt x="9083" y="1770"/>
                </a:cubicBezTo>
                <a:cubicBezTo>
                  <a:pt x="9083" y="1770"/>
                  <a:pt x="9035" y="1767"/>
                  <a:pt x="9027" y="1765"/>
                </a:cubicBezTo>
                <a:cubicBezTo>
                  <a:pt x="9019" y="1762"/>
                  <a:pt x="8977" y="1754"/>
                  <a:pt x="8977" y="1754"/>
                </a:cubicBezTo>
                <a:cubicBezTo>
                  <a:pt x="8985" y="1777"/>
                  <a:pt x="8985" y="1777"/>
                  <a:pt x="8985" y="1777"/>
                </a:cubicBezTo>
                <a:cubicBezTo>
                  <a:pt x="8985" y="1777"/>
                  <a:pt x="8969" y="1770"/>
                  <a:pt x="8963" y="1783"/>
                </a:cubicBezTo>
                <a:cubicBezTo>
                  <a:pt x="8958" y="1797"/>
                  <a:pt x="8994" y="1798"/>
                  <a:pt x="8993" y="1806"/>
                </a:cubicBezTo>
                <a:cubicBezTo>
                  <a:pt x="8991" y="1814"/>
                  <a:pt x="8943" y="1789"/>
                  <a:pt x="8938" y="1801"/>
                </a:cubicBezTo>
                <a:cubicBezTo>
                  <a:pt x="8933" y="1813"/>
                  <a:pt x="8966" y="1821"/>
                  <a:pt x="8966" y="1821"/>
                </a:cubicBezTo>
                <a:cubicBezTo>
                  <a:pt x="8966" y="1821"/>
                  <a:pt x="8966" y="1829"/>
                  <a:pt x="8973" y="1837"/>
                </a:cubicBezTo>
                <a:cubicBezTo>
                  <a:pt x="8979" y="1845"/>
                  <a:pt x="8993" y="1861"/>
                  <a:pt x="8993" y="1861"/>
                </a:cubicBezTo>
                <a:cubicBezTo>
                  <a:pt x="8991" y="1875"/>
                  <a:pt x="8991" y="1875"/>
                  <a:pt x="8991" y="1875"/>
                </a:cubicBezTo>
                <a:cubicBezTo>
                  <a:pt x="9014" y="1878"/>
                  <a:pt x="9014" y="1878"/>
                  <a:pt x="9014" y="1878"/>
                </a:cubicBezTo>
                <a:cubicBezTo>
                  <a:pt x="9019" y="1893"/>
                  <a:pt x="9019" y="1893"/>
                  <a:pt x="9019" y="1893"/>
                </a:cubicBezTo>
                <a:cubicBezTo>
                  <a:pt x="9019" y="1893"/>
                  <a:pt x="9054" y="1893"/>
                  <a:pt x="9065" y="1903"/>
                </a:cubicBezTo>
                <a:cubicBezTo>
                  <a:pt x="9075" y="1914"/>
                  <a:pt x="9053" y="1925"/>
                  <a:pt x="9051" y="1935"/>
                </a:cubicBezTo>
                <a:cubicBezTo>
                  <a:pt x="9050" y="1946"/>
                  <a:pt x="9061" y="1947"/>
                  <a:pt x="9061" y="1947"/>
                </a:cubicBezTo>
                <a:cubicBezTo>
                  <a:pt x="9059" y="1953"/>
                  <a:pt x="9073" y="1967"/>
                  <a:pt x="9073" y="1967"/>
                </a:cubicBezTo>
                <a:cubicBezTo>
                  <a:pt x="9073" y="1967"/>
                  <a:pt x="9093" y="1991"/>
                  <a:pt x="9093" y="1995"/>
                </a:cubicBezTo>
                <a:cubicBezTo>
                  <a:pt x="9093" y="1999"/>
                  <a:pt x="9083" y="2010"/>
                  <a:pt x="9083" y="2015"/>
                </a:cubicBezTo>
                <a:cubicBezTo>
                  <a:pt x="9083" y="2021"/>
                  <a:pt x="9099" y="2046"/>
                  <a:pt x="9099" y="2046"/>
                </a:cubicBezTo>
                <a:cubicBezTo>
                  <a:pt x="9119" y="2043"/>
                  <a:pt x="9119" y="2043"/>
                  <a:pt x="9119" y="2043"/>
                </a:cubicBezTo>
                <a:cubicBezTo>
                  <a:pt x="9121" y="2061"/>
                  <a:pt x="9121" y="2061"/>
                  <a:pt x="9121" y="2061"/>
                </a:cubicBezTo>
                <a:cubicBezTo>
                  <a:pt x="9134" y="2067"/>
                  <a:pt x="9134" y="2067"/>
                  <a:pt x="9134" y="2067"/>
                </a:cubicBezTo>
                <a:cubicBezTo>
                  <a:pt x="9134" y="2067"/>
                  <a:pt x="9105" y="2066"/>
                  <a:pt x="9109" y="2075"/>
                </a:cubicBezTo>
                <a:cubicBezTo>
                  <a:pt x="9113" y="2085"/>
                  <a:pt x="9123" y="2079"/>
                  <a:pt x="9130" y="2082"/>
                </a:cubicBezTo>
                <a:cubicBezTo>
                  <a:pt x="9137" y="2085"/>
                  <a:pt x="9149" y="2098"/>
                  <a:pt x="9149" y="2098"/>
                </a:cubicBezTo>
                <a:cubicBezTo>
                  <a:pt x="9153" y="2133"/>
                  <a:pt x="9153" y="2133"/>
                  <a:pt x="9153" y="2133"/>
                </a:cubicBezTo>
                <a:cubicBezTo>
                  <a:pt x="9158" y="2135"/>
                  <a:pt x="9158" y="2135"/>
                  <a:pt x="9158" y="2135"/>
                </a:cubicBezTo>
                <a:cubicBezTo>
                  <a:pt x="9158" y="2135"/>
                  <a:pt x="9155" y="2149"/>
                  <a:pt x="9155" y="2157"/>
                </a:cubicBezTo>
                <a:cubicBezTo>
                  <a:pt x="9155" y="2165"/>
                  <a:pt x="9165" y="2186"/>
                  <a:pt x="9165" y="2186"/>
                </a:cubicBezTo>
                <a:cubicBezTo>
                  <a:pt x="9165" y="2186"/>
                  <a:pt x="9185" y="2212"/>
                  <a:pt x="9173" y="2214"/>
                </a:cubicBezTo>
                <a:close/>
                <a:moveTo>
                  <a:pt x="9387" y="1710"/>
                </a:moveTo>
                <a:cubicBezTo>
                  <a:pt x="9384" y="1716"/>
                  <a:pt x="9370" y="1720"/>
                  <a:pt x="9370" y="1720"/>
                </a:cubicBezTo>
                <a:cubicBezTo>
                  <a:pt x="9370" y="1720"/>
                  <a:pt x="9362" y="1727"/>
                  <a:pt x="9358" y="1731"/>
                </a:cubicBezTo>
                <a:cubicBezTo>
                  <a:pt x="9354" y="1735"/>
                  <a:pt x="9338" y="1730"/>
                  <a:pt x="9335" y="1732"/>
                </a:cubicBezTo>
                <a:cubicBezTo>
                  <a:pt x="9332" y="1734"/>
                  <a:pt x="9332" y="1745"/>
                  <a:pt x="9332" y="1745"/>
                </a:cubicBezTo>
                <a:cubicBezTo>
                  <a:pt x="9332" y="1745"/>
                  <a:pt x="9347" y="1751"/>
                  <a:pt x="9351" y="1752"/>
                </a:cubicBezTo>
                <a:cubicBezTo>
                  <a:pt x="9355" y="1753"/>
                  <a:pt x="9358" y="1762"/>
                  <a:pt x="9352" y="1771"/>
                </a:cubicBezTo>
                <a:cubicBezTo>
                  <a:pt x="9349" y="1775"/>
                  <a:pt x="9352" y="1781"/>
                  <a:pt x="9355" y="1788"/>
                </a:cubicBezTo>
                <a:cubicBezTo>
                  <a:pt x="9359" y="1797"/>
                  <a:pt x="9364" y="1806"/>
                  <a:pt x="9361" y="1811"/>
                </a:cubicBezTo>
                <a:cubicBezTo>
                  <a:pt x="9356" y="1820"/>
                  <a:pt x="9352" y="1825"/>
                  <a:pt x="9352" y="1825"/>
                </a:cubicBezTo>
                <a:cubicBezTo>
                  <a:pt x="9352" y="1825"/>
                  <a:pt x="9340" y="1826"/>
                  <a:pt x="9332" y="1820"/>
                </a:cubicBezTo>
                <a:cubicBezTo>
                  <a:pt x="9324" y="1814"/>
                  <a:pt x="9327" y="1805"/>
                  <a:pt x="9327" y="1805"/>
                </a:cubicBezTo>
                <a:cubicBezTo>
                  <a:pt x="9320" y="1786"/>
                  <a:pt x="9320" y="1786"/>
                  <a:pt x="9320" y="1786"/>
                </a:cubicBezTo>
                <a:cubicBezTo>
                  <a:pt x="9323" y="1773"/>
                  <a:pt x="9323" y="1773"/>
                  <a:pt x="9323" y="1773"/>
                </a:cubicBezTo>
                <a:cubicBezTo>
                  <a:pt x="9325" y="1764"/>
                  <a:pt x="9325" y="1764"/>
                  <a:pt x="9325" y="1764"/>
                </a:cubicBezTo>
                <a:cubicBezTo>
                  <a:pt x="9325" y="1764"/>
                  <a:pt x="9317" y="1749"/>
                  <a:pt x="9310" y="1744"/>
                </a:cubicBezTo>
                <a:cubicBezTo>
                  <a:pt x="9303" y="1739"/>
                  <a:pt x="9302" y="1736"/>
                  <a:pt x="9302" y="1736"/>
                </a:cubicBezTo>
                <a:cubicBezTo>
                  <a:pt x="9293" y="1750"/>
                  <a:pt x="9293" y="1750"/>
                  <a:pt x="9293" y="1750"/>
                </a:cubicBezTo>
                <a:cubicBezTo>
                  <a:pt x="9290" y="1757"/>
                  <a:pt x="9290" y="1757"/>
                  <a:pt x="9290" y="1757"/>
                </a:cubicBezTo>
                <a:cubicBezTo>
                  <a:pt x="9284" y="1770"/>
                  <a:pt x="9284" y="1770"/>
                  <a:pt x="9284" y="1770"/>
                </a:cubicBezTo>
                <a:cubicBezTo>
                  <a:pt x="9284" y="1770"/>
                  <a:pt x="9297" y="1778"/>
                  <a:pt x="9297" y="1787"/>
                </a:cubicBezTo>
                <a:cubicBezTo>
                  <a:pt x="9297" y="1796"/>
                  <a:pt x="9294" y="1795"/>
                  <a:pt x="9294" y="1795"/>
                </a:cubicBezTo>
                <a:cubicBezTo>
                  <a:pt x="9294" y="1795"/>
                  <a:pt x="9295" y="1805"/>
                  <a:pt x="9284" y="1807"/>
                </a:cubicBezTo>
                <a:cubicBezTo>
                  <a:pt x="9273" y="1809"/>
                  <a:pt x="9276" y="1789"/>
                  <a:pt x="9270" y="1787"/>
                </a:cubicBezTo>
                <a:cubicBezTo>
                  <a:pt x="9264" y="1785"/>
                  <a:pt x="9277" y="1771"/>
                  <a:pt x="9277" y="1771"/>
                </a:cubicBezTo>
                <a:cubicBezTo>
                  <a:pt x="9281" y="1753"/>
                  <a:pt x="9281" y="1753"/>
                  <a:pt x="9281" y="1753"/>
                </a:cubicBezTo>
                <a:cubicBezTo>
                  <a:pt x="9281" y="1752"/>
                  <a:pt x="9281" y="1752"/>
                  <a:pt x="9281" y="1752"/>
                </a:cubicBezTo>
                <a:cubicBezTo>
                  <a:pt x="9281" y="1752"/>
                  <a:pt x="9285" y="1740"/>
                  <a:pt x="9286" y="1730"/>
                </a:cubicBezTo>
                <a:cubicBezTo>
                  <a:pt x="9287" y="1720"/>
                  <a:pt x="9306" y="1725"/>
                  <a:pt x="9306" y="1725"/>
                </a:cubicBezTo>
                <a:cubicBezTo>
                  <a:pt x="9311" y="1740"/>
                  <a:pt x="9311" y="1740"/>
                  <a:pt x="9311" y="1740"/>
                </a:cubicBezTo>
                <a:cubicBezTo>
                  <a:pt x="9311" y="1740"/>
                  <a:pt x="9325" y="1734"/>
                  <a:pt x="9327" y="1731"/>
                </a:cubicBezTo>
                <a:cubicBezTo>
                  <a:pt x="9329" y="1728"/>
                  <a:pt x="9313" y="1710"/>
                  <a:pt x="9313" y="1710"/>
                </a:cubicBezTo>
                <a:cubicBezTo>
                  <a:pt x="9323" y="1710"/>
                  <a:pt x="9323" y="1710"/>
                  <a:pt x="9323" y="1710"/>
                </a:cubicBezTo>
                <a:cubicBezTo>
                  <a:pt x="9332" y="1719"/>
                  <a:pt x="9332" y="1719"/>
                  <a:pt x="9332" y="1719"/>
                </a:cubicBezTo>
                <a:cubicBezTo>
                  <a:pt x="9349" y="1718"/>
                  <a:pt x="9349" y="1718"/>
                  <a:pt x="9349" y="1718"/>
                </a:cubicBezTo>
                <a:cubicBezTo>
                  <a:pt x="9349" y="1718"/>
                  <a:pt x="9363" y="1722"/>
                  <a:pt x="9366" y="1718"/>
                </a:cubicBezTo>
                <a:cubicBezTo>
                  <a:pt x="9369" y="1714"/>
                  <a:pt x="9364" y="1710"/>
                  <a:pt x="9360" y="1710"/>
                </a:cubicBezTo>
                <a:cubicBezTo>
                  <a:pt x="9356" y="1710"/>
                  <a:pt x="9348" y="1705"/>
                  <a:pt x="9348" y="1705"/>
                </a:cubicBezTo>
                <a:cubicBezTo>
                  <a:pt x="9348" y="1705"/>
                  <a:pt x="9332" y="1709"/>
                  <a:pt x="9329" y="1699"/>
                </a:cubicBezTo>
                <a:cubicBezTo>
                  <a:pt x="9326" y="1689"/>
                  <a:pt x="9349" y="1691"/>
                  <a:pt x="9349" y="1691"/>
                </a:cubicBezTo>
                <a:cubicBezTo>
                  <a:pt x="9358" y="1683"/>
                  <a:pt x="9358" y="1683"/>
                  <a:pt x="9358" y="1683"/>
                </a:cubicBezTo>
                <a:cubicBezTo>
                  <a:pt x="9358" y="1683"/>
                  <a:pt x="9370" y="1700"/>
                  <a:pt x="9373" y="1700"/>
                </a:cubicBezTo>
                <a:cubicBezTo>
                  <a:pt x="9376" y="1700"/>
                  <a:pt x="9381" y="1694"/>
                  <a:pt x="9381" y="1694"/>
                </a:cubicBezTo>
                <a:cubicBezTo>
                  <a:pt x="9381" y="1694"/>
                  <a:pt x="9390" y="1704"/>
                  <a:pt x="9387" y="1710"/>
                </a:cubicBezTo>
                <a:close/>
                <a:moveTo>
                  <a:pt x="10130" y="1704"/>
                </a:moveTo>
                <a:cubicBezTo>
                  <a:pt x="10125" y="1709"/>
                  <a:pt x="10108" y="1705"/>
                  <a:pt x="10108" y="1705"/>
                </a:cubicBezTo>
                <a:cubicBezTo>
                  <a:pt x="10108" y="1705"/>
                  <a:pt x="10106" y="1711"/>
                  <a:pt x="10101" y="1712"/>
                </a:cubicBezTo>
                <a:cubicBezTo>
                  <a:pt x="10096" y="1713"/>
                  <a:pt x="10085" y="1703"/>
                  <a:pt x="10085" y="1703"/>
                </a:cubicBezTo>
                <a:cubicBezTo>
                  <a:pt x="10065" y="1706"/>
                  <a:pt x="10065" y="1706"/>
                  <a:pt x="10065" y="1706"/>
                </a:cubicBezTo>
                <a:cubicBezTo>
                  <a:pt x="10044" y="1702"/>
                  <a:pt x="10044" y="1702"/>
                  <a:pt x="10044" y="1702"/>
                </a:cubicBezTo>
                <a:cubicBezTo>
                  <a:pt x="10032" y="1703"/>
                  <a:pt x="10032" y="1703"/>
                  <a:pt x="10032" y="1703"/>
                </a:cubicBezTo>
                <a:cubicBezTo>
                  <a:pt x="10015" y="1698"/>
                  <a:pt x="10015" y="1698"/>
                  <a:pt x="10015" y="1698"/>
                </a:cubicBezTo>
                <a:cubicBezTo>
                  <a:pt x="10015" y="1698"/>
                  <a:pt x="10004" y="1699"/>
                  <a:pt x="9991" y="1699"/>
                </a:cubicBezTo>
                <a:cubicBezTo>
                  <a:pt x="9978" y="1699"/>
                  <a:pt x="9981" y="1693"/>
                  <a:pt x="9981" y="1693"/>
                </a:cubicBezTo>
                <a:cubicBezTo>
                  <a:pt x="9981" y="1693"/>
                  <a:pt x="9973" y="1701"/>
                  <a:pt x="9967" y="1703"/>
                </a:cubicBezTo>
                <a:cubicBezTo>
                  <a:pt x="9961" y="1705"/>
                  <a:pt x="9960" y="1715"/>
                  <a:pt x="9954" y="1723"/>
                </a:cubicBezTo>
                <a:cubicBezTo>
                  <a:pt x="9948" y="1731"/>
                  <a:pt x="9940" y="1728"/>
                  <a:pt x="9940" y="1728"/>
                </a:cubicBezTo>
                <a:cubicBezTo>
                  <a:pt x="9944" y="1746"/>
                  <a:pt x="9944" y="1746"/>
                  <a:pt x="9944" y="1746"/>
                </a:cubicBezTo>
                <a:cubicBezTo>
                  <a:pt x="9936" y="1753"/>
                  <a:pt x="9936" y="1753"/>
                  <a:pt x="9936" y="1753"/>
                </a:cubicBezTo>
                <a:cubicBezTo>
                  <a:pt x="9946" y="1764"/>
                  <a:pt x="9946" y="1764"/>
                  <a:pt x="9946" y="1764"/>
                </a:cubicBezTo>
                <a:cubicBezTo>
                  <a:pt x="9945" y="1781"/>
                  <a:pt x="9945" y="1781"/>
                  <a:pt x="9945" y="1781"/>
                </a:cubicBezTo>
                <a:cubicBezTo>
                  <a:pt x="9941" y="1780"/>
                  <a:pt x="9912" y="1746"/>
                  <a:pt x="9912" y="1746"/>
                </a:cubicBezTo>
                <a:cubicBezTo>
                  <a:pt x="9912" y="1746"/>
                  <a:pt x="9908" y="1731"/>
                  <a:pt x="9908" y="1720"/>
                </a:cubicBezTo>
                <a:cubicBezTo>
                  <a:pt x="9908" y="1709"/>
                  <a:pt x="9926" y="1706"/>
                  <a:pt x="9930" y="1705"/>
                </a:cubicBezTo>
                <a:cubicBezTo>
                  <a:pt x="9934" y="1704"/>
                  <a:pt x="9932" y="1693"/>
                  <a:pt x="9938" y="1687"/>
                </a:cubicBezTo>
                <a:cubicBezTo>
                  <a:pt x="9944" y="1681"/>
                  <a:pt x="9969" y="1687"/>
                  <a:pt x="9973" y="1687"/>
                </a:cubicBezTo>
                <a:cubicBezTo>
                  <a:pt x="9977" y="1687"/>
                  <a:pt x="9985" y="1681"/>
                  <a:pt x="9998" y="1682"/>
                </a:cubicBezTo>
                <a:cubicBezTo>
                  <a:pt x="10011" y="1683"/>
                  <a:pt x="10019" y="1690"/>
                  <a:pt x="10026" y="1691"/>
                </a:cubicBezTo>
                <a:cubicBezTo>
                  <a:pt x="10033" y="1692"/>
                  <a:pt x="10038" y="1695"/>
                  <a:pt x="10051" y="1697"/>
                </a:cubicBezTo>
                <a:cubicBezTo>
                  <a:pt x="10064" y="1699"/>
                  <a:pt x="10060" y="1688"/>
                  <a:pt x="10073" y="1688"/>
                </a:cubicBezTo>
                <a:cubicBezTo>
                  <a:pt x="10086" y="1688"/>
                  <a:pt x="10105" y="1693"/>
                  <a:pt x="10105" y="1693"/>
                </a:cubicBezTo>
                <a:cubicBezTo>
                  <a:pt x="10105" y="1693"/>
                  <a:pt x="10115" y="1684"/>
                  <a:pt x="10129" y="1682"/>
                </a:cubicBezTo>
                <a:cubicBezTo>
                  <a:pt x="10143" y="1680"/>
                  <a:pt x="10135" y="1699"/>
                  <a:pt x="10130" y="1704"/>
                </a:cubicBezTo>
                <a:close/>
                <a:moveTo>
                  <a:pt x="11182" y="1348"/>
                </a:moveTo>
                <a:cubicBezTo>
                  <a:pt x="11182" y="1348"/>
                  <a:pt x="11179" y="1362"/>
                  <a:pt x="11178" y="1365"/>
                </a:cubicBezTo>
                <a:cubicBezTo>
                  <a:pt x="11177" y="1368"/>
                  <a:pt x="11164" y="1375"/>
                  <a:pt x="11164" y="1375"/>
                </a:cubicBezTo>
                <a:cubicBezTo>
                  <a:pt x="11164" y="1375"/>
                  <a:pt x="11152" y="1381"/>
                  <a:pt x="11148" y="1381"/>
                </a:cubicBezTo>
                <a:cubicBezTo>
                  <a:pt x="11143" y="1381"/>
                  <a:pt x="11144" y="1393"/>
                  <a:pt x="11144" y="1393"/>
                </a:cubicBezTo>
                <a:cubicBezTo>
                  <a:pt x="11144" y="1393"/>
                  <a:pt x="11142" y="1386"/>
                  <a:pt x="11122" y="1393"/>
                </a:cubicBezTo>
                <a:cubicBezTo>
                  <a:pt x="11101" y="1399"/>
                  <a:pt x="11130" y="1409"/>
                  <a:pt x="11130" y="1409"/>
                </a:cubicBezTo>
                <a:cubicBezTo>
                  <a:pt x="11130" y="1409"/>
                  <a:pt x="11120" y="1417"/>
                  <a:pt x="11118" y="1426"/>
                </a:cubicBezTo>
                <a:cubicBezTo>
                  <a:pt x="11117" y="1436"/>
                  <a:pt x="11102" y="1427"/>
                  <a:pt x="11102" y="1427"/>
                </a:cubicBezTo>
                <a:cubicBezTo>
                  <a:pt x="11102" y="1427"/>
                  <a:pt x="11099" y="1441"/>
                  <a:pt x="11079" y="1441"/>
                </a:cubicBezTo>
                <a:cubicBezTo>
                  <a:pt x="11058" y="1441"/>
                  <a:pt x="11059" y="1436"/>
                  <a:pt x="11059" y="1436"/>
                </a:cubicBezTo>
                <a:cubicBezTo>
                  <a:pt x="11036" y="1430"/>
                  <a:pt x="11036" y="1430"/>
                  <a:pt x="11036" y="1430"/>
                </a:cubicBezTo>
                <a:cubicBezTo>
                  <a:pt x="11047" y="1424"/>
                  <a:pt x="11047" y="1424"/>
                  <a:pt x="11047" y="1424"/>
                </a:cubicBezTo>
                <a:cubicBezTo>
                  <a:pt x="11069" y="1424"/>
                  <a:pt x="11069" y="1424"/>
                  <a:pt x="11069" y="1424"/>
                </a:cubicBezTo>
                <a:cubicBezTo>
                  <a:pt x="11070" y="1419"/>
                  <a:pt x="11070" y="1419"/>
                  <a:pt x="11070" y="1419"/>
                </a:cubicBezTo>
                <a:cubicBezTo>
                  <a:pt x="11070" y="1419"/>
                  <a:pt x="11086" y="1419"/>
                  <a:pt x="11093" y="1412"/>
                </a:cubicBezTo>
                <a:cubicBezTo>
                  <a:pt x="11099" y="1406"/>
                  <a:pt x="11100" y="1387"/>
                  <a:pt x="11100" y="1387"/>
                </a:cubicBezTo>
                <a:cubicBezTo>
                  <a:pt x="11100" y="1387"/>
                  <a:pt x="11104" y="1386"/>
                  <a:pt x="11113" y="1384"/>
                </a:cubicBezTo>
                <a:cubicBezTo>
                  <a:pt x="11122" y="1382"/>
                  <a:pt x="11122" y="1366"/>
                  <a:pt x="11122" y="1366"/>
                </a:cubicBezTo>
                <a:cubicBezTo>
                  <a:pt x="11122" y="1366"/>
                  <a:pt x="11115" y="1362"/>
                  <a:pt x="11116" y="1356"/>
                </a:cubicBezTo>
                <a:cubicBezTo>
                  <a:pt x="11117" y="1351"/>
                  <a:pt x="11136" y="1334"/>
                  <a:pt x="11136" y="1334"/>
                </a:cubicBezTo>
                <a:cubicBezTo>
                  <a:pt x="11136" y="1323"/>
                  <a:pt x="11136" y="1323"/>
                  <a:pt x="11136" y="1323"/>
                </a:cubicBezTo>
                <a:cubicBezTo>
                  <a:pt x="11150" y="1310"/>
                  <a:pt x="11150" y="1310"/>
                  <a:pt x="11150" y="1310"/>
                </a:cubicBezTo>
                <a:cubicBezTo>
                  <a:pt x="11142" y="1299"/>
                  <a:pt x="11142" y="1299"/>
                  <a:pt x="11142" y="1299"/>
                </a:cubicBezTo>
                <a:cubicBezTo>
                  <a:pt x="11141" y="1246"/>
                  <a:pt x="11141" y="1246"/>
                  <a:pt x="11141" y="1246"/>
                </a:cubicBezTo>
                <a:cubicBezTo>
                  <a:pt x="11141" y="1246"/>
                  <a:pt x="11126" y="1224"/>
                  <a:pt x="11144" y="1219"/>
                </a:cubicBezTo>
                <a:cubicBezTo>
                  <a:pt x="11163" y="1215"/>
                  <a:pt x="11159" y="1240"/>
                  <a:pt x="11159" y="1240"/>
                </a:cubicBezTo>
                <a:cubicBezTo>
                  <a:pt x="11159" y="1240"/>
                  <a:pt x="11168" y="1247"/>
                  <a:pt x="11172" y="1262"/>
                </a:cubicBezTo>
                <a:cubicBezTo>
                  <a:pt x="11177" y="1278"/>
                  <a:pt x="11179" y="1288"/>
                  <a:pt x="11179" y="1288"/>
                </a:cubicBezTo>
                <a:cubicBezTo>
                  <a:pt x="11193" y="1307"/>
                  <a:pt x="11193" y="1307"/>
                  <a:pt x="11193" y="1307"/>
                </a:cubicBezTo>
                <a:cubicBezTo>
                  <a:pt x="11187" y="1318"/>
                  <a:pt x="11187" y="1318"/>
                  <a:pt x="11187" y="1318"/>
                </a:cubicBezTo>
                <a:cubicBezTo>
                  <a:pt x="11187" y="1318"/>
                  <a:pt x="11174" y="1324"/>
                  <a:pt x="11176" y="1331"/>
                </a:cubicBezTo>
                <a:cubicBezTo>
                  <a:pt x="11177" y="1339"/>
                  <a:pt x="11193" y="1330"/>
                  <a:pt x="11193" y="1330"/>
                </a:cubicBezTo>
                <a:cubicBezTo>
                  <a:pt x="11195" y="1341"/>
                  <a:pt x="11195" y="1341"/>
                  <a:pt x="11195" y="1341"/>
                </a:cubicBezTo>
                <a:lnTo>
                  <a:pt x="11182" y="1348"/>
                </a:lnTo>
                <a:close/>
                <a:moveTo>
                  <a:pt x="13036" y="1803"/>
                </a:moveTo>
                <a:cubicBezTo>
                  <a:pt x="13024" y="1842"/>
                  <a:pt x="13024" y="1842"/>
                  <a:pt x="13024" y="1842"/>
                </a:cubicBezTo>
                <a:cubicBezTo>
                  <a:pt x="13033" y="1839"/>
                  <a:pt x="13033" y="1839"/>
                  <a:pt x="13033" y="1839"/>
                </a:cubicBezTo>
                <a:cubicBezTo>
                  <a:pt x="13049" y="1812"/>
                  <a:pt x="13049" y="1812"/>
                  <a:pt x="13049" y="1812"/>
                </a:cubicBezTo>
                <a:lnTo>
                  <a:pt x="13036" y="1803"/>
                </a:lnTo>
                <a:close/>
                <a:moveTo>
                  <a:pt x="12612" y="2401"/>
                </a:moveTo>
                <a:cubicBezTo>
                  <a:pt x="12631" y="2434"/>
                  <a:pt x="12631" y="2434"/>
                  <a:pt x="12631" y="2434"/>
                </a:cubicBezTo>
                <a:cubicBezTo>
                  <a:pt x="12643" y="2428"/>
                  <a:pt x="12643" y="2428"/>
                  <a:pt x="12643" y="2428"/>
                </a:cubicBezTo>
                <a:cubicBezTo>
                  <a:pt x="12643" y="2428"/>
                  <a:pt x="12636" y="2409"/>
                  <a:pt x="12644" y="2413"/>
                </a:cubicBezTo>
                <a:cubicBezTo>
                  <a:pt x="12652" y="2417"/>
                  <a:pt x="12664" y="2438"/>
                  <a:pt x="12664" y="2438"/>
                </a:cubicBezTo>
                <a:cubicBezTo>
                  <a:pt x="12663" y="2463"/>
                  <a:pt x="12663" y="2463"/>
                  <a:pt x="12663" y="2463"/>
                </a:cubicBezTo>
                <a:cubicBezTo>
                  <a:pt x="12651" y="2468"/>
                  <a:pt x="12651" y="2468"/>
                  <a:pt x="12651" y="2468"/>
                </a:cubicBezTo>
                <a:cubicBezTo>
                  <a:pt x="12651" y="2468"/>
                  <a:pt x="12662" y="2515"/>
                  <a:pt x="12672" y="2517"/>
                </a:cubicBezTo>
                <a:cubicBezTo>
                  <a:pt x="12682" y="2519"/>
                  <a:pt x="12680" y="2487"/>
                  <a:pt x="12680" y="2487"/>
                </a:cubicBezTo>
                <a:cubicBezTo>
                  <a:pt x="12701" y="2494"/>
                  <a:pt x="12701" y="2494"/>
                  <a:pt x="12701" y="2494"/>
                </a:cubicBezTo>
                <a:cubicBezTo>
                  <a:pt x="12701" y="2494"/>
                  <a:pt x="12698" y="2521"/>
                  <a:pt x="12702" y="2521"/>
                </a:cubicBezTo>
                <a:cubicBezTo>
                  <a:pt x="12706" y="2521"/>
                  <a:pt x="12720" y="2497"/>
                  <a:pt x="12720" y="2497"/>
                </a:cubicBezTo>
                <a:cubicBezTo>
                  <a:pt x="12720" y="2497"/>
                  <a:pt x="12710" y="2461"/>
                  <a:pt x="12710" y="2450"/>
                </a:cubicBezTo>
                <a:cubicBezTo>
                  <a:pt x="12710" y="2439"/>
                  <a:pt x="12725" y="2430"/>
                  <a:pt x="12725" y="2430"/>
                </a:cubicBezTo>
                <a:cubicBezTo>
                  <a:pt x="12724" y="2418"/>
                  <a:pt x="12701" y="2403"/>
                  <a:pt x="12701" y="2403"/>
                </a:cubicBezTo>
                <a:cubicBezTo>
                  <a:pt x="12701" y="2403"/>
                  <a:pt x="12700" y="2393"/>
                  <a:pt x="12693" y="2390"/>
                </a:cubicBezTo>
                <a:cubicBezTo>
                  <a:pt x="12686" y="2387"/>
                  <a:pt x="12681" y="2389"/>
                  <a:pt x="12681" y="2389"/>
                </a:cubicBezTo>
                <a:cubicBezTo>
                  <a:pt x="12681" y="2389"/>
                  <a:pt x="12660" y="2375"/>
                  <a:pt x="12653" y="2375"/>
                </a:cubicBezTo>
                <a:cubicBezTo>
                  <a:pt x="12646" y="2375"/>
                  <a:pt x="12637" y="2387"/>
                  <a:pt x="12637" y="2387"/>
                </a:cubicBezTo>
                <a:lnTo>
                  <a:pt x="12612" y="2401"/>
                </a:lnTo>
                <a:close/>
                <a:moveTo>
                  <a:pt x="12893" y="2165"/>
                </a:moveTo>
                <a:cubicBezTo>
                  <a:pt x="12901" y="2164"/>
                  <a:pt x="12901" y="2164"/>
                  <a:pt x="12901" y="2164"/>
                </a:cubicBezTo>
                <a:cubicBezTo>
                  <a:pt x="12900" y="2148"/>
                  <a:pt x="12900" y="2148"/>
                  <a:pt x="12900" y="2148"/>
                </a:cubicBezTo>
                <a:cubicBezTo>
                  <a:pt x="12894" y="2146"/>
                  <a:pt x="12894" y="2146"/>
                  <a:pt x="12894" y="2146"/>
                </a:cubicBezTo>
                <a:cubicBezTo>
                  <a:pt x="12884" y="2133"/>
                  <a:pt x="12884" y="2133"/>
                  <a:pt x="12884" y="2133"/>
                </a:cubicBezTo>
                <a:cubicBezTo>
                  <a:pt x="12880" y="2141"/>
                  <a:pt x="12880" y="2141"/>
                  <a:pt x="12880" y="2141"/>
                </a:cubicBezTo>
                <a:cubicBezTo>
                  <a:pt x="12888" y="2150"/>
                  <a:pt x="12888" y="2150"/>
                  <a:pt x="12888" y="2150"/>
                </a:cubicBezTo>
                <a:lnTo>
                  <a:pt x="12893" y="2165"/>
                </a:lnTo>
                <a:close/>
                <a:moveTo>
                  <a:pt x="12653" y="2749"/>
                </a:moveTo>
                <a:cubicBezTo>
                  <a:pt x="12643" y="2759"/>
                  <a:pt x="12634" y="2791"/>
                  <a:pt x="12634" y="2791"/>
                </a:cubicBezTo>
                <a:cubicBezTo>
                  <a:pt x="12647" y="2794"/>
                  <a:pt x="12647" y="2794"/>
                  <a:pt x="12647" y="2794"/>
                </a:cubicBezTo>
                <a:cubicBezTo>
                  <a:pt x="12647" y="2794"/>
                  <a:pt x="12659" y="2773"/>
                  <a:pt x="12655" y="2773"/>
                </a:cubicBezTo>
                <a:cubicBezTo>
                  <a:pt x="12651" y="2773"/>
                  <a:pt x="12667" y="2755"/>
                  <a:pt x="12667" y="2755"/>
                </a:cubicBezTo>
                <a:cubicBezTo>
                  <a:pt x="12667" y="2755"/>
                  <a:pt x="12662" y="2738"/>
                  <a:pt x="12653" y="2749"/>
                </a:cubicBezTo>
                <a:close/>
                <a:moveTo>
                  <a:pt x="12661" y="2713"/>
                </a:moveTo>
                <a:cubicBezTo>
                  <a:pt x="12663" y="2725"/>
                  <a:pt x="12663" y="2725"/>
                  <a:pt x="12663" y="2725"/>
                </a:cubicBezTo>
                <a:cubicBezTo>
                  <a:pt x="12678" y="2725"/>
                  <a:pt x="12678" y="2725"/>
                  <a:pt x="12678" y="2725"/>
                </a:cubicBezTo>
                <a:lnTo>
                  <a:pt x="12661" y="2713"/>
                </a:lnTo>
                <a:close/>
                <a:moveTo>
                  <a:pt x="13004" y="1819"/>
                </a:moveTo>
                <a:cubicBezTo>
                  <a:pt x="12997" y="1813"/>
                  <a:pt x="12992" y="1837"/>
                  <a:pt x="12992" y="1837"/>
                </a:cubicBezTo>
                <a:cubicBezTo>
                  <a:pt x="12992" y="1837"/>
                  <a:pt x="12924" y="1821"/>
                  <a:pt x="12909" y="1810"/>
                </a:cubicBezTo>
                <a:cubicBezTo>
                  <a:pt x="12893" y="1799"/>
                  <a:pt x="12819" y="1741"/>
                  <a:pt x="12809" y="1752"/>
                </a:cubicBezTo>
                <a:cubicBezTo>
                  <a:pt x="12799" y="1763"/>
                  <a:pt x="12841" y="1798"/>
                  <a:pt x="12841" y="1798"/>
                </a:cubicBezTo>
                <a:cubicBezTo>
                  <a:pt x="12843" y="1813"/>
                  <a:pt x="12843" y="1813"/>
                  <a:pt x="12843" y="1813"/>
                </a:cubicBezTo>
                <a:cubicBezTo>
                  <a:pt x="12843" y="1813"/>
                  <a:pt x="12860" y="1824"/>
                  <a:pt x="12860" y="1831"/>
                </a:cubicBezTo>
                <a:cubicBezTo>
                  <a:pt x="12860" y="1838"/>
                  <a:pt x="12853" y="1851"/>
                  <a:pt x="12853" y="1851"/>
                </a:cubicBezTo>
                <a:cubicBezTo>
                  <a:pt x="12853" y="1851"/>
                  <a:pt x="12871" y="1873"/>
                  <a:pt x="12866" y="1874"/>
                </a:cubicBezTo>
                <a:cubicBezTo>
                  <a:pt x="12860" y="1875"/>
                  <a:pt x="12828" y="1866"/>
                  <a:pt x="12823" y="1864"/>
                </a:cubicBezTo>
                <a:cubicBezTo>
                  <a:pt x="12817" y="1863"/>
                  <a:pt x="12838" y="1884"/>
                  <a:pt x="12838" y="1884"/>
                </a:cubicBezTo>
                <a:cubicBezTo>
                  <a:pt x="12821" y="1902"/>
                  <a:pt x="12821" y="1902"/>
                  <a:pt x="12821" y="1902"/>
                </a:cubicBezTo>
                <a:cubicBezTo>
                  <a:pt x="12821" y="1902"/>
                  <a:pt x="12827" y="1914"/>
                  <a:pt x="12830" y="1920"/>
                </a:cubicBezTo>
                <a:cubicBezTo>
                  <a:pt x="12832" y="1925"/>
                  <a:pt x="12859" y="1939"/>
                  <a:pt x="12859" y="1939"/>
                </a:cubicBezTo>
                <a:cubicBezTo>
                  <a:pt x="12859" y="1939"/>
                  <a:pt x="12850" y="1972"/>
                  <a:pt x="12873" y="1971"/>
                </a:cubicBezTo>
                <a:cubicBezTo>
                  <a:pt x="12883" y="1970"/>
                  <a:pt x="12867" y="1952"/>
                  <a:pt x="12879" y="1952"/>
                </a:cubicBezTo>
                <a:cubicBezTo>
                  <a:pt x="12892" y="1952"/>
                  <a:pt x="12902" y="1952"/>
                  <a:pt x="12902" y="1952"/>
                </a:cubicBezTo>
                <a:cubicBezTo>
                  <a:pt x="12906" y="1946"/>
                  <a:pt x="12906" y="1946"/>
                  <a:pt x="12906" y="1946"/>
                </a:cubicBezTo>
                <a:cubicBezTo>
                  <a:pt x="12881" y="1930"/>
                  <a:pt x="12881" y="1930"/>
                  <a:pt x="12881" y="1930"/>
                </a:cubicBezTo>
                <a:cubicBezTo>
                  <a:pt x="12868" y="1930"/>
                  <a:pt x="12868" y="1930"/>
                  <a:pt x="12868" y="1930"/>
                </a:cubicBezTo>
                <a:cubicBezTo>
                  <a:pt x="12868" y="1930"/>
                  <a:pt x="12834" y="1917"/>
                  <a:pt x="12850" y="1910"/>
                </a:cubicBezTo>
                <a:cubicBezTo>
                  <a:pt x="12867" y="1903"/>
                  <a:pt x="12878" y="1920"/>
                  <a:pt x="12878" y="1920"/>
                </a:cubicBezTo>
                <a:cubicBezTo>
                  <a:pt x="12878" y="1920"/>
                  <a:pt x="12892" y="1909"/>
                  <a:pt x="12902" y="1907"/>
                </a:cubicBezTo>
                <a:cubicBezTo>
                  <a:pt x="12911" y="1906"/>
                  <a:pt x="12982" y="1943"/>
                  <a:pt x="12988" y="1939"/>
                </a:cubicBezTo>
                <a:cubicBezTo>
                  <a:pt x="12993" y="1935"/>
                  <a:pt x="12974" y="1896"/>
                  <a:pt x="12992" y="1889"/>
                </a:cubicBezTo>
                <a:cubicBezTo>
                  <a:pt x="13010" y="1882"/>
                  <a:pt x="13008" y="1898"/>
                  <a:pt x="13026" y="1888"/>
                </a:cubicBezTo>
                <a:cubicBezTo>
                  <a:pt x="13044" y="1878"/>
                  <a:pt x="13047" y="1871"/>
                  <a:pt x="13047" y="1871"/>
                </a:cubicBezTo>
                <a:cubicBezTo>
                  <a:pt x="13011" y="1848"/>
                  <a:pt x="13011" y="1848"/>
                  <a:pt x="13011" y="1848"/>
                </a:cubicBezTo>
                <a:cubicBezTo>
                  <a:pt x="13011" y="1848"/>
                  <a:pt x="13011" y="1824"/>
                  <a:pt x="13004" y="1819"/>
                </a:cubicBezTo>
                <a:close/>
                <a:moveTo>
                  <a:pt x="8625" y="4453"/>
                </a:moveTo>
                <a:cubicBezTo>
                  <a:pt x="8617" y="4461"/>
                  <a:pt x="8617" y="4488"/>
                  <a:pt x="8630" y="4486"/>
                </a:cubicBezTo>
                <a:cubicBezTo>
                  <a:pt x="8646" y="4484"/>
                  <a:pt x="8632" y="4445"/>
                  <a:pt x="8625" y="4453"/>
                </a:cubicBezTo>
                <a:close/>
                <a:moveTo>
                  <a:pt x="8607" y="4500"/>
                </a:moveTo>
                <a:cubicBezTo>
                  <a:pt x="8591" y="4500"/>
                  <a:pt x="8601" y="4527"/>
                  <a:pt x="8601" y="4527"/>
                </a:cubicBezTo>
                <a:cubicBezTo>
                  <a:pt x="8601" y="4527"/>
                  <a:pt x="8617" y="4545"/>
                  <a:pt x="8627" y="4543"/>
                </a:cubicBezTo>
                <a:cubicBezTo>
                  <a:pt x="8636" y="4541"/>
                  <a:pt x="8619" y="4521"/>
                  <a:pt x="8619" y="4521"/>
                </a:cubicBezTo>
                <a:cubicBezTo>
                  <a:pt x="8619" y="4521"/>
                  <a:pt x="8623" y="4500"/>
                  <a:pt x="8607" y="4500"/>
                </a:cubicBezTo>
                <a:close/>
                <a:moveTo>
                  <a:pt x="9132" y="4961"/>
                </a:moveTo>
                <a:cubicBezTo>
                  <a:pt x="9132" y="4961"/>
                  <a:pt x="9109" y="4913"/>
                  <a:pt x="9109" y="4907"/>
                </a:cubicBezTo>
                <a:cubicBezTo>
                  <a:pt x="9109" y="4902"/>
                  <a:pt x="9109" y="4892"/>
                  <a:pt x="9109" y="4892"/>
                </a:cubicBezTo>
                <a:cubicBezTo>
                  <a:pt x="9073" y="4851"/>
                  <a:pt x="9073" y="4851"/>
                  <a:pt x="9073" y="4851"/>
                </a:cubicBezTo>
                <a:cubicBezTo>
                  <a:pt x="9052" y="4877"/>
                  <a:pt x="9052" y="4877"/>
                  <a:pt x="9052" y="4877"/>
                </a:cubicBezTo>
                <a:cubicBezTo>
                  <a:pt x="9052" y="4877"/>
                  <a:pt x="9054" y="4900"/>
                  <a:pt x="9049" y="4913"/>
                </a:cubicBezTo>
                <a:cubicBezTo>
                  <a:pt x="9043" y="4925"/>
                  <a:pt x="9025" y="4939"/>
                  <a:pt x="9025" y="4939"/>
                </a:cubicBezTo>
                <a:cubicBezTo>
                  <a:pt x="9025" y="4939"/>
                  <a:pt x="9015" y="4932"/>
                  <a:pt x="9008" y="4939"/>
                </a:cubicBezTo>
                <a:cubicBezTo>
                  <a:pt x="9001" y="4946"/>
                  <a:pt x="9015" y="4966"/>
                  <a:pt x="9006" y="4977"/>
                </a:cubicBezTo>
                <a:cubicBezTo>
                  <a:pt x="8997" y="4987"/>
                  <a:pt x="8992" y="4989"/>
                  <a:pt x="8992" y="4989"/>
                </a:cubicBezTo>
                <a:cubicBezTo>
                  <a:pt x="8992" y="4989"/>
                  <a:pt x="8988" y="4969"/>
                  <a:pt x="8981" y="4975"/>
                </a:cubicBezTo>
                <a:cubicBezTo>
                  <a:pt x="8974" y="4980"/>
                  <a:pt x="8976" y="5010"/>
                  <a:pt x="8976" y="5010"/>
                </a:cubicBezTo>
                <a:cubicBezTo>
                  <a:pt x="8967" y="5037"/>
                  <a:pt x="8967" y="5037"/>
                  <a:pt x="8967" y="5037"/>
                </a:cubicBezTo>
                <a:cubicBezTo>
                  <a:pt x="8962" y="5023"/>
                  <a:pt x="8962" y="5023"/>
                  <a:pt x="8962" y="5023"/>
                </a:cubicBezTo>
                <a:cubicBezTo>
                  <a:pt x="8960" y="5001"/>
                  <a:pt x="8960" y="5001"/>
                  <a:pt x="8960" y="5001"/>
                </a:cubicBezTo>
                <a:cubicBezTo>
                  <a:pt x="8951" y="5023"/>
                  <a:pt x="8951" y="5023"/>
                  <a:pt x="8951" y="5023"/>
                </a:cubicBezTo>
                <a:cubicBezTo>
                  <a:pt x="8953" y="5044"/>
                  <a:pt x="8953" y="5044"/>
                  <a:pt x="8953" y="5044"/>
                </a:cubicBezTo>
                <a:cubicBezTo>
                  <a:pt x="8923" y="5039"/>
                  <a:pt x="8923" y="5039"/>
                  <a:pt x="8923" y="5039"/>
                </a:cubicBezTo>
                <a:cubicBezTo>
                  <a:pt x="8910" y="5058"/>
                  <a:pt x="8910" y="5058"/>
                  <a:pt x="8910" y="5058"/>
                </a:cubicBezTo>
                <a:cubicBezTo>
                  <a:pt x="8871" y="5053"/>
                  <a:pt x="8871" y="5053"/>
                  <a:pt x="8871" y="5053"/>
                </a:cubicBezTo>
                <a:cubicBezTo>
                  <a:pt x="8871" y="5069"/>
                  <a:pt x="8871" y="5069"/>
                  <a:pt x="8871" y="5069"/>
                </a:cubicBezTo>
                <a:cubicBezTo>
                  <a:pt x="8841" y="5065"/>
                  <a:pt x="8841" y="5065"/>
                  <a:pt x="8841" y="5065"/>
                </a:cubicBezTo>
                <a:cubicBezTo>
                  <a:pt x="8825" y="5070"/>
                  <a:pt x="8825" y="5070"/>
                  <a:pt x="8825" y="5070"/>
                </a:cubicBezTo>
                <a:cubicBezTo>
                  <a:pt x="8831" y="5090"/>
                  <a:pt x="8831" y="5090"/>
                  <a:pt x="8831" y="5090"/>
                </a:cubicBezTo>
                <a:cubicBezTo>
                  <a:pt x="8831" y="5090"/>
                  <a:pt x="8818" y="5110"/>
                  <a:pt x="8804" y="5122"/>
                </a:cubicBezTo>
                <a:cubicBezTo>
                  <a:pt x="8790" y="5134"/>
                  <a:pt x="8806" y="5178"/>
                  <a:pt x="8808" y="5200"/>
                </a:cubicBezTo>
                <a:cubicBezTo>
                  <a:pt x="8809" y="5221"/>
                  <a:pt x="8816" y="5287"/>
                  <a:pt x="8816" y="5287"/>
                </a:cubicBezTo>
                <a:cubicBezTo>
                  <a:pt x="8816" y="5287"/>
                  <a:pt x="8792" y="5304"/>
                  <a:pt x="8776" y="5324"/>
                </a:cubicBezTo>
                <a:cubicBezTo>
                  <a:pt x="8760" y="5343"/>
                  <a:pt x="8737" y="5341"/>
                  <a:pt x="8742" y="5407"/>
                </a:cubicBezTo>
                <a:cubicBezTo>
                  <a:pt x="8747" y="5473"/>
                  <a:pt x="8778" y="5510"/>
                  <a:pt x="8778" y="5510"/>
                </a:cubicBezTo>
                <a:cubicBezTo>
                  <a:pt x="8765" y="5526"/>
                  <a:pt x="8765" y="5526"/>
                  <a:pt x="8765" y="5526"/>
                </a:cubicBezTo>
                <a:cubicBezTo>
                  <a:pt x="8765" y="5526"/>
                  <a:pt x="8767" y="5540"/>
                  <a:pt x="8797" y="5568"/>
                </a:cubicBezTo>
                <a:cubicBezTo>
                  <a:pt x="8827" y="5597"/>
                  <a:pt x="8870" y="5561"/>
                  <a:pt x="8870" y="5561"/>
                </a:cubicBezTo>
                <a:cubicBezTo>
                  <a:pt x="8870" y="5561"/>
                  <a:pt x="8878" y="5566"/>
                  <a:pt x="8886" y="5563"/>
                </a:cubicBezTo>
                <a:cubicBezTo>
                  <a:pt x="8893" y="5559"/>
                  <a:pt x="8902" y="5550"/>
                  <a:pt x="8926" y="5527"/>
                </a:cubicBezTo>
                <a:cubicBezTo>
                  <a:pt x="8951" y="5504"/>
                  <a:pt x="8948" y="5460"/>
                  <a:pt x="8948" y="5460"/>
                </a:cubicBezTo>
                <a:cubicBezTo>
                  <a:pt x="8948" y="5460"/>
                  <a:pt x="8965" y="5398"/>
                  <a:pt x="9004" y="5329"/>
                </a:cubicBezTo>
                <a:cubicBezTo>
                  <a:pt x="9043" y="5260"/>
                  <a:pt x="9068" y="5187"/>
                  <a:pt x="9075" y="5163"/>
                </a:cubicBezTo>
                <a:cubicBezTo>
                  <a:pt x="9082" y="5138"/>
                  <a:pt x="9068" y="5124"/>
                  <a:pt x="9070" y="5110"/>
                </a:cubicBezTo>
                <a:cubicBezTo>
                  <a:pt x="9072" y="5096"/>
                  <a:pt x="9095" y="5072"/>
                  <a:pt x="9095" y="5072"/>
                </a:cubicBezTo>
                <a:cubicBezTo>
                  <a:pt x="9091" y="5044"/>
                  <a:pt x="9091" y="5044"/>
                  <a:pt x="9091" y="5044"/>
                </a:cubicBezTo>
                <a:cubicBezTo>
                  <a:pt x="9112" y="5039"/>
                  <a:pt x="9112" y="5039"/>
                  <a:pt x="9112" y="5039"/>
                </a:cubicBezTo>
                <a:cubicBezTo>
                  <a:pt x="9112" y="5039"/>
                  <a:pt x="9132" y="5049"/>
                  <a:pt x="9139" y="5044"/>
                </a:cubicBezTo>
                <a:cubicBezTo>
                  <a:pt x="9146" y="5039"/>
                  <a:pt x="9119" y="4994"/>
                  <a:pt x="9119" y="4994"/>
                </a:cubicBezTo>
                <a:lnTo>
                  <a:pt x="9132" y="4961"/>
                </a:lnTo>
                <a:close/>
              </a:path>
            </a:pathLst>
          </a:custGeom>
          <a:gradFill flip="none" rotWithShape="1">
            <a:gsLst>
              <a:gs pos="0">
                <a:srgbClr val="E6E6E6">
                  <a:alpha val="57000"/>
                </a:srgbClr>
              </a:gs>
              <a:gs pos="100000">
                <a:srgbClr val="D7D7D7">
                  <a:alpha val="65000"/>
                </a:srgbClr>
              </a:gs>
            </a:gsLst>
            <a:lin ang="2700000" scaled="1"/>
            <a:tileRect/>
          </a:gradFill>
          <a:ln w="3175">
            <a:noFill/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  <p:grpSp>
        <p:nvGrpSpPr>
          <p:cNvPr id="58" name="Gruppieren 57">
            <a:extLst>
              <a:ext uri="{FF2B5EF4-FFF2-40B4-BE49-F238E27FC236}">
                <a16:creationId xmlns:a16="http://schemas.microsoft.com/office/drawing/2014/main" id="{6297D7FD-20CF-4D16-A784-35023C842D24}"/>
              </a:ext>
            </a:extLst>
          </p:cNvPr>
          <p:cNvGrpSpPr/>
          <p:nvPr/>
        </p:nvGrpSpPr>
        <p:grpSpPr>
          <a:xfrm>
            <a:off x="1127448" y="1052736"/>
            <a:ext cx="10800000" cy="4762138"/>
            <a:chOff x="1127448" y="1052736"/>
            <a:chExt cx="10800000" cy="4762138"/>
          </a:xfrm>
        </p:grpSpPr>
        <p:grpSp>
          <p:nvGrpSpPr>
            <p:cNvPr id="59" name="Gruppieren 58">
              <a:extLst>
                <a:ext uri="{FF2B5EF4-FFF2-40B4-BE49-F238E27FC236}">
                  <a16:creationId xmlns:a16="http://schemas.microsoft.com/office/drawing/2014/main" id="{782EEE60-7352-4B02-9162-EDBCFE5E0BAE}"/>
                </a:ext>
              </a:extLst>
            </p:cNvPr>
            <p:cNvGrpSpPr/>
            <p:nvPr/>
          </p:nvGrpSpPr>
          <p:grpSpPr>
            <a:xfrm>
              <a:off x="1127448" y="1052736"/>
              <a:ext cx="10800000" cy="4760912"/>
              <a:chOff x="1127448" y="1052736"/>
              <a:chExt cx="10800000" cy="4760912"/>
            </a:xfrm>
          </p:grpSpPr>
          <p:cxnSp>
            <p:nvCxnSpPr>
              <p:cNvPr id="61" name="Gerade Verbindung mit Pfeil 60">
                <a:extLst>
                  <a:ext uri="{FF2B5EF4-FFF2-40B4-BE49-F238E27FC236}">
                    <a16:creationId xmlns:a16="http://schemas.microsoft.com/office/drawing/2014/main" id="{03CB0B4A-A996-4A99-951F-8718FDC5973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127448" y="1052736"/>
                <a:ext cx="8894" cy="4760912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mit Pfeil 61">
                <a:extLst>
                  <a:ext uri="{FF2B5EF4-FFF2-40B4-BE49-F238E27FC236}">
                    <a16:creationId xmlns:a16="http://schemas.microsoft.com/office/drawing/2014/main" id="{DD306BCE-4826-4E0A-8003-29D1ECFC6AD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127448" y="5813648"/>
                <a:ext cx="10800000" cy="0"/>
              </a:xfrm>
              <a:prstGeom prst="straightConnector1">
                <a:avLst/>
              </a:prstGeom>
              <a:ln w="381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EE482DE8-5E56-4436-83EF-1C5C5BE4DBF2}"/>
                </a:ext>
              </a:extLst>
            </p:cNvPr>
            <p:cNvSpPr/>
            <p:nvPr/>
          </p:nvSpPr>
          <p:spPr>
            <a:xfrm>
              <a:off x="1136342" y="1630405"/>
              <a:ext cx="8797771" cy="4184469"/>
            </a:xfrm>
            <a:custGeom>
              <a:avLst/>
              <a:gdLst>
                <a:gd name="connsiteX0" fmla="*/ 0 w 8797771"/>
                <a:gd name="connsiteY0" fmla="*/ 3604334 h 3604334"/>
                <a:gd name="connsiteX1" fmla="*/ 1882066 w 8797771"/>
                <a:gd name="connsiteY1" fmla="*/ 1447060 h 3604334"/>
                <a:gd name="connsiteX2" fmla="*/ 3355759 w 8797771"/>
                <a:gd name="connsiteY2" fmla="*/ 630314 h 3604334"/>
                <a:gd name="connsiteX3" fmla="*/ 5246703 w 8797771"/>
                <a:gd name="connsiteY3" fmla="*/ 204186 h 3604334"/>
                <a:gd name="connsiteX4" fmla="*/ 6693763 w 8797771"/>
                <a:gd name="connsiteY4" fmla="*/ 35510 h 3604334"/>
                <a:gd name="connsiteX5" fmla="*/ 7883371 w 8797771"/>
                <a:gd name="connsiteY5" fmla="*/ 0 h 3604334"/>
                <a:gd name="connsiteX6" fmla="*/ 8558074 w 8797771"/>
                <a:gd name="connsiteY6" fmla="*/ 8877 h 3604334"/>
                <a:gd name="connsiteX7" fmla="*/ 8797771 w 8797771"/>
                <a:gd name="connsiteY7" fmla="*/ 26633 h 36043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97771" h="3604334">
                  <a:moveTo>
                    <a:pt x="0" y="3604334"/>
                  </a:moveTo>
                  <a:cubicBezTo>
                    <a:pt x="661386" y="2773532"/>
                    <a:pt x="1322773" y="1942730"/>
                    <a:pt x="1882066" y="1447060"/>
                  </a:cubicBezTo>
                  <a:cubicBezTo>
                    <a:pt x="2441359" y="951390"/>
                    <a:pt x="2794986" y="837460"/>
                    <a:pt x="3355759" y="630314"/>
                  </a:cubicBezTo>
                  <a:cubicBezTo>
                    <a:pt x="3916532" y="423168"/>
                    <a:pt x="4690369" y="303320"/>
                    <a:pt x="5246703" y="204186"/>
                  </a:cubicBezTo>
                  <a:cubicBezTo>
                    <a:pt x="5803037" y="105052"/>
                    <a:pt x="6254318" y="69541"/>
                    <a:pt x="6693763" y="35510"/>
                  </a:cubicBezTo>
                  <a:cubicBezTo>
                    <a:pt x="7133208" y="1479"/>
                    <a:pt x="7883371" y="0"/>
                    <a:pt x="7883371" y="0"/>
                  </a:cubicBezTo>
                  <a:lnTo>
                    <a:pt x="8558074" y="8877"/>
                  </a:lnTo>
                  <a:cubicBezTo>
                    <a:pt x="8710474" y="13316"/>
                    <a:pt x="8754122" y="19974"/>
                    <a:pt x="8797771" y="26633"/>
                  </a:cubicBezTo>
                </a:path>
              </a:pathLst>
            </a:custGeom>
            <a:noFill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65" name="Textfeld 64">
            <a:extLst>
              <a:ext uri="{FF2B5EF4-FFF2-40B4-BE49-F238E27FC236}">
                <a16:creationId xmlns:a16="http://schemas.microsoft.com/office/drawing/2014/main" id="{5593E757-E2B2-4966-A190-937C426FCF1E}"/>
              </a:ext>
            </a:extLst>
          </p:cNvPr>
          <p:cNvSpPr txBox="1"/>
          <p:nvPr/>
        </p:nvSpPr>
        <p:spPr>
          <a:xfrm>
            <a:off x="52080" y="836712"/>
            <a:ext cx="1219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>
                <a:latin typeface="+mn-lt"/>
              </a:rPr>
              <a:t>Expenditures</a:t>
            </a:r>
            <a:r>
              <a:rPr lang="de-DE" sz="1200" dirty="0">
                <a:latin typeface="+mn-lt"/>
              </a:rPr>
              <a:t> per </a:t>
            </a:r>
            <a:r>
              <a:rPr lang="de-DE" sz="1200" dirty="0" err="1">
                <a:latin typeface="+mn-lt"/>
              </a:rPr>
              <a:t>car</a:t>
            </a:r>
            <a:endParaRPr lang="de-DE" sz="1200" dirty="0">
              <a:latin typeface="+mn-lt"/>
            </a:endParaRPr>
          </a:p>
          <a:p>
            <a:endParaRPr lang="de-DE" sz="1200" dirty="0">
              <a:latin typeface="+mn-lt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70640EA4-7628-4171-A4DB-58429E0C0E18}"/>
              </a:ext>
            </a:extLst>
          </p:cNvPr>
          <p:cNvSpPr txBox="1"/>
          <p:nvPr/>
        </p:nvSpPr>
        <p:spPr>
          <a:xfrm>
            <a:off x="10268097" y="5960313"/>
            <a:ext cx="1640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Car park </a:t>
            </a:r>
            <a:r>
              <a:rPr lang="de-DE" sz="1200" dirty="0" err="1">
                <a:latin typeface="+mn-lt"/>
              </a:rPr>
              <a:t>density</a:t>
            </a:r>
            <a:r>
              <a:rPr lang="de-DE" sz="1200" dirty="0">
                <a:latin typeface="+mn-lt"/>
              </a:rPr>
              <a:t> per 1.000 </a:t>
            </a:r>
            <a:r>
              <a:rPr lang="de-DE" sz="1200" dirty="0" err="1">
                <a:latin typeface="+mn-lt"/>
              </a:rPr>
              <a:t>Inhabitants</a:t>
            </a:r>
            <a:endParaRPr lang="de-DE" sz="1200" dirty="0">
              <a:latin typeface="+mn-lt"/>
            </a:endParaRP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D2AD89E0-CA7F-4745-AF23-CA2710C98C9A}"/>
              </a:ext>
            </a:extLst>
          </p:cNvPr>
          <p:cNvSpPr txBox="1"/>
          <p:nvPr/>
        </p:nvSpPr>
        <p:spPr>
          <a:xfrm>
            <a:off x="3957342" y="5960332"/>
            <a:ext cx="4894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200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2A6A0926-1B99-4247-AE39-C1A118B594F3}"/>
              </a:ext>
            </a:extLst>
          </p:cNvPr>
          <p:cNvSpPr txBox="1"/>
          <p:nvPr/>
        </p:nvSpPr>
        <p:spPr>
          <a:xfrm>
            <a:off x="2207568" y="5960333"/>
            <a:ext cx="4382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100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B50673A0-F4F0-4E44-AA48-5924F7732864}"/>
              </a:ext>
            </a:extLst>
          </p:cNvPr>
          <p:cNvSpPr txBox="1"/>
          <p:nvPr/>
        </p:nvSpPr>
        <p:spPr>
          <a:xfrm>
            <a:off x="5844309" y="5940092"/>
            <a:ext cx="489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300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1BB03BE4-D976-4760-8A73-3303F133DE23}"/>
              </a:ext>
            </a:extLst>
          </p:cNvPr>
          <p:cNvSpPr txBox="1"/>
          <p:nvPr/>
        </p:nvSpPr>
        <p:spPr>
          <a:xfrm>
            <a:off x="7645259" y="5944658"/>
            <a:ext cx="489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400</a:t>
            </a:r>
          </a:p>
        </p:txBody>
      </p:sp>
      <p:sp>
        <p:nvSpPr>
          <p:cNvPr id="88" name="Textfeld 87">
            <a:extLst>
              <a:ext uri="{FF2B5EF4-FFF2-40B4-BE49-F238E27FC236}">
                <a16:creationId xmlns:a16="http://schemas.microsoft.com/office/drawing/2014/main" id="{09D74AA6-43F3-455F-A3D3-CEFA86206551}"/>
              </a:ext>
            </a:extLst>
          </p:cNvPr>
          <p:cNvSpPr txBox="1"/>
          <p:nvPr/>
        </p:nvSpPr>
        <p:spPr>
          <a:xfrm>
            <a:off x="455824" y="3666324"/>
            <a:ext cx="5962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200 €</a:t>
            </a:r>
          </a:p>
        </p:txBody>
      </p:sp>
      <p:sp>
        <p:nvSpPr>
          <p:cNvPr id="89" name="Textfeld 88">
            <a:extLst>
              <a:ext uri="{FF2B5EF4-FFF2-40B4-BE49-F238E27FC236}">
                <a16:creationId xmlns:a16="http://schemas.microsoft.com/office/drawing/2014/main" id="{2E97113E-4AB9-4357-A845-0D2BF80931E0}"/>
              </a:ext>
            </a:extLst>
          </p:cNvPr>
          <p:cNvSpPr txBox="1"/>
          <p:nvPr/>
        </p:nvSpPr>
        <p:spPr>
          <a:xfrm>
            <a:off x="500030" y="4779731"/>
            <a:ext cx="59632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100 €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57F77560-114C-4F0D-BB69-B9F92F0E355F}"/>
              </a:ext>
            </a:extLst>
          </p:cNvPr>
          <p:cNvSpPr txBox="1"/>
          <p:nvPr/>
        </p:nvSpPr>
        <p:spPr>
          <a:xfrm>
            <a:off x="505220" y="2552917"/>
            <a:ext cx="57384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300 €</a:t>
            </a:r>
          </a:p>
        </p:txBody>
      </p:sp>
      <p:sp>
        <p:nvSpPr>
          <p:cNvPr id="91" name="Textfeld 90">
            <a:extLst>
              <a:ext uri="{FF2B5EF4-FFF2-40B4-BE49-F238E27FC236}">
                <a16:creationId xmlns:a16="http://schemas.microsoft.com/office/drawing/2014/main" id="{4F082504-AC22-4291-9EAF-C178B6CEA958}"/>
              </a:ext>
            </a:extLst>
          </p:cNvPr>
          <p:cNvSpPr txBox="1"/>
          <p:nvPr/>
        </p:nvSpPr>
        <p:spPr>
          <a:xfrm>
            <a:off x="9264352" y="5977994"/>
            <a:ext cx="4892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500</a:t>
            </a:r>
          </a:p>
        </p:txBody>
      </p:sp>
      <p:sp>
        <p:nvSpPr>
          <p:cNvPr id="95" name="Textfeld 94">
            <a:extLst>
              <a:ext uri="{FF2B5EF4-FFF2-40B4-BE49-F238E27FC236}">
                <a16:creationId xmlns:a16="http://schemas.microsoft.com/office/drawing/2014/main" id="{1C3B6BFA-6BCD-4AB5-95CE-B287DFD5ADDA}"/>
              </a:ext>
            </a:extLst>
          </p:cNvPr>
          <p:cNvSpPr txBox="1"/>
          <p:nvPr/>
        </p:nvSpPr>
        <p:spPr>
          <a:xfrm>
            <a:off x="505219" y="1439510"/>
            <a:ext cx="5980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>
                <a:latin typeface="+mn-lt"/>
              </a:rPr>
              <a:t>400 €</a:t>
            </a:r>
          </a:p>
        </p:txBody>
      </p:sp>
      <p:cxnSp>
        <p:nvCxnSpPr>
          <p:cNvPr id="100" name="Gerader Verbinder 99">
            <a:extLst>
              <a:ext uri="{FF2B5EF4-FFF2-40B4-BE49-F238E27FC236}">
                <a16:creationId xmlns:a16="http://schemas.microsoft.com/office/drawing/2014/main" id="{A11B0D84-5E07-48B7-A846-39F93653C6CA}"/>
              </a:ext>
            </a:extLst>
          </p:cNvPr>
          <p:cNvCxnSpPr>
            <a:cxnSpLocks/>
          </p:cNvCxnSpPr>
          <p:nvPr/>
        </p:nvCxnSpPr>
        <p:spPr>
          <a:xfrm>
            <a:off x="5279780" y="3356992"/>
            <a:ext cx="28442" cy="244943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r Verbinder 100">
            <a:extLst>
              <a:ext uri="{FF2B5EF4-FFF2-40B4-BE49-F238E27FC236}">
                <a16:creationId xmlns:a16="http://schemas.microsoft.com/office/drawing/2014/main" id="{BBCA44F4-0A9E-4D67-96CE-56E35C83E8BE}"/>
              </a:ext>
            </a:extLst>
          </p:cNvPr>
          <p:cNvCxnSpPr>
            <a:cxnSpLocks/>
          </p:cNvCxnSpPr>
          <p:nvPr/>
        </p:nvCxnSpPr>
        <p:spPr>
          <a:xfrm flipH="1">
            <a:off x="9480377" y="1658709"/>
            <a:ext cx="388" cy="414776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>
            <a:extLst>
              <a:ext uri="{FF2B5EF4-FFF2-40B4-BE49-F238E27FC236}">
                <a16:creationId xmlns:a16="http://schemas.microsoft.com/office/drawing/2014/main" id="{26F7504E-1DCF-4A65-B76F-A37B079168D3}"/>
              </a:ext>
            </a:extLst>
          </p:cNvPr>
          <p:cNvCxnSpPr>
            <a:cxnSpLocks/>
          </p:cNvCxnSpPr>
          <p:nvPr/>
        </p:nvCxnSpPr>
        <p:spPr>
          <a:xfrm>
            <a:off x="3214946" y="2492848"/>
            <a:ext cx="0" cy="3313574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r Verbinder 104">
            <a:extLst>
              <a:ext uri="{FF2B5EF4-FFF2-40B4-BE49-F238E27FC236}">
                <a16:creationId xmlns:a16="http://schemas.microsoft.com/office/drawing/2014/main" id="{25733288-1101-40D7-A5D9-52B002E84C43}"/>
              </a:ext>
            </a:extLst>
          </p:cNvPr>
          <p:cNvCxnSpPr>
            <a:cxnSpLocks/>
          </p:cNvCxnSpPr>
          <p:nvPr/>
        </p:nvCxnSpPr>
        <p:spPr>
          <a:xfrm>
            <a:off x="1695212" y="3428952"/>
            <a:ext cx="0" cy="2384696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r Verbinder 109">
            <a:extLst>
              <a:ext uri="{FF2B5EF4-FFF2-40B4-BE49-F238E27FC236}">
                <a16:creationId xmlns:a16="http://schemas.microsoft.com/office/drawing/2014/main" id="{0A7174A6-2706-4A44-9ECF-CA35250AEAC7}"/>
              </a:ext>
            </a:extLst>
          </p:cNvPr>
          <p:cNvCxnSpPr>
            <a:cxnSpLocks/>
          </p:cNvCxnSpPr>
          <p:nvPr/>
        </p:nvCxnSpPr>
        <p:spPr>
          <a:xfrm>
            <a:off x="1160536" y="3206361"/>
            <a:ext cx="230420" cy="6591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r Verbinder 110">
            <a:extLst>
              <a:ext uri="{FF2B5EF4-FFF2-40B4-BE49-F238E27FC236}">
                <a16:creationId xmlns:a16="http://schemas.microsoft.com/office/drawing/2014/main" id="{E62C24DE-5D86-4FA4-9EAB-7B19C8221999}"/>
              </a:ext>
            </a:extLst>
          </p:cNvPr>
          <p:cNvCxnSpPr>
            <a:cxnSpLocks/>
          </p:cNvCxnSpPr>
          <p:nvPr/>
        </p:nvCxnSpPr>
        <p:spPr>
          <a:xfrm flipH="1">
            <a:off x="1136305" y="1442709"/>
            <a:ext cx="8056039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r Verbinder 111">
            <a:extLst>
              <a:ext uri="{FF2B5EF4-FFF2-40B4-BE49-F238E27FC236}">
                <a16:creationId xmlns:a16="http://schemas.microsoft.com/office/drawing/2014/main" id="{B7FF7F74-204C-41EE-8F97-4E6F7D930803}"/>
              </a:ext>
            </a:extLst>
          </p:cNvPr>
          <p:cNvCxnSpPr>
            <a:cxnSpLocks/>
          </p:cNvCxnSpPr>
          <p:nvPr/>
        </p:nvCxnSpPr>
        <p:spPr>
          <a:xfrm flipH="1">
            <a:off x="1138802" y="2276848"/>
            <a:ext cx="1786598" cy="0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>
            <a:extLst>
              <a:ext uri="{FF2B5EF4-FFF2-40B4-BE49-F238E27FC236}">
                <a16:creationId xmlns:a16="http://schemas.microsoft.com/office/drawing/2014/main" id="{3F576B5F-0984-45A0-B57A-0F94F2FAF10E}"/>
              </a:ext>
            </a:extLst>
          </p:cNvPr>
          <p:cNvCxnSpPr>
            <a:cxnSpLocks/>
          </p:cNvCxnSpPr>
          <p:nvPr/>
        </p:nvCxnSpPr>
        <p:spPr>
          <a:xfrm flipH="1" flipV="1">
            <a:off x="1079061" y="3140968"/>
            <a:ext cx="3912298" cy="17479"/>
          </a:xfrm>
          <a:prstGeom prst="line">
            <a:avLst/>
          </a:prstGeom>
          <a:ln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2">
            <a:extLst>
              <a:ext uri="{FF2B5EF4-FFF2-40B4-BE49-F238E27FC236}">
                <a16:creationId xmlns:a16="http://schemas.microsoft.com/office/drawing/2014/main" id="{E160C6D6-61BF-4723-9C41-5AA41667D0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90100"/>
            <a:ext cx="65" cy="2769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altLang="de-DE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158" name="Gruppieren 157">
            <a:extLst>
              <a:ext uri="{FF2B5EF4-FFF2-40B4-BE49-F238E27FC236}">
                <a16:creationId xmlns:a16="http://schemas.microsoft.com/office/drawing/2014/main" id="{12F91F69-B7D3-4A21-A03B-BCF946D0D606}"/>
              </a:ext>
            </a:extLst>
          </p:cNvPr>
          <p:cNvGrpSpPr/>
          <p:nvPr/>
        </p:nvGrpSpPr>
        <p:grpSpPr>
          <a:xfrm>
            <a:off x="1220200" y="3722639"/>
            <a:ext cx="2484079" cy="1554603"/>
            <a:chOff x="1220200" y="3722639"/>
            <a:chExt cx="2484079" cy="1554603"/>
          </a:xfrm>
        </p:grpSpPr>
        <p:grpSp>
          <p:nvGrpSpPr>
            <p:cNvPr id="142" name="Gruppieren 141">
              <a:extLst>
                <a:ext uri="{FF2B5EF4-FFF2-40B4-BE49-F238E27FC236}">
                  <a16:creationId xmlns:a16="http://schemas.microsoft.com/office/drawing/2014/main" id="{A4C23DC7-F91D-4868-A70C-8F4585CF973E}"/>
                </a:ext>
              </a:extLst>
            </p:cNvPr>
            <p:cNvGrpSpPr/>
            <p:nvPr/>
          </p:nvGrpSpPr>
          <p:grpSpPr>
            <a:xfrm>
              <a:off x="1220200" y="3722639"/>
              <a:ext cx="2484079" cy="1554603"/>
              <a:chOff x="9533819" y="3848914"/>
              <a:chExt cx="2484079" cy="1554603"/>
            </a:xfrm>
          </p:grpSpPr>
          <p:sp>
            <p:nvSpPr>
              <p:cNvPr id="143" name="Rechteck 142">
                <a:extLst>
                  <a:ext uri="{FF2B5EF4-FFF2-40B4-BE49-F238E27FC236}">
                    <a16:creationId xmlns:a16="http://schemas.microsoft.com/office/drawing/2014/main" id="{16CBB4A6-0F19-49E0-8AED-427829FF98CF}"/>
                  </a:ext>
                </a:extLst>
              </p:cNvPr>
              <p:cNvSpPr/>
              <p:nvPr/>
            </p:nvSpPr>
            <p:spPr bwMode="gray">
              <a:xfrm>
                <a:off x="9533819" y="3848914"/>
                <a:ext cx="2481619" cy="331191"/>
              </a:xfrm>
              <a:prstGeom prst="rect">
                <a:avLst/>
              </a:prstGeom>
              <a:solidFill>
                <a:srgbClr val="D9D9D9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108000" tIns="72000" rIns="108000" bIns="72000" rtlCol="0" anchor="ctr" anchorCtr="0"/>
              <a:lstStyle/>
              <a:p>
                <a:pPr algn="ctr">
                  <a:spcBef>
                    <a:spcPts val="1800"/>
                  </a:spcBef>
                  <a:buClr>
                    <a:schemeClr val="bg1">
                      <a:lumMod val="50000"/>
                    </a:schemeClr>
                  </a:buClr>
                  <a:buSzPct val="100000"/>
                </a:pPr>
                <a:r>
                  <a:rPr lang="en-US" dirty="0">
                    <a:latin typeface="+mn-lt"/>
                  </a:rPr>
                  <a:t>Africa</a:t>
                </a:r>
              </a:p>
            </p:txBody>
          </p:sp>
          <p:sp>
            <p:nvSpPr>
              <p:cNvPr id="144" name="Textfeld 143">
                <a:extLst>
                  <a:ext uri="{FF2B5EF4-FFF2-40B4-BE49-F238E27FC236}">
                    <a16:creationId xmlns:a16="http://schemas.microsoft.com/office/drawing/2014/main" id="{6E7CEB24-DE8B-4649-B045-85369FCBFC8F}"/>
                  </a:ext>
                </a:extLst>
              </p:cNvPr>
              <p:cNvSpPr txBox="1"/>
              <p:nvPr/>
            </p:nvSpPr>
            <p:spPr>
              <a:xfrm>
                <a:off x="9533819" y="4180105"/>
                <a:ext cx="2484079" cy="122341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Mostly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undeveloped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North- and South </a:t>
                </a:r>
                <a:r>
                  <a:rPr lang="de-DE" sz="1050" dirty="0" err="1">
                    <a:latin typeface="+mn-lt"/>
                  </a:rPr>
                  <a:t>Africa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create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ore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than</a:t>
                </a:r>
                <a:r>
                  <a:rPr lang="de-DE" sz="1050" dirty="0">
                    <a:latin typeface="+mn-lt"/>
                  </a:rPr>
                  <a:t> 60 % </a:t>
                </a:r>
                <a:r>
                  <a:rPr lang="de-DE" sz="1050" dirty="0" err="1">
                    <a:latin typeface="+mn-lt"/>
                  </a:rPr>
                  <a:t>of</a:t>
                </a:r>
                <a:r>
                  <a:rPr lang="de-DE" sz="1050" dirty="0">
                    <a:latin typeface="+mn-lt"/>
                  </a:rPr>
                  <a:t> total </a:t>
                </a:r>
                <a:r>
                  <a:rPr lang="de-DE" sz="1050" dirty="0" err="1">
                    <a:latin typeface="+mn-lt"/>
                  </a:rPr>
                  <a:t>volume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Currently</a:t>
                </a:r>
                <a:r>
                  <a:rPr lang="de-DE" sz="1050" dirty="0">
                    <a:latin typeface="+mn-lt"/>
                  </a:rPr>
                  <a:t> not </a:t>
                </a:r>
                <a:r>
                  <a:rPr lang="de-DE" sz="1050" dirty="0" err="1">
                    <a:latin typeface="+mn-lt"/>
                  </a:rPr>
                  <a:t>existing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aftermarket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structures</a:t>
                </a:r>
                <a:r>
                  <a:rPr lang="de-DE" sz="1050" dirty="0">
                    <a:latin typeface="+mn-lt"/>
                  </a:rPr>
                  <a:t> and </a:t>
                </a:r>
                <a:r>
                  <a:rPr lang="de-DE" sz="1050" dirty="0" err="1">
                    <a:latin typeface="+mn-lt"/>
                  </a:rPr>
                  <a:t>organisation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High </a:t>
                </a:r>
                <a:r>
                  <a:rPr lang="de-DE" sz="1050" dirty="0" err="1">
                    <a:latin typeface="+mn-lt"/>
                  </a:rPr>
                  <a:t>amount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of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older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vehicles</a:t>
                </a:r>
                <a:endParaRPr lang="de-DE" sz="1050" dirty="0">
                  <a:latin typeface="+mn-lt"/>
                </a:endParaRPr>
              </a:p>
              <a:p>
                <a:endParaRPr lang="de-DE" sz="1050" dirty="0">
                  <a:latin typeface="+mn-lt"/>
                </a:endParaRPr>
              </a:p>
            </p:txBody>
          </p:sp>
        </p:grpSp>
        <p:pic>
          <p:nvPicPr>
            <p:cNvPr id="156" name="Picture 2" descr="Bildergebnis fÃ¼r african union flag image">
              <a:extLst>
                <a:ext uri="{FF2B5EF4-FFF2-40B4-BE49-F238E27FC236}">
                  <a16:creationId xmlns:a16="http://schemas.microsoft.com/office/drawing/2014/main" id="{068F2C68-906F-4404-A0CB-1C382A4B38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5487" y="3734556"/>
              <a:ext cx="476631" cy="318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7" name="Kreis: nicht ausgefüllt 156">
            <a:extLst>
              <a:ext uri="{FF2B5EF4-FFF2-40B4-BE49-F238E27FC236}">
                <a16:creationId xmlns:a16="http://schemas.microsoft.com/office/drawing/2014/main" id="{9C35DBE4-99E8-4BDC-91ED-FC31B3114985}"/>
              </a:ext>
            </a:extLst>
          </p:cNvPr>
          <p:cNvSpPr/>
          <p:nvPr/>
        </p:nvSpPr>
        <p:spPr>
          <a:xfrm>
            <a:off x="1452682" y="3011816"/>
            <a:ext cx="322838" cy="345176"/>
          </a:xfrm>
          <a:prstGeom prst="donut">
            <a:avLst/>
          </a:prstGeom>
          <a:solidFill>
            <a:schemeClr val="accent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63" name="Gruppieren 162">
            <a:extLst>
              <a:ext uri="{FF2B5EF4-FFF2-40B4-BE49-F238E27FC236}">
                <a16:creationId xmlns:a16="http://schemas.microsoft.com/office/drawing/2014/main" id="{3DFCEF69-2447-4F2B-BDE4-0BEE2B78FCCD}"/>
              </a:ext>
            </a:extLst>
          </p:cNvPr>
          <p:cNvGrpSpPr/>
          <p:nvPr/>
        </p:nvGrpSpPr>
        <p:grpSpPr>
          <a:xfrm>
            <a:off x="3424200" y="1195874"/>
            <a:ext cx="2481619" cy="1716186"/>
            <a:chOff x="3750549" y="828783"/>
            <a:chExt cx="2481619" cy="1716186"/>
          </a:xfrm>
        </p:grpSpPr>
        <p:grpSp>
          <p:nvGrpSpPr>
            <p:cNvPr id="133" name="Gruppieren 132">
              <a:extLst>
                <a:ext uri="{FF2B5EF4-FFF2-40B4-BE49-F238E27FC236}">
                  <a16:creationId xmlns:a16="http://schemas.microsoft.com/office/drawing/2014/main" id="{8FA1E310-A7D1-4F7C-BA1F-B567880B557C}"/>
                </a:ext>
              </a:extLst>
            </p:cNvPr>
            <p:cNvGrpSpPr/>
            <p:nvPr/>
          </p:nvGrpSpPr>
          <p:grpSpPr>
            <a:xfrm>
              <a:off x="3750549" y="828783"/>
              <a:ext cx="2481619" cy="1716186"/>
              <a:chOff x="3257497" y="3848914"/>
              <a:chExt cx="2481619" cy="1716186"/>
            </a:xfrm>
          </p:grpSpPr>
          <p:sp>
            <p:nvSpPr>
              <p:cNvPr id="134" name="Rechteck 133">
                <a:extLst>
                  <a:ext uri="{FF2B5EF4-FFF2-40B4-BE49-F238E27FC236}">
                    <a16:creationId xmlns:a16="http://schemas.microsoft.com/office/drawing/2014/main" id="{0E303182-7A68-4881-96BE-3AB8812EC197}"/>
                  </a:ext>
                </a:extLst>
              </p:cNvPr>
              <p:cNvSpPr/>
              <p:nvPr/>
            </p:nvSpPr>
            <p:spPr bwMode="gray">
              <a:xfrm>
                <a:off x="3257497" y="3848914"/>
                <a:ext cx="2481619" cy="331191"/>
              </a:xfrm>
              <a:prstGeom prst="rect">
                <a:avLst/>
              </a:prstGeom>
              <a:solidFill>
                <a:srgbClr val="D9D9D9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108000" tIns="72000" rIns="108000" bIns="72000" rtlCol="0" anchor="ctr" anchorCtr="0"/>
              <a:lstStyle/>
              <a:p>
                <a:pPr algn="ctr">
                  <a:spcBef>
                    <a:spcPts val="1800"/>
                  </a:spcBef>
                  <a:buClr>
                    <a:schemeClr val="bg1">
                      <a:lumMod val="50000"/>
                    </a:schemeClr>
                  </a:buClr>
                  <a:buSzPct val="100000"/>
                </a:pPr>
                <a:r>
                  <a:rPr lang="en-US" dirty="0">
                    <a:latin typeface="+mn-lt"/>
                  </a:rPr>
                  <a:t>Turkey</a:t>
                </a:r>
              </a:p>
            </p:txBody>
          </p:sp>
          <p:sp>
            <p:nvSpPr>
              <p:cNvPr id="135" name="Textfeld 134">
                <a:extLst>
                  <a:ext uri="{FF2B5EF4-FFF2-40B4-BE49-F238E27FC236}">
                    <a16:creationId xmlns:a16="http://schemas.microsoft.com/office/drawing/2014/main" id="{C2592FCE-E0B3-491F-A36F-324DF0C0B256}"/>
                  </a:ext>
                </a:extLst>
              </p:cNvPr>
              <p:cNvSpPr txBox="1"/>
              <p:nvPr/>
            </p:nvSpPr>
            <p:spPr>
              <a:xfrm>
                <a:off x="3259955" y="4180105"/>
                <a:ext cx="2479161" cy="1384995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Developing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Increasing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volume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Fragmented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workshop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landscape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Strong </a:t>
                </a:r>
                <a:r>
                  <a:rPr lang="de-DE" sz="1050" dirty="0" err="1">
                    <a:latin typeface="+mn-lt"/>
                  </a:rPr>
                  <a:t>local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automotive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industry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Following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the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intrernational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standard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Bridge </a:t>
                </a:r>
                <a:r>
                  <a:rPr lang="de-DE" sz="1050" dirty="0" err="1">
                    <a:latin typeface="+mn-lt"/>
                  </a:rPr>
                  <a:t>function</a:t>
                </a:r>
                <a:endParaRPr lang="de-DE" sz="1050" dirty="0">
                  <a:latin typeface="+mn-lt"/>
                </a:endParaRPr>
              </a:p>
              <a:p>
                <a:endParaRPr lang="de-DE" sz="1050" dirty="0">
                  <a:latin typeface="+mn-lt"/>
                </a:endParaRPr>
              </a:p>
            </p:txBody>
          </p:sp>
        </p:grpSp>
        <p:pic>
          <p:nvPicPr>
            <p:cNvPr id="159" name="Grafik 158">
              <a:extLst>
                <a:ext uri="{FF2B5EF4-FFF2-40B4-BE49-F238E27FC236}">
                  <a16:creationId xmlns:a16="http://schemas.microsoft.com/office/drawing/2014/main" id="{DABA5C8F-D7DE-4AD2-91AA-C22CDCF8C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759445" y="835753"/>
              <a:ext cx="464347" cy="3314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60" name="Kreis: nicht ausgefüllt 159">
            <a:extLst>
              <a:ext uri="{FF2B5EF4-FFF2-40B4-BE49-F238E27FC236}">
                <a16:creationId xmlns:a16="http://schemas.microsoft.com/office/drawing/2014/main" id="{5BE696F7-B164-4F4D-B784-DE952DB0C1DA}"/>
              </a:ext>
            </a:extLst>
          </p:cNvPr>
          <p:cNvSpPr/>
          <p:nvPr/>
        </p:nvSpPr>
        <p:spPr>
          <a:xfrm>
            <a:off x="3025979" y="2104260"/>
            <a:ext cx="322838" cy="345176"/>
          </a:xfrm>
          <a:prstGeom prst="donut">
            <a:avLst/>
          </a:prstGeom>
          <a:solidFill>
            <a:schemeClr val="accent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62" name="Gruppieren 161">
            <a:extLst>
              <a:ext uri="{FF2B5EF4-FFF2-40B4-BE49-F238E27FC236}">
                <a16:creationId xmlns:a16="http://schemas.microsoft.com/office/drawing/2014/main" id="{FE915621-C899-4556-9A9B-8756C5DEB18F}"/>
              </a:ext>
            </a:extLst>
          </p:cNvPr>
          <p:cNvGrpSpPr/>
          <p:nvPr/>
        </p:nvGrpSpPr>
        <p:grpSpPr>
          <a:xfrm>
            <a:off x="5774621" y="3388743"/>
            <a:ext cx="2481619" cy="1408409"/>
            <a:chOff x="5355926" y="4350228"/>
            <a:chExt cx="2481619" cy="1408409"/>
          </a:xfrm>
        </p:grpSpPr>
        <p:grpSp>
          <p:nvGrpSpPr>
            <p:cNvPr id="139" name="Gruppieren 138">
              <a:extLst>
                <a:ext uri="{FF2B5EF4-FFF2-40B4-BE49-F238E27FC236}">
                  <a16:creationId xmlns:a16="http://schemas.microsoft.com/office/drawing/2014/main" id="{187180D5-B9AD-4B5B-9416-6EA1AAE53F76}"/>
                </a:ext>
              </a:extLst>
            </p:cNvPr>
            <p:cNvGrpSpPr/>
            <p:nvPr/>
          </p:nvGrpSpPr>
          <p:grpSpPr>
            <a:xfrm>
              <a:off x="5355926" y="4350228"/>
              <a:ext cx="2481619" cy="1408409"/>
              <a:chOff x="6395658" y="3848914"/>
              <a:chExt cx="2481619" cy="1408409"/>
            </a:xfrm>
          </p:grpSpPr>
          <p:sp>
            <p:nvSpPr>
              <p:cNvPr id="140" name="Rechteck 139">
                <a:extLst>
                  <a:ext uri="{FF2B5EF4-FFF2-40B4-BE49-F238E27FC236}">
                    <a16:creationId xmlns:a16="http://schemas.microsoft.com/office/drawing/2014/main" id="{A94B9523-BB91-4D2A-93F4-EB7649D8D12B}"/>
                  </a:ext>
                </a:extLst>
              </p:cNvPr>
              <p:cNvSpPr/>
              <p:nvPr/>
            </p:nvSpPr>
            <p:spPr bwMode="gray">
              <a:xfrm>
                <a:off x="6395658" y="3848914"/>
                <a:ext cx="2481619" cy="331191"/>
              </a:xfrm>
              <a:prstGeom prst="rect">
                <a:avLst/>
              </a:prstGeom>
              <a:solidFill>
                <a:srgbClr val="D9D9D9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108000" tIns="72000" rIns="108000" bIns="72000" rtlCol="0" anchor="ctr" anchorCtr="0"/>
              <a:lstStyle/>
              <a:p>
                <a:pPr algn="ctr">
                  <a:spcBef>
                    <a:spcPts val="1800"/>
                  </a:spcBef>
                  <a:buClr>
                    <a:schemeClr val="bg1">
                      <a:lumMod val="50000"/>
                    </a:schemeClr>
                  </a:buClr>
                  <a:buSzPct val="100000"/>
                </a:pPr>
                <a:r>
                  <a:rPr lang="en-US" dirty="0">
                    <a:latin typeface="+mn-lt"/>
                  </a:rPr>
                  <a:t>Russia</a:t>
                </a:r>
              </a:p>
            </p:txBody>
          </p:sp>
          <p:sp>
            <p:nvSpPr>
              <p:cNvPr id="141" name="Textfeld 140">
                <a:extLst>
                  <a:ext uri="{FF2B5EF4-FFF2-40B4-BE49-F238E27FC236}">
                    <a16:creationId xmlns:a16="http://schemas.microsoft.com/office/drawing/2014/main" id="{561D43FA-6CA7-462E-A1A0-D0E39A077C16}"/>
                  </a:ext>
                </a:extLst>
              </p:cNvPr>
              <p:cNvSpPr txBox="1"/>
              <p:nvPr/>
            </p:nvSpPr>
            <p:spPr>
              <a:xfrm>
                <a:off x="6395658" y="4180105"/>
                <a:ext cx="2481619" cy="107721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Developing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Huge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</a:t>
                </a:r>
                <a:r>
                  <a:rPr lang="de-DE" sz="1050" dirty="0">
                    <a:latin typeface="+mn-lt"/>
                  </a:rPr>
                  <a:t> potential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altLang="de-DE" sz="1050" dirty="0" err="1">
                    <a:solidFill>
                      <a:srgbClr val="212121"/>
                    </a:solidFill>
                    <a:latin typeface="+mn-lt"/>
                  </a:rPr>
                  <a:t>Decreasing</a:t>
                </a:r>
                <a:r>
                  <a:rPr lang="de-DE" altLang="de-DE" sz="1050" dirty="0">
                    <a:solidFill>
                      <a:srgbClr val="212121"/>
                    </a:solidFill>
                    <a:latin typeface="+mn-lt"/>
                  </a:rPr>
                  <a:t> </a:t>
                </a:r>
                <a:r>
                  <a:rPr lang="de-DE" altLang="de-DE" sz="1050" dirty="0" err="1">
                    <a:solidFill>
                      <a:srgbClr val="212121"/>
                    </a:solidFill>
                    <a:latin typeface="+mn-lt"/>
                  </a:rPr>
                  <a:t>purchasing</a:t>
                </a:r>
                <a:r>
                  <a:rPr lang="de-DE" altLang="de-DE" sz="1050" dirty="0">
                    <a:solidFill>
                      <a:srgbClr val="212121"/>
                    </a:solidFill>
                    <a:latin typeface="+mn-lt"/>
                  </a:rPr>
                  <a:t> power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altLang="de-DE" sz="100" dirty="0">
                    <a:latin typeface="+mn-lt"/>
                  </a:rPr>
                  <a:t> </a:t>
                </a:r>
                <a:endParaRPr lang="de-DE" altLang="de-DE" sz="90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High </a:t>
                </a:r>
                <a:r>
                  <a:rPr lang="de-DE" sz="1050" dirty="0" err="1">
                    <a:latin typeface="+mn-lt"/>
                  </a:rPr>
                  <a:t>amount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of</a:t>
                </a:r>
                <a:r>
                  <a:rPr lang="de-DE" sz="1050" dirty="0">
                    <a:latin typeface="+mn-lt"/>
                  </a:rPr>
                  <a:t> DIY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Strong online </a:t>
                </a:r>
                <a:r>
                  <a:rPr lang="de-DE" sz="1050" dirty="0" err="1">
                    <a:latin typeface="+mn-lt"/>
                  </a:rPr>
                  <a:t>channel</a:t>
                </a:r>
                <a:endParaRPr lang="de-DE" sz="1050" dirty="0">
                  <a:latin typeface="+mn-lt"/>
                </a:endParaRPr>
              </a:p>
              <a:p>
                <a:endParaRPr lang="de-DE" sz="1050" dirty="0">
                  <a:latin typeface="+mn-lt"/>
                </a:endParaRPr>
              </a:p>
            </p:txBody>
          </p:sp>
        </p:grpSp>
        <p:pic>
          <p:nvPicPr>
            <p:cNvPr id="161" name="Grafik 160">
              <a:extLst>
                <a:ext uri="{FF2B5EF4-FFF2-40B4-BE49-F238E27FC236}">
                  <a16:creationId xmlns:a16="http://schemas.microsoft.com/office/drawing/2014/main" id="{937659EA-86F4-4141-93CA-430D8726DD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384290" y="4365707"/>
              <a:ext cx="409476" cy="30665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64" name="Kreis: nicht ausgefüllt 163">
            <a:extLst>
              <a:ext uri="{FF2B5EF4-FFF2-40B4-BE49-F238E27FC236}">
                <a16:creationId xmlns:a16="http://schemas.microsoft.com/office/drawing/2014/main" id="{287C4820-F72D-45F3-98C0-9FC8AB074FA5}"/>
              </a:ext>
            </a:extLst>
          </p:cNvPr>
          <p:cNvSpPr/>
          <p:nvPr/>
        </p:nvSpPr>
        <p:spPr>
          <a:xfrm>
            <a:off x="5056226" y="2984311"/>
            <a:ext cx="322838" cy="345176"/>
          </a:xfrm>
          <a:prstGeom prst="donut">
            <a:avLst/>
          </a:prstGeom>
          <a:solidFill>
            <a:schemeClr val="accent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grpSp>
        <p:nvGrpSpPr>
          <p:cNvPr id="166" name="Gruppieren 165">
            <a:extLst>
              <a:ext uri="{FF2B5EF4-FFF2-40B4-BE49-F238E27FC236}">
                <a16:creationId xmlns:a16="http://schemas.microsoft.com/office/drawing/2014/main" id="{99229867-DA7E-4D80-A72D-E9541A26CCED}"/>
              </a:ext>
            </a:extLst>
          </p:cNvPr>
          <p:cNvGrpSpPr/>
          <p:nvPr/>
        </p:nvGrpSpPr>
        <p:grpSpPr>
          <a:xfrm>
            <a:off x="8688288" y="1810352"/>
            <a:ext cx="2481619" cy="1231437"/>
            <a:chOff x="9104247" y="1810352"/>
            <a:chExt cx="2481619" cy="1231437"/>
          </a:xfrm>
        </p:grpSpPr>
        <p:grpSp>
          <p:nvGrpSpPr>
            <p:cNvPr id="130" name="Gruppieren 129">
              <a:extLst>
                <a:ext uri="{FF2B5EF4-FFF2-40B4-BE49-F238E27FC236}">
                  <a16:creationId xmlns:a16="http://schemas.microsoft.com/office/drawing/2014/main" id="{D80018DD-8D9A-47AA-8859-A6669D51C6D4}"/>
                </a:ext>
              </a:extLst>
            </p:cNvPr>
            <p:cNvGrpSpPr/>
            <p:nvPr/>
          </p:nvGrpSpPr>
          <p:grpSpPr>
            <a:xfrm>
              <a:off x="9104247" y="1810352"/>
              <a:ext cx="2481619" cy="1231437"/>
              <a:chOff x="119336" y="3848914"/>
              <a:chExt cx="2481619" cy="1231437"/>
            </a:xfrm>
          </p:grpSpPr>
          <p:sp>
            <p:nvSpPr>
              <p:cNvPr id="131" name="Rechteck 130">
                <a:extLst>
                  <a:ext uri="{FF2B5EF4-FFF2-40B4-BE49-F238E27FC236}">
                    <a16:creationId xmlns:a16="http://schemas.microsoft.com/office/drawing/2014/main" id="{1634AE5E-5C7C-4FFA-BC79-AB43B22C4A2E}"/>
                  </a:ext>
                </a:extLst>
              </p:cNvPr>
              <p:cNvSpPr/>
              <p:nvPr/>
            </p:nvSpPr>
            <p:spPr bwMode="gray">
              <a:xfrm>
                <a:off x="119336" y="3848914"/>
                <a:ext cx="2481619" cy="331191"/>
              </a:xfrm>
              <a:prstGeom prst="rect">
                <a:avLst/>
              </a:prstGeom>
              <a:solidFill>
                <a:srgbClr val="D9D9D9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108000" tIns="72000" rIns="108000" bIns="72000" rtlCol="0" anchor="ctr" anchorCtr="0"/>
              <a:lstStyle/>
              <a:p>
                <a:pPr algn="ctr">
                  <a:spcBef>
                    <a:spcPts val="1800"/>
                  </a:spcBef>
                  <a:buClr>
                    <a:schemeClr val="bg1">
                      <a:lumMod val="50000"/>
                    </a:schemeClr>
                  </a:buClr>
                  <a:buSzPct val="100000"/>
                </a:pPr>
                <a:r>
                  <a:rPr lang="en-US" sz="1400" dirty="0">
                    <a:latin typeface="+mn-lt"/>
                  </a:rPr>
                  <a:t>Europe 5</a:t>
                </a:r>
              </a:p>
            </p:txBody>
          </p:sp>
          <p:sp>
            <p:nvSpPr>
              <p:cNvPr id="132" name="Textfeld 131">
                <a:extLst>
                  <a:ext uri="{FF2B5EF4-FFF2-40B4-BE49-F238E27FC236}">
                    <a16:creationId xmlns:a16="http://schemas.microsoft.com/office/drawing/2014/main" id="{0DCC88CD-604F-4E5D-8F7D-A30D371BCDD0}"/>
                  </a:ext>
                </a:extLst>
              </p:cNvPr>
              <p:cNvSpPr txBox="1"/>
              <p:nvPr/>
            </p:nvSpPr>
            <p:spPr>
              <a:xfrm>
                <a:off x="121795" y="4180105"/>
                <a:ext cx="2476601" cy="90024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1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Developed</a:t>
                </a:r>
                <a:r>
                  <a:rPr lang="de-DE" sz="1050" dirty="0">
                    <a:latin typeface="+mn-lt"/>
                  </a:rPr>
                  <a:t> and </a:t>
                </a:r>
                <a:r>
                  <a:rPr lang="de-DE" sz="1050" dirty="0" err="1">
                    <a:latin typeface="+mn-lt"/>
                  </a:rPr>
                  <a:t>saturated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Strong </a:t>
                </a:r>
                <a:r>
                  <a:rPr lang="de-DE" sz="1050" dirty="0" err="1">
                    <a:latin typeface="+mn-lt"/>
                  </a:rPr>
                  <a:t>consolidation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proces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 err="1">
                    <a:latin typeface="+mn-lt"/>
                  </a:rPr>
                  <a:t>Digitalization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of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channels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Strong </a:t>
                </a:r>
                <a:r>
                  <a:rPr lang="de-DE" sz="1050" dirty="0" err="1">
                    <a:latin typeface="+mn-lt"/>
                  </a:rPr>
                  <a:t>competition</a:t>
                </a:r>
                <a:endParaRPr lang="de-DE" sz="1050" dirty="0">
                  <a:latin typeface="+mn-lt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de-DE" sz="1050" dirty="0">
                    <a:latin typeface="+mn-lt"/>
                  </a:rPr>
                  <a:t>Technology </a:t>
                </a:r>
                <a:r>
                  <a:rPr lang="de-DE" sz="1050" dirty="0" err="1">
                    <a:latin typeface="+mn-lt"/>
                  </a:rPr>
                  <a:t>driven</a:t>
                </a:r>
                <a:r>
                  <a:rPr lang="de-DE" sz="1050" dirty="0">
                    <a:latin typeface="+mn-lt"/>
                  </a:rPr>
                  <a:t> </a:t>
                </a:r>
                <a:r>
                  <a:rPr lang="de-DE" sz="1050" dirty="0" err="1">
                    <a:latin typeface="+mn-lt"/>
                  </a:rPr>
                  <a:t>markets</a:t>
                </a:r>
                <a:endParaRPr lang="de-DE" sz="1050" dirty="0">
                  <a:latin typeface="+mn-lt"/>
                </a:endParaRPr>
              </a:p>
            </p:txBody>
          </p:sp>
        </p:grpSp>
        <p:pic>
          <p:nvPicPr>
            <p:cNvPr id="165" name="Grafik 164">
              <a:extLst>
                <a:ext uri="{FF2B5EF4-FFF2-40B4-BE49-F238E27FC236}">
                  <a16:creationId xmlns:a16="http://schemas.microsoft.com/office/drawing/2014/main" id="{FCC2F4A3-DD88-43A6-B623-40639057D0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107773" y="1819564"/>
              <a:ext cx="444612" cy="33297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67" name="Kreis: nicht ausgefüllt 166">
            <a:extLst>
              <a:ext uri="{FF2B5EF4-FFF2-40B4-BE49-F238E27FC236}">
                <a16:creationId xmlns:a16="http://schemas.microsoft.com/office/drawing/2014/main" id="{58CF0846-7660-456C-91FA-D82257B20402}"/>
              </a:ext>
            </a:extLst>
          </p:cNvPr>
          <p:cNvSpPr/>
          <p:nvPr/>
        </p:nvSpPr>
        <p:spPr>
          <a:xfrm>
            <a:off x="9242636" y="1266956"/>
            <a:ext cx="322838" cy="345176"/>
          </a:xfrm>
          <a:prstGeom prst="donut">
            <a:avLst/>
          </a:prstGeom>
          <a:solidFill>
            <a:schemeClr val="accent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45CB774-6591-44B0-9A4B-F51AB84FB1FE}"/>
              </a:ext>
            </a:extLst>
          </p:cNvPr>
          <p:cNvSpPr txBox="1"/>
          <p:nvPr/>
        </p:nvSpPr>
        <p:spPr>
          <a:xfrm rot="21332402">
            <a:off x="6464653" y="1451368"/>
            <a:ext cx="22155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>
                <a:latin typeface="+mn-lt"/>
              </a:rPr>
              <a:t>Market </a:t>
            </a:r>
            <a:r>
              <a:rPr lang="de-DE" sz="1400" dirty="0" err="1">
                <a:latin typeface="+mn-lt"/>
              </a:rPr>
              <a:t>development</a:t>
            </a:r>
            <a:r>
              <a:rPr lang="de-DE" sz="1400" dirty="0">
                <a:latin typeface="+mn-lt"/>
              </a:rPr>
              <a:t> </a:t>
            </a:r>
            <a:r>
              <a:rPr lang="de-DE" sz="1400" dirty="0" err="1">
                <a:latin typeface="+mn-lt"/>
              </a:rPr>
              <a:t>line</a:t>
            </a:r>
            <a:endParaRPr lang="de-DE" sz="1400" dirty="0">
              <a:latin typeface="+mn-lt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65E9542-1E6B-4FAF-A370-94F1CC5323CA}"/>
              </a:ext>
            </a:extLst>
          </p:cNvPr>
          <p:cNvSpPr txBox="1"/>
          <p:nvPr/>
        </p:nvSpPr>
        <p:spPr>
          <a:xfrm>
            <a:off x="1271464" y="5452722"/>
            <a:ext cx="1384611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accent5"/>
                </a:solidFill>
                <a:latin typeface="+mn-lt"/>
              </a:rPr>
              <a:t>Introduction</a:t>
            </a:r>
            <a:endParaRPr lang="de-DE" sz="14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B071A2EE-492A-4285-8500-F79437A599C2}"/>
              </a:ext>
            </a:extLst>
          </p:cNvPr>
          <p:cNvSpPr txBox="1"/>
          <p:nvPr/>
        </p:nvSpPr>
        <p:spPr>
          <a:xfrm>
            <a:off x="2919351" y="5449260"/>
            <a:ext cx="3176649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5"/>
                </a:solidFill>
                <a:latin typeface="+mn-lt"/>
              </a:rPr>
              <a:t>Growth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880959C3-1A1A-4C0C-A837-4FFEF5ECD8C3}"/>
              </a:ext>
            </a:extLst>
          </p:cNvPr>
          <p:cNvSpPr txBox="1"/>
          <p:nvPr/>
        </p:nvSpPr>
        <p:spPr>
          <a:xfrm>
            <a:off x="6312024" y="5434591"/>
            <a:ext cx="2686943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 err="1">
                <a:solidFill>
                  <a:schemeClr val="accent5"/>
                </a:solidFill>
                <a:latin typeface="+mn-lt"/>
              </a:rPr>
              <a:t>Maturity</a:t>
            </a:r>
            <a:endParaRPr lang="de-DE" sz="1400" dirty="0">
              <a:solidFill>
                <a:schemeClr val="accent5"/>
              </a:solidFill>
              <a:latin typeface="+mn-lt"/>
            </a:endParaRP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CB7BFFDF-D284-48DC-AF86-396834582977}"/>
              </a:ext>
            </a:extLst>
          </p:cNvPr>
          <p:cNvSpPr txBox="1"/>
          <p:nvPr/>
        </p:nvSpPr>
        <p:spPr>
          <a:xfrm>
            <a:off x="9192344" y="5432190"/>
            <a:ext cx="2420743" cy="307777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400" dirty="0">
                <a:solidFill>
                  <a:schemeClr val="accent5"/>
                </a:solidFill>
                <a:latin typeface="+mn-lt"/>
              </a:rPr>
              <a:t>Saturation</a:t>
            </a:r>
          </a:p>
        </p:txBody>
      </p:sp>
    </p:spTree>
    <p:extLst>
      <p:ext uri="{BB962C8B-B14F-4D97-AF65-F5344CB8AC3E}">
        <p14:creationId xmlns:p14="http://schemas.microsoft.com/office/powerpoint/2010/main" val="49666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" grpId="0" animBg="1"/>
      <p:bldP spid="160" grpId="0" animBg="1"/>
      <p:bldP spid="164" grpId="0" animBg="1"/>
      <p:bldP spid="16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40FCB9-3AF0-43D8-9CCC-FE8358EE1B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d term Outlook 2025</a:t>
            </a:r>
            <a:endParaRPr lang="de-DE" dirty="0"/>
          </a:p>
        </p:txBody>
      </p:sp>
      <p:sp>
        <p:nvSpPr>
          <p:cNvPr id="98" name="Rectangle 14">
            <a:extLst>
              <a:ext uri="{FF2B5EF4-FFF2-40B4-BE49-F238E27FC236}">
                <a16:creationId xmlns:a16="http://schemas.microsoft.com/office/drawing/2014/main" id="{FBAB42EC-527B-4A93-A67D-4431E44E741F}"/>
              </a:ext>
            </a:extLst>
          </p:cNvPr>
          <p:cNvSpPr/>
          <p:nvPr/>
        </p:nvSpPr>
        <p:spPr bwMode="auto">
          <a:xfrm>
            <a:off x="683831" y="4304577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en-US" sz="1200" cap="small" dirty="0"/>
              <a:t>New drive technologies</a:t>
            </a:r>
          </a:p>
        </p:txBody>
      </p:sp>
      <p:sp>
        <p:nvSpPr>
          <p:cNvPr id="99" name="Rectangle 15">
            <a:extLst>
              <a:ext uri="{FF2B5EF4-FFF2-40B4-BE49-F238E27FC236}">
                <a16:creationId xmlns:a16="http://schemas.microsoft.com/office/drawing/2014/main" id="{C6056F04-09A9-4705-89D5-ECE6E9B76F78}"/>
              </a:ext>
            </a:extLst>
          </p:cNvPr>
          <p:cNvSpPr/>
          <p:nvPr/>
        </p:nvSpPr>
        <p:spPr bwMode="auto">
          <a:xfrm>
            <a:off x="682485" y="2489627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 err="1"/>
              <a:t>Digitization</a:t>
            </a:r>
            <a:r>
              <a:rPr lang="de-DE" sz="1200" cap="small" dirty="0"/>
              <a:t> </a:t>
            </a:r>
            <a:r>
              <a:rPr lang="de-DE" sz="1200" cap="small" dirty="0" err="1"/>
              <a:t>of</a:t>
            </a:r>
            <a:r>
              <a:rPr lang="de-DE" sz="1200" cap="small" dirty="0"/>
              <a:t> </a:t>
            </a:r>
            <a:r>
              <a:rPr lang="de-DE" sz="1200" cap="small" dirty="0" err="1"/>
              <a:t>sales</a:t>
            </a:r>
            <a:r>
              <a:rPr lang="de-DE" sz="1200" cap="small" dirty="0"/>
              <a:t> </a:t>
            </a:r>
            <a:r>
              <a:rPr lang="de-DE" sz="1200" cap="small" dirty="0" err="1"/>
              <a:t>channels</a:t>
            </a:r>
            <a:endParaRPr lang="de-DE" sz="1200" cap="small" dirty="0"/>
          </a:p>
        </p:txBody>
      </p:sp>
      <p:sp>
        <p:nvSpPr>
          <p:cNvPr id="100" name="Rectangle 16">
            <a:extLst>
              <a:ext uri="{FF2B5EF4-FFF2-40B4-BE49-F238E27FC236}">
                <a16:creationId xmlns:a16="http://schemas.microsoft.com/office/drawing/2014/main" id="{68614DC5-22F0-4AEE-BDD1-20C75C4AAF51}"/>
              </a:ext>
            </a:extLst>
          </p:cNvPr>
          <p:cNvSpPr/>
          <p:nvPr/>
        </p:nvSpPr>
        <p:spPr bwMode="auto">
          <a:xfrm>
            <a:off x="686758" y="3953408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 err="1"/>
              <a:t>Changing</a:t>
            </a:r>
            <a:r>
              <a:rPr lang="de-DE" sz="1200" cap="small" dirty="0"/>
              <a:t> </a:t>
            </a:r>
            <a:r>
              <a:rPr lang="de-DE" sz="1200" cap="small" dirty="0" err="1"/>
              <a:t>the</a:t>
            </a:r>
            <a:r>
              <a:rPr lang="de-DE" sz="1200" cap="small" dirty="0"/>
              <a:t> </a:t>
            </a:r>
            <a:r>
              <a:rPr lang="de-DE" sz="1200" cap="small" dirty="0" err="1"/>
              <a:t>mobility</a:t>
            </a:r>
            <a:r>
              <a:rPr lang="de-DE" sz="1200" cap="small" dirty="0"/>
              <a:t> </a:t>
            </a:r>
            <a:r>
              <a:rPr lang="de-DE" sz="1200" cap="small" dirty="0" err="1"/>
              <a:t>behaviours</a:t>
            </a:r>
            <a:endParaRPr lang="de-DE" sz="1200" cap="small" dirty="0"/>
          </a:p>
        </p:txBody>
      </p:sp>
      <p:sp>
        <p:nvSpPr>
          <p:cNvPr id="101" name="Rectangle 17">
            <a:extLst>
              <a:ext uri="{FF2B5EF4-FFF2-40B4-BE49-F238E27FC236}">
                <a16:creationId xmlns:a16="http://schemas.microsoft.com/office/drawing/2014/main" id="{C1A264EE-B5F1-4FBE-84AA-5960AC40582E}"/>
              </a:ext>
            </a:extLst>
          </p:cNvPr>
          <p:cNvSpPr/>
          <p:nvPr/>
        </p:nvSpPr>
        <p:spPr bwMode="auto">
          <a:xfrm>
            <a:off x="679862" y="2132856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/>
              <a:t>Consolidation</a:t>
            </a:r>
          </a:p>
        </p:txBody>
      </p:sp>
      <p:sp>
        <p:nvSpPr>
          <p:cNvPr id="102" name="Rectangle 29">
            <a:extLst>
              <a:ext uri="{FF2B5EF4-FFF2-40B4-BE49-F238E27FC236}">
                <a16:creationId xmlns:a16="http://schemas.microsoft.com/office/drawing/2014/main" id="{1A952850-F1E9-475A-BEA1-39AB2A06B15D}"/>
              </a:ext>
            </a:extLst>
          </p:cNvPr>
          <p:cNvSpPr/>
          <p:nvPr/>
        </p:nvSpPr>
        <p:spPr bwMode="auto">
          <a:xfrm>
            <a:off x="5540152" y="1196752"/>
            <a:ext cx="1283591" cy="48352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36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lnSpc>
                <a:spcPts val="1200"/>
              </a:lnSpc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b="1" cap="small" dirty="0">
                <a:solidFill>
                  <a:schemeClr val="accent1"/>
                </a:solidFill>
              </a:rPr>
              <a:t>Europe G5</a:t>
            </a:r>
          </a:p>
        </p:txBody>
      </p:sp>
      <p:sp>
        <p:nvSpPr>
          <p:cNvPr id="103" name="Rectangle 30">
            <a:extLst>
              <a:ext uri="{FF2B5EF4-FFF2-40B4-BE49-F238E27FC236}">
                <a16:creationId xmlns:a16="http://schemas.microsoft.com/office/drawing/2014/main" id="{AC81046E-F863-4FFB-95F7-347708666C2A}"/>
              </a:ext>
            </a:extLst>
          </p:cNvPr>
          <p:cNvSpPr/>
          <p:nvPr/>
        </p:nvSpPr>
        <p:spPr bwMode="auto">
          <a:xfrm>
            <a:off x="6916285" y="1196752"/>
            <a:ext cx="1283590" cy="48352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36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lnSpc>
                <a:spcPts val="1200"/>
              </a:lnSpc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b="1" cap="small" dirty="0">
                <a:solidFill>
                  <a:schemeClr val="accent1"/>
                </a:solidFill>
              </a:rPr>
              <a:t>Turkey</a:t>
            </a:r>
          </a:p>
        </p:txBody>
      </p:sp>
      <p:sp>
        <p:nvSpPr>
          <p:cNvPr id="104" name="Rectangle 31">
            <a:extLst>
              <a:ext uri="{FF2B5EF4-FFF2-40B4-BE49-F238E27FC236}">
                <a16:creationId xmlns:a16="http://schemas.microsoft.com/office/drawing/2014/main" id="{0203BA09-6E13-479B-89A1-1692398B40FD}"/>
              </a:ext>
            </a:extLst>
          </p:cNvPr>
          <p:cNvSpPr/>
          <p:nvPr/>
        </p:nvSpPr>
        <p:spPr bwMode="auto">
          <a:xfrm>
            <a:off x="8292415" y="1196752"/>
            <a:ext cx="1283590" cy="48352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36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lnSpc>
                <a:spcPts val="1200"/>
              </a:lnSpc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b="1" cap="small" dirty="0">
                <a:solidFill>
                  <a:schemeClr val="accent1"/>
                </a:solidFill>
              </a:rPr>
              <a:t>Russia</a:t>
            </a:r>
          </a:p>
        </p:txBody>
      </p:sp>
      <p:sp>
        <p:nvSpPr>
          <p:cNvPr id="105" name="Rectangle 32">
            <a:extLst>
              <a:ext uri="{FF2B5EF4-FFF2-40B4-BE49-F238E27FC236}">
                <a16:creationId xmlns:a16="http://schemas.microsoft.com/office/drawing/2014/main" id="{9DFC3C3C-8103-41C1-93E9-BD98BE423856}"/>
              </a:ext>
            </a:extLst>
          </p:cNvPr>
          <p:cNvSpPr/>
          <p:nvPr/>
        </p:nvSpPr>
        <p:spPr bwMode="auto">
          <a:xfrm>
            <a:off x="9668546" y="1196752"/>
            <a:ext cx="1283590" cy="48352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36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lnSpc>
                <a:spcPts val="1200"/>
              </a:lnSpc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b="1" cap="small" dirty="0" err="1">
                <a:solidFill>
                  <a:schemeClr val="accent1"/>
                </a:solidFill>
              </a:rPr>
              <a:t>Africa</a:t>
            </a:r>
            <a:endParaRPr lang="de-DE" b="1" cap="small" dirty="0">
              <a:solidFill>
                <a:schemeClr val="accent1"/>
              </a:solidFill>
            </a:endParaRPr>
          </a:p>
        </p:txBody>
      </p:sp>
      <p:sp>
        <p:nvSpPr>
          <p:cNvPr id="106" name="Rectangle 36">
            <a:extLst>
              <a:ext uri="{FF2B5EF4-FFF2-40B4-BE49-F238E27FC236}">
                <a16:creationId xmlns:a16="http://schemas.microsoft.com/office/drawing/2014/main" id="{D5EBE02B-0D8F-4DA6-B68E-BFB76C52FEC4}"/>
              </a:ext>
            </a:extLst>
          </p:cNvPr>
          <p:cNvSpPr/>
          <p:nvPr/>
        </p:nvSpPr>
        <p:spPr bwMode="auto">
          <a:xfrm>
            <a:off x="5540152" y="1779781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07" name="Rectangle 51">
            <a:extLst>
              <a:ext uri="{FF2B5EF4-FFF2-40B4-BE49-F238E27FC236}">
                <a16:creationId xmlns:a16="http://schemas.microsoft.com/office/drawing/2014/main" id="{8721EECE-6097-49D0-B41D-D5CC032777EB}"/>
              </a:ext>
            </a:extLst>
          </p:cNvPr>
          <p:cNvSpPr/>
          <p:nvPr/>
        </p:nvSpPr>
        <p:spPr bwMode="auto">
          <a:xfrm>
            <a:off x="5540152" y="2489852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08" name="Rectangle 56">
            <a:extLst>
              <a:ext uri="{FF2B5EF4-FFF2-40B4-BE49-F238E27FC236}">
                <a16:creationId xmlns:a16="http://schemas.microsoft.com/office/drawing/2014/main" id="{6D7CCE34-45B9-48C0-B148-AE380E67E7FC}"/>
              </a:ext>
            </a:extLst>
          </p:cNvPr>
          <p:cNvSpPr/>
          <p:nvPr/>
        </p:nvSpPr>
        <p:spPr bwMode="auto">
          <a:xfrm>
            <a:off x="5540152" y="213481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09" name="Rectangle 111">
            <a:extLst>
              <a:ext uri="{FF2B5EF4-FFF2-40B4-BE49-F238E27FC236}">
                <a16:creationId xmlns:a16="http://schemas.microsoft.com/office/drawing/2014/main" id="{8D2F48E8-8527-4F67-8DA1-7CF7F229D3A3}"/>
              </a:ext>
            </a:extLst>
          </p:cNvPr>
          <p:cNvSpPr/>
          <p:nvPr/>
        </p:nvSpPr>
        <p:spPr bwMode="auto">
          <a:xfrm>
            <a:off x="5540152" y="284488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10" name="Rectangle 121">
            <a:extLst>
              <a:ext uri="{FF2B5EF4-FFF2-40B4-BE49-F238E27FC236}">
                <a16:creationId xmlns:a16="http://schemas.microsoft.com/office/drawing/2014/main" id="{3EB33E95-18B7-48F3-ACC6-609AD5E78415}"/>
              </a:ext>
            </a:extLst>
          </p:cNvPr>
          <p:cNvSpPr/>
          <p:nvPr/>
        </p:nvSpPr>
        <p:spPr bwMode="auto">
          <a:xfrm>
            <a:off x="5540152" y="319992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11" name="Oval 34">
            <a:extLst>
              <a:ext uri="{FF2B5EF4-FFF2-40B4-BE49-F238E27FC236}">
                <a16:creationId xmlns:a16="http://schemas.microsoft.com/office/drawing/2014/main" id="{285CD1C7-2D70-4C2D-9BED-82089731F911}"/>
              </a:ext>
            </a:extLst>
          </p:cNvPr>
          <p:cNvSpPr/>
          <p:nvPr/>
        </p:nvSpPr>
        <p:spPr bwMode="auto">
          <a:xfrm>
            <a:off x="10212182" y="1791506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grpSp>
        <p:nvGrpSpPr>
          <p:cNvPr id="112" name="Group 310">
            <a:extLst>
              <a:ext uri="{FF2B5EF4-FFF2-40B4-BE49-F238E27FC236}">
                <a16:creationId xmlns:a16="http://schemas.microsoft.com/office/drawing/2014/main" id="{CC7A9339-B7A4-414B-8C02-590E8220B4FE}"/>
              </a:ext>
            </a:extLst>
          </p:cNvPr>
          <p:cNvGrpSpPr/>
          <p:nvPr/>
        </p:nvGrpSpPr>
        <p:grpSpPr>
          <a:xfrm>
            <a:off x="6083789" y="1809055"/>
            <a:ext cx="196318" cy="233326"/>
            <a:chOff x="4922092" y="1979110"/>
            <a:chExt cx="144000" cy="156347"/>
          </a:xfrm>
        </p:grpSpPr>
        <p:sp>
          <p:nvSpPr>
            <p:cNvPr id="113" name="Oval 127">
              <a:extLst>
                <a:ext uri="{FF2B5EF4-FFF2-40B4-BE49-F238E27FC236}">
                  <a16:creationId xmlns:a16="http://schemas.microsoft.com/office/drawing/2014/main" id="{B1573D4F-1EE4-461B-851B-25B8BD119E36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14" name="Arc 128">
              <a:extLst>
                <a:ext uri="{FF2B5EF4-FFF2-40B4-BE49-F238E27FC236}">
                  <a16:creationId xmlns:a16="http://schemas.microsoft.com/office/drawing/2014/main" id="{E5E8C0BA-C1AB-4230-AC14-7C2404E29D83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15" name="Group 311">
            <a:extLst>
              <a:ext uri="{FF2B5EF4-FFF2-40B4-BE49-F238E27FC236}">
                <a16:creationId xmlns:a16="http://schemas.microsoft.com/office/drawing/2014/main" id="{BDFF2ED8-EDD2-460E-9A61-A3B9706BB252}"/>
              </a:ext>
            </a:extLst>
          </p:cNvPr>
          <p:cNvGrpSpPr/>
          <p:nvPr/>
        </p:nvGrpSpPr>
        <p:grpSpPr>
          <a:xfrm>
            <a:off x="10220162" y="2159673"/>
            <a:ext cx="196318" cy="233326"/>
            <a:chOff x="4922092" y="1979110"/>
            <a:chExt cx="144000" cy="156347"/>
          </a:xfrm>
        </p:grpSpPr>
        <p:sp>
          <p:nvSpPr>
            <p:cNvPr id="116" name="Oval 312">
              <a:extLst>
                <a:ext uri="{FF2B5EF4-FFF2-40B4-BE49-F238E27FC236}">
                  <a16:creationId xmlns:a16="http://schemas.microsoft.com/office/drawing/2014/main" id="{83D953B7-D856-4FEF-95B2-AF2EA90547DF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17" name="Arc 313">
              <a:extLst>
                <a:ext uri="{FF2B5EF4-FFF2-40B4-BE49-F238E27FC236}">
                  <a16:creationId xmlns:a16="http://schemas.microsoft.com/office/drawing/2014/main" id="{C8924FE7-66D2-4B46-B550-5E59113AA4B7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124" name="Rectangle 337">
            <a:extLst>
              <a:ext uri="{FF2B5EF4-FFF2-40B4-BE49-F238E27FC236}">
                <a16:creationId xmlns:a16="http://schemas.microsoft.com/office/drawing/2014/main" id="{1B9DFEBB-8A41-4F79-843E-BF0E74D1C5B8}"/>
              </a:ext>
            </a:extLst>
          </p:cNvPr>
          <p:cNvSpPr/>
          <p:nvPr/>
        </p:nvSpPr>
        <p:spPr bwMode="auto">
          <a:xfrm>
            <a:off x="6932116" y="1779781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25" name="Rectangle 338">
            <a:extLst>
              <a:ext uri="{FF2B5EF4-FFF2-40B4-BE49-F238E27FC236}">
                <a16:creationId xmlns:a16="http://schemas.microsoft.com/office/drawing/2014/main" id="{7F7330DB-AB15-4F20-82DA-4719EC9CF12C}"/>
              </a:ext>
            </a:extLst>
          </p:cNvPr>
          <p:cNvSpPr/>
          <p:nvPr/>
        </p:nvSpPr>
        <p:spPr bwMode="auto">
          <a:xfrm>
            <a:off x="6916285" y="2489852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26" name="Rectangle 339">
            <a:extLst>
              <a:ext uri="{FF2B5EF4-FFF2-40B4-BE49-F238E27FC236}">
                <a16:creationId xmlns:a16="http://schemas.microsoft.com/office/drawing/2014/main" id="{230E0631-A57B-4583-BBC4-C68D186A5E73}"/>
              </a:ext>
            </a:extLst>
          </p:cNvPr>
          <p:cNvSpPr/>
          <p:nvPr/>
        </p:nvSpPr>
        <p:spPr bwMode="auto">
          <a:xfrm>
            <a:off x="6916285" y="213481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27" name="Rectangle 350">
            <a:extLst>
              <a:ext uri="{FF2B5EF4-FFF2-40B4-BE49-F238E27FC236}">
                <a16:creationId xmlns:a16="http://schemas.microsoft.com/office/drawing/2014/main" id="{0BCC1B0C-28F3-47AA-9167-8FFAACE0BD04}"/>
              </a:ext>
            </a:extLst>
          </p:cNvPr>
          <p:cNvSpPr/>
          <p:nvPr/>
        </p:nvSpPr>
        <p:spPr bwMode="auto">
          <a:xfrm>
            <a:off x="6916285" y="284488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28" name="Rectangle 352">
            <a:extLst>
              <a:ext uri="{FF2B5EF4-FFF2-40B4-BE49-F238E27FC236}">
                <a16:creationId xmlns:a16="http://schemas.microsoft.com/office/drawing/2014/main" id="{31B40E51-8619-4214-B360-45CF6593BD31}"/>
              </a:ext>
            </a:extLst>
          </p:cNvPr>
          <p:cNvSpPr/>
          <p:nvPr/>
        </p:nvSpPr>
        <p:spPr bwMode="auto">
          <a:xfrm>
            <a:off x="6916285" y="319992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grpSp>
        <p:nvGrpSpPr>
          <p:cNvPr id="130" name="Group 391">
            <a:extLst>
              <a:ext uri="{FF2B5EF4-FFF2-40B4-BE49-F238E27FC236}">
                <a16:creationId xmlns:a16="http://schemas.microsoft.com/office/drawing/2014/main" id="{4F810356-424C-491E-8A87-DB00CCC5C42B}"/>
              </a:ext>
            </a:extLst>
          </p:cNvPr>
          <p:cNvGrpSpPr/>
          <p:nvPr/>
        </p:nvGrpSpPr>
        <p:grpSpPr>
          <a:xfrm>
            <a:off x="8832304" y="2168583"/>
            <a:ext cx="196318" cy="233326"/>
            <a:chOff x="4694559" y="3038685"/>
            <a:chExt cx="144000" cy="156347"/>
          </a:xfrm>
        </p:grpSpPr>
        <p:sp>
          <p:nvSpPr>
            <p:cNvPr id="131" name="Oval 392">
              <a:extLst>
                <a:ext uri="{FF2B5EF4-FFF2-40B4-BE49-F238E27FC236}">
                  <a16:creationId xmlns:a16="http://schemas.microsoft.com/office/drawing/2014/main" id="{80856E8B-DB16-4091-81FB-22F33DCE2A4C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32" name="Arc 393">
              <a:extLst>
                <a:ext uri="{FF2B5EF4-FFF2-40B4-BE49-F238E27FC236}">
                  <a16:creationId xmlns:a16="http://schemas.microsoft.com/office/drawing/2014/main" id="{347278DD-35E8-40FD-A10C-48B894FD5E31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33" name="Group 394">
            <a:extLst>
              <a:ext uri="{FF2B5EF4-FFF2-40B4-BE49-F238E27FC236}">
                <a16:creationId xmlns:a16="http://schemas.microsoft.com/office/drawing/2014/main" id="{260B8CE6-F07A-4EE8-989F-83537D33B5A2}"/>
              </a:ext>
            </a:extLst>
          </p:cNvPr>
          <p:cNvGrpSpPr/>
          <p:nvPr/>
        </p:nvGrpSpPr>
        <p:grpSpPr>
          <a:xfrm>
            <a:off x="7464152" y="2523620"/>
            <a:ext cx="196318" cy="233326"/>
            <a:chOff x="4694559" y="3038685"/>
            <a:chExt cx="144000" cy="156347"/>
          </a:xfrm>
        </p:grpSpPr>
        <p:sp>
          <p:nvSpPr>
            <p:cNvPr id="134" name="Oval 395">
              <a:extLst>
                <a:ext uri="{FF2B5EF4-FFF2-40B4-BE49-F238E27FC236}">
                  <a16:creationId xmlns:a16="http://schemas.microsoft.com/office/drawing/2014/main" id="{DD6E4C1C-6E98-46BA-A410-891D840EC085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35" name="Arc 396">
              <a:extLst>
                <a:ext uri="{FF2B5EF4-FFF2-40B4-BE49-F238E27FC236}">
                  <a16:creationId xmlns:a16="http://schemas.microsoft.com/office/drawing/2014/main" id="{619C7686-74F7-4181-A560-B96965F9D17E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138" name="Rectangle 426">
            <a:extLst>
              <a:ext uri="{FF2B5EF4-FFF2-40B4-BE49-F238E27FC236}">
                <a16:creationId xmlns:a16="http://schemas.microsoft.com/office/drawing/2014/main" id="{382625E7-0A08-4BD7-9D09-6E1C7F4713D7}"/>
              </a:ext>
            </a:extLst>
          </p:cNvPr>
          <p:cNvSpPr/>
          <p:nvPr/>
        </p:nvSpPr>
        <p:spPr bwMode="auto">
          <a:xfrm>
            <a:off x="8292415" y="1779781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39" name="Rectangle 427">
            <a:extLst>
              <a:ext uri="{FF2B5EF4-FFF2-40B4-BE49-F238E27FC236}">
                <a16:creationId xmlns:a16="http://schemas.microsoft.com/office/drawing/2014/main" id="{9A670588-044C-46CC-A711-92BDA0FA5A02}"/>
              </a:ext>
            </a:extLst>
          </p:cNvPr>
          <p:cNvSpPr/>
          <p:nvPr/>
        </p:nvSpPr>
        <p:spPr bwMode="auto">
          <a:xfrm>
            <a:off x="8292415" y="2489852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40" name="Rectangle 428">
            <a:extLst>
              <a:ext uri="{FF2B5EF4-FFF2-40B4-BE49-F238E27FC236}">
                <a16:creationId xmlns:a16="http://schemas.microsoft.com/office/drawing/2014/main" id="{BA7E6969-E2BD-4CFA-961D-D81F0F84E5D1}"/>
              </a:ext>
            </a:extLst>
          </p:cNvPr>
          <p:cNvSpPr/>
          <p:nvPr/>
        </p:nvSpPr>
        <p:spPr bwMode="auto">
          <a:xfrm>
            <a:off x="8292415" y="213481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41" name="Rectangle 439">
            <a:extLst>
              <a:ext uri="{FF2B5EF4-FFF2-40B4-BE49-F238E27FC236}">
                <a16:creationId xmlns:a16="http://schemas.microsoft.com/office/drawing/2014/main" id="{5084D4D0-942E-446C-8A4A-6DBCA3E716A9}"/>
              </a:ext>
            </a:extLst>
          </p:cNvPr>
          <p:cNvSpPr/>
          <p:nvPr/>
        </p:nvSpPr>
        <p:spPr bwMode="auto">
          <a:xfrm>
            <a:off x="8292415" y="284488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42" name="Rectangle 441">
            <a:extLst>
              <a:ext uri="{FF2B5EF4-FFF2-40B4-BE49-F238E27FC236}">
                <a16:creationId xmlns:a16="http://schemas.microsoft.com/office/drawing/2014/main" id="{396442DC-F787-4A4B-A926-869C20623433}"/>
              </a:ext>
            </a:extLst>
          </p:cNvPr>
          <p:cNvSpPr/>
          <p:nvPr/>
        </p:nvSpPr>
        <p:spPr bwMode="auto">
          <a:xfrm>
            <a:off x="8292415" y="319992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grpSp>
        <p:nvGrpSpPr>
          <p:cNvPr id="144" name="Group 446">
            <a:extLst>
              <a:ext uri="{FF2B5EF4-FFF2-40B4-BE49-F238E27FC236}">
                <a16:creationId xmlns:a16="http://schemas.microsoft.com/office/drawing/2014/main" id="{F9D38C88-6A62-491A-96E9-24BA91B276E5}"/>
              </a:ext>
            </a:extLst>
          </p:cNvPr>
          <p:cNvGrpSpPr/>
          <p:nvPr/>
        </p:nvGrpSpPr>
        <p:grpSpPr>
          <a:xfrm>
            <a:off x="8832304" y="2518935"/>
            <a:ext cx="196318" cy="233326"/>
            <a:chOff x="4694559" y="3038685"/>
            <a:chExt cx="144000" cy="156347"/>
          </a:xfrm>
        </p:grpSpPr>
        <p:sp>
          <p:nvSpPr>
            <p:cNvPr id="145" name="Oval 447">
              <a:extLst>
                <a:ext uri="{FF2B5EF4-FFF2-40B4-BE49-F238E27FC236}">
                  <a16:creationId xmlns:a16="http://schemas.microsoft.com/office/drawing/2014/main" id="{B6F4E771-5428-4870-95C7-B749220A2369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46" name="Arc 448">
              <a:extLst>
                <a:ext uri="{FF2B5EF4-FFF2-40B4-BE49-F238E27FC236}">
                  <a16:creationId xmlns:a16="http://schemas.microsoft.com/office/drawing/2014/main" id="{F651BADA-1F7D-4E78-A075-910528784AC1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152" name="Rectangle 490">
            <a:extLst>
              <a:ext uri="{FF2B5EF4-FFF2-40B4-BE49-F238E27FC236}">
                <a16:creationId xmlns:a16="http://schemas.microsoft.com/office/drawing/2014/main" id="{DEDB3836-973D-4A61-88E5-64EBBEE13066}"/>
              </a:ext>
            </a:extLst>
          </p:cNvPr>
          <p:cNvSpPr/>
          <p:nvPr/>
        </p:nvSpPr>
        <p:spPr bwMode="auto">
          <a:xfrm>
            <a:off x="9668546" y="1779781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53" name="Rectangle 491">
            <a:extLst>
              <a:ext uri="{FF2B5EF4-FFF2-40B4-BE49-F238E27FC236}">
                <a16:creationId xmlns:a16="http://schemas.microsoft.com/office/drawing/2014/main" id="{84ADE0CA-E296-472A-8305-83C069CBD711}"/>
              </a:ext>
            </a:extLst>
          </p:cNvPr>
          <p:cNvSpPr/>
          <p:nvPr/>
        </p:nvSpPr>
        <p:spPr bwMode="auto">
          <a:xfrm>
            <a:off x="9668546" y="2489852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54" name="Rectangle 492">
            <a:extLst>
              <a:ext uri="{FF2B5EF4-FFF2-40B4-BE49-F238E27FC236}">
                <a16:creationId xmlns:a16="http://schemas.microsoft.com/office/drawing/2014/main" id="{395111FC-7733-4253-995A-3F1F9E48F3BF}"/>
              </a:ext>
            </a:extLst>
          </p:cNvPr>
          <p:cNvSpPr/>
          <p:nvPr/>
        </p:nvSpPr>
        <p:spPr bwMode="auto">
          <a:xfrm>
            <a:off x="9668546" y="213481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55" name="Rectangle 503">
            <a:extLst>
              <a:ext uri="{FF2B5EF4-FFF2-40B4-BE49-F238E27FC236}">
                <a16:creationId xmlns:a16="http://schemas.microsoft.com/office/drawing/2014/main" id="{17F5DEB3-43CD-4F9B-8865-83C13FE42149}"/>
              </a:ext>
            </a:extLst>
          </p:cNvPr>
          <p:cNvSpPr/>
          <p:nvPr/>
        </p:nvSpPr>
        <p:spPr bwMode="auto">
          <a:xfrm>
            <a:off x="9668546" y="2844887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156" name="Rectangle 504">
            <a:extLst>
              <a:ext uri="{FF2B5EF4-FFF2-40B4-BE49-F238E27FC236}">
                <a16:creationId xmlns:a16="http://schemas.microsoft.com/office/drawing/2014/main" id="{4D17A073-C760-4F2E-8FFA-155EB2DA61B4}"/>
              </a:ext>
            </a:extLst>
          </p:cNvPr>
          <p:cNvSpPr/>
          <p:nvPr/>
        </p:nvSpPr>
        <p:spPr bwMode="auto">
          <a:xfrm>
            <a:off x="9668546" y="319992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grpSp>
        <p:nvGrpSpPr>
          <p:cNvPr id="157" name="Group 528">
            <a:extLst>
              <a:ext uri="{FF2B5EF4-FFF2-40B4-BE49-F238E27FC236}">
                <a16:creationId xmlns:a16="http://schemas.microsoft.com/office/drawing/2014/main" id="{8531F3C1-7685-4518-A81E-562028FFCD56}"/>
              </a:ext>
            </a:extLst>
          </p:cNvPr>
          <p:cNvGrpSpPr/>
          <p:nvPr/>
        </p:nvGrpSpPr>
        <p:grpSpPr>
          <a:xfrm>
            <a:off x="10212182" y="2878655"/>
            <a:ext cx="196318" cy="233326"/>
            <a:chOff x="4922092" y="1979110"/>
            <a:chExt cx="144000" cy="156347"/>
          </a:xfrm>
        </p:grpSpPr>
        <p:sp>
          <p:nvSpPr>
            <p:cNvPr id="158" name="Oval 529">
              <a:extLst>
                <a:ext uri="{FF2B5EF4-FFF2-40B4-BE49-F238E27FC236}">
                  <a16:creationId xmlns:a16="http://schemas.microsoft.com/office/drawing/2014/main" id="{B2D591BB-B19A-44A6-A45C-6E766ECE8008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59" name="Arc 530">
              <a:extLst>
                <a:ext uri="{FF2B5EF4-FFF2-40B4-BE49-F238E27FC236}">
                  <a16:creationId xmlns:a16="http://schemas.microsoft.com/office/drawing/2014/main" id="{974E69D1-9EF0-48A8-94BC-15E22D06F285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0" name="Group 552">
            <a:extLst>
              <a:ext uri="{FF2B5EF4-FFF2-40B4-BE49-F238E27FC236}">
                <a16:creationId xmlns:a16="http://schemas.microsoft.com/office/drawing/2014/main" id="{347B2108-EDB5-4305-8E18-4AAFE385A007}"/>
              </a:ext>
            </a:extLst>
          </p:cNvPr>
          <p:cNvGrpSpPr/>
          <p:nvPr/>
        </p:nvGrpSpPr>
        <p:grpSpPr>
          <a:xfrm>
            <a:off x="8832304" y="1813547"/>
            <a:ext cx="196318" cy="233326"/>
            <a:chOff x="4694559" y="3038685"/>
            <a:chExt cx="144000" cy="156347"/>
          </a:xfrm>
        </p:grpSpPr>
        <p:sp>
          <p:nvSpPr>
            <p:cNvPr id="161" name="Oval 553">
              <a:extLst>
                <a:ext uri="{FF2B5EF4-FFF2-40B4-BE49-F238E27FC236}">
                  <a16:creationId xmlns:a16="http://schemas.microsoft.com/office/drawing/2014/main" id="{9FB1E33B-D4AA-4099-A964-EFDF980B28B8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Arc 554">
              <a:extLst>
                <a:ext uri="{FF2B5EF4-FFF2-40B4-BE49-F238E27FC236}">
                  <a16:creationId xmlns:a16="http://schemas.microsoft.com/office/drawing/2014/main" id="{FDF2FD4A-2358-42A3-AD54-0D3F3D8D1E3F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66" name="Group 558">
            <a:extLst>
              <a:ext uri="{FF2B5EF4-FFF2-40B4-BE49-F238E27FC236}">
                <a16:creationId xmlns:a16="http://schemas.microsoft.com/office/drawing/2014/main" id="{A523127E-2609-4546-91B7-A7C9C38D2480}"/>
              </a:ext>
            </a:extLst>
          </p:cNvPr>
          <p:cNvGrpSpPr/>
          <p:nvPr/>
        </p:nvGrpSpPr>
        <p:grpSpPr>
          <a:xfrm>
            <a:off x="10220162" y="2523620"/>
            <a:ext cx="196318" cy="233326"/>
            <a:chOff x="4694559" y="3324155"/>
            <a:chExt cx="144000" cy="156347"/>
          </a:xfrm>
        </p:grpSpPr>
        <p:sp>
          <p:nvSpPr>
            <p:cNvPr id="167" name="Oval 559">
              <a:extLst>
                <a:ext uri="{FF2B5EF4-FFF2-40B4-BE49-F238E27FC236}">
                  <a16:creationId xmlns:a16="http://schemas.microsoft.com/office/drawing/2014/main" id="{26A1A06F-8FD2-47CF-ABF6-5949A5F53523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68" name="Arc 560">
              <a:extLst>
                <a:ext uri="{FF2B5EF4-FFF2-40B4-BE49-F238E27FC236}">
                  <a16:creationId xmlns:a16="http://schemas.microsoft.com/office/drawing/2014/main" id="{4D8C5407-F34D-4BF9-9712-545BA1100D8A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72" name="Group 588">
            <a:extLst>
              <a:ext uri="{FF2B5EF4-FFF2-40B4-BE49-F238E27FC236}">
                <a16:creationId xmlns:a16="http://schemas.microsoft.com/office/drawing/2014/main" id="{BA5D3155-5A2D-49EC-837C-B720A59B676F}"/>
              </a:ext>
            </a:extLst>
          </p:cNvPr>
          <p:cNvGrpSpPr/>
          <p:nvPr/>
        </p:nvGrpSpPr>
        <p:grpSpPr>
          <a:xfrm>
            <a:off x="6083788" y="2158070"/>
            <a:ext cx="196318" cy="233326"/>
            <a:chOff x="4922092" y="1979110"/>
            <a:chExt cx="144000" cy="156347"/>
          </a:xfrm>
        </p:grpSpPr>
        <p:sp>
          <p:nvSpPr>
            <p:cNvPr id="173" name="Oval 589">
              <a:extLst>
                <a:ext uri="{FF2B5EF4-FFF2-40B4-BE49-F238E27FC236}">
                  <a16:creationId xmlns:a16="http://schemas.microsoft.com/office/drawing/2014/main" id="{0795D817-94E6-48E4-B674-EE431683F2A7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74" name="Arc 590">
              <a:extLst>
                <a:ext uri="{FF2B5EF4-FFF2-40B4-BE49-F238E27FC236}">
                  <a16:creationId xmlns:a16="http://schemas.microsoft.com/office/drawing/2014/main" id="{E22DD439-EE09-4823-BE18-54691E3F6F40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84" name="Group 623">
            <a:extLst>
              <a:ext uri="{FF2B5EF4-FFF2-40B4-BE49-F238E27FC236}">
                <a16:creationId xmlns:a16="http://schemas.microsoft.com/office/drawing/2014/main" id="{6E5378C1-E52C-41BE-BCF1-CB771F5E9C81}"/>
              </a:ext>
            </a:extLst>
          </p:cNvPr>
          <p:cNvGrpSpPr/>
          <p:nvPr/>
        </p:nvGrpSpPr>
        <p:grpSpPr>
          <a:xfrm>
            <a:off x="6083788" y="2859829"/>
            <a:ext cx="196318" cy="233326"/>
            <a:chOff x="4694559" y="3038685"/>
            <a:chExt cx="144000" cy="156347"/>
          </a:xfrm>
        </p:grpSpPr>
        <p:sp>
          <p:nvSpPr>
            <p:cNvPr id="185" name="Oval 624">
              <a:extLst>
                <a:ext uri="{FF2B5EF4-FFF2-40B4-BE49-F238E27FC236}">
                  <a16:creationId xmlns:a16="http://schemas.microsoft.com/office/drawing/2014/main" id="{49224B47-FA7E-4123-A244-D8A791A65A5B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186" name="Arc 625">
              <a:extLst>
                <a:ext uri="{FF2B5EF4-FFF2-40B4-BE49-F238E27FC236}">
                  <a16:creationId xmlns:a16="http://schemas.microsoft.com/office/drawing/2014/main" id="{C2B146AE-7E5E-4E5F-A011-47CAF821E504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193" name="Rechteck 192">
            <a:extLst>
              <a:ext uri="{FF2B5EF4-FFF2-40B4-BE49-F238E27FC236}">
                <a16:creationId xmlns:a16="http://schemas.microsoft.com/office/drawing/2014/main" id="{F8BC9222-908A-4C51-9822-289473914EB3}"/>
              </a:ext>
            </a:extLst>
          </p:cNvPr>
          <p:cNvSpPr/>
          <p:nvPr/>
        </p:nvSpPr>
        <p:spPr bwMode="auto">
          <a:xfrm rot="16200000">
            <a:off x="-1340842" y="3355254"/>
            <a:ext cx="3526146" cy="365763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72000" rIns="0" bIns="36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0" hangingPunct="0">
              <a:lnSpc>
                <a:spcPts val="1200"/>
              </a:lnSpc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cap="small" dirty="0" err="1">
                <a:solidFill>
                  <a:schemeClr val="accent1"/>
                </a:solidFill>
              </a:rPr>
              <a:t>Influence</a:t>
            </a:r>
            <a:r>
              <a:rPr lang="de-DE" cap="small" dirty="0">
                <a:solidFill>
                  <a:schemeClr val="accent1"/>
                </a:solidFill>
              </a:rPr>
              <a:t> </a:t>
            </a:r>
            <a:r>
              <a:rPr lang="de-DE" cap="small" dirty="0" err="1">
                <a:solidFill>
                  <a:schemeClr val="accent1"/>
                </a:solidFill>
              </a:rPr>
              <a:t>factors</a:t>
            </a:r>
            <a:endParaRPr lang="de-DE" cap="small" dirty="0">
              <a:solidFill>
                <a:schemeClr val="accent1"/>
              </a:solidFill>
            </a:endParaRPr>
          </a:p>
        </p:txBody>
      </p:sp>
      <p:sp>
        <p:nvSpPr>
          <p:cNvPr id="194" name="Rectangle 13">
            <a:extLst>
              <a:ext uri="{FF2B5EF4-FFF2-40B4-BE49-F238E27FC236}">
                <a16:creationId xmlns:a16="http://schemas.microsoft.com/office/drawing/2014/main" id="{4101007E-E3FD-4EB0-8B27-323D4B0A9167}"/>
              </a:ext>
            </a:extLst>
          </p:cNvPr>
          <p:cNvSpPr/>
          <p:nvPr/>
        </p:nvSpPr>
        <p:spPr bwMode="auto">
          <a:xfrm>
            <a:off x="682485" y="3579758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 err="1"/>
              <a:t>Macroeconomic</a:t>
            </a:r>
            <a:r>
              <a:rPr lang="de-DE" sz="1200" cap="small" dirty="0"/>
              <a:t> </a:t>
            </a:r>
            <a:r>
              <a:rPr lang="de-DE" sz="1200" cap="small" dirty="0" err="1"/>
              <a:t>issues</a:t>
            </a:r>
            <a:endParaRPr lang="de-DE" sz="1200" cap="small" dirty="0"/>
          </a:p>
        </p:txBody>
      </p:sp>
      <p:sp>
        <p:nvSpPr>
          <p:cNvPr id="195" name="Rectangle 14">
            <a:extLst>
              <a:ext uri="{FF2B5EF4-FFF2-40B4-BE49-F238E27FC236}">
                <a16:creationId xmlns:a16="http://schemas.microsoft.com/office/drawing/2014/main" id="{39150C99-914A-4441-A713-F74C3E83101E}"/>
              </a:ext>
            </a:extLst>
          </p:cNvPr>
          <p:cNvSpPr/>
          <p:nvPr/>
        </p:nvSpPr>
        <p:spPr bwMode="auto">
          <a:xfrm>
            <a:off x="685808" y="2834382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en-US" sz="1200" cap="small" dirty="0"/>
              <a:t>Influence of intermediates</a:t>
            </a:r>
          </a:p>
        </p:txBody>
      </p:sp>
      <p:sp>
        <p:nvSpPr>
          <p:cNvPr id="196" name="Rectangle 15">
            <a:extLst>
              <a:ext uri="{FF2B5EF4-FFF2-40B4-BE49-F238E27FC236}">
                <a16:creationId xmlns:a16="http://schemas.microsoft.com/office/drawing/2014/main" id="{A55B1E60-9378-4F46-BC70-CF9E82C3930A}"/>
              </a:ext>
            </a:extLst>
          </p:cNvPr>
          <p:cNvSpPr/>
          <p:nvPr/>
        </p:nvSpPr>
        <p:spPr bwMode="auto">
          <a:xfrm>
            <a:off x="679862" y="3194851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en-US" sz="1200" cap="small" dirty="0"/>
              <a:t>New competition between  OES and IAM</a:t>
            </a:r>
          </a:p>
        </p:txBody>
      </p:sp>
      <p:sp>
        <p:nvSpPr>
          <p:cNvPr id="197" name="Rectangle 16">
            <a:extLst>
              <a:ext uri="{FF2B5EF4-FFF2-40B4-BE49-F238E27FC236}">
                <a16:creationId xmlns:a16="http://schemas.microsoft.com/office/drawing/2014/main" id="{D0E080D3-8E97-4F33-B431-B6A3623F1B1A}"/>
              </a:ext>
            </a:extLst>
          </p:cNvPr>
          <p:cNvSpPr/>
          <p:nvPr/>
        </p:nvSpPr>
        <p:spPr bwMode="auto">
          <a:xfrm>
            <a:off x="682485" y="4644864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 err="1"/>
              <a:t>Predictive</a:t>
            </a:r>
            <a:r>
              <a:rPr lang="de-DE" sz="1200" cap="small" dirty="0"/>
              <a:t> </a:t>
            </a:r>
            <a:r>
              <a:rPr lang="de-DE" sz="1200" cap="small" dirty="0" err="1"/>
              <a:t>maintenance</a:t>
            </a:r>
            <a:endParaRPr lang="de-DE" sz="1200" cap="small" dirty="0"/>
          </a:p>
        </p:txBody>
      </p:sp>
      <p:sp>
        <p:nvSpPr>
          <p:cNvPr id="203" name="Rectangle 36">
            <a:extLst>
              <a:ext uri="{FF2B5EF4-FFF2-40B4-BE49-F238E27FC236}">
                <a16:creationId xmlns:a16="http://schemas.microsoft.com/office/drawing/2014/main" id="{46C4B59C-18C7-448A-A871-0665605B279E}"/>
              </a:ext>
            </a:extLst>
          </p:cNvPr>
          <p:cNvSpPr/>
          <p:nvPr/>
        </p:nvSpPr>
        <p:spPr bwMode="auto">
          <a:xfrm>
            <a:off x="5540152" y="357998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04" name="Rectangle 51">
            <a:extLst>
              <a:ext uri="{FF2B5EF4-FFF2-40B4-BE49-F238E27FC236}">
                <a16:creationId xmlns:a16="http://schemas.microsoft.com/office/drawing/2014/main" id="{C4A2F5B0-F171-46AA-9681-2DC254BFD7C9}"/>
              </a:ext>
            </a:extLst>
          </p:cNvPr>
          <p:cNvSpPr/>
          <p:nvPr/>
        </p:nvSpPr>
        <p:spPr bwMode="auto">
          <a:xfrm>
            <a:off x="5540152" y="429005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05" name="Rectangle 56">
            <a:extLst>
              <a:ext uri="{FF2B5EF4-FFF2-40B4-BE49-F238E27FC236}">
                <a16:creationId xmlns:a16="http://schemas.microsoft.com/office/drawing/2014/main" id="{4EF2E200-2FD0-4521-9843-20D73FB76D87}"/>
              </a:ext>
            </a:extLst>
          </p:cNvPr>
          <p:cNvSpPr/>
          <p:nvPr/>
        </p:nvSpPr>
        <p:spPr bwMode="auto">
          <a:xfrm>
            <a:off x="5540152" y="3935018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06" name="Rectangle 111">
            <a:extLst>
              <a:ext uri="{FF2B5EF4-FFF2-40B4-BE49-F238E27FC236}">
                <a16:creationId xmlns:a16="http://schemas.microsoft.com/office/drawing/2014/main" id="{0DB89D02-CE5D-45CB-BEDF-2BEA0C4A1DE5}"/>
              </a:ext>
            </a:extLst>
          </p:cNvPr>
          <p:cNvSpPr/>
          <p:nvPr/>
        </p:nvSpPr>
        <p:spPr bwMode="auto">
          <a:xfrm>
            <a:off x="5540152" y="4645089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07" name="Rectangle 121">
            <a:extLst>
              <a:ext uri="{FF2B5EF4-FFF2-40B4-BE49-F238E27FC236}">
                <a16:creationId xmlns:a16="http://schemas.microsoft.com/office/drawing/2014/main" id="{72268035-5F8D-40F2-85EA-46C517D32DAD}"/>
              </a:ext>
            </a:extLst>
          </p:cNvPr>
          <p:cNvSpPr/>
          <p:nvPr/>
        </p:nvSpPr>
        <p:spPr bwMode="auto">
          <a:xfrm>
            <a:off x="5540152" y="500012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grpSp>
        <p:nvGrpSpPr>
          <p:cNvPr id="210" name="Group 311">
            <a:extLst>
              <a:ext uri="{FF2B5EF4-FFF2-40B4-BE49-F238E27FC236}">
                <a16:creationId xmlns:a16="http://schemas.microsoft.com/office/drawing/2014/main" id="{121AEAA5-C0D4-45D8-825D-615CE9CCB929}"/>
              </a:ext>
            </a:extLst>
          </p:cNvPr>
          <p:cNvGrpSpPr/>
          <p:nvPr/>
        </p:nvGrpSpPr>
        <p:grpSpPr>
          <a:xfrm>
            <a:off x="6083789" y="4323821"/>
            <a:ext cx="196318" cy="233326"/>
            <a:chOff x="4922092" y="1979110"/>
            <a:chExt cx="144000" cy="156347"/>
          </a:xfrm>
        </p:grpSpPr>
        <p:sp>
          <p:nvSpPr>
            <p:cNvPr id="280" name="Oval 312">
              <a:extLst>
                <a:ext uri="{FF2B5EF4-FFF2-40B4-BE49-F238E27FC236}">
                  <a16:creationId xmlns:a16="http://schemas.microsoft.com/office/drawing/2014/main" id="{7AEF414E-3185-4584-B9B6-45F33C41533C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81" name="Arc 313">
              <a:extLst>
                <a:ext uri="{FF2B5EF4-FFF2-40B4-BE49-F238E27FC236}">
                  <a16:creationId xmlns:a16="http://schemas.microsoft.com/office/drawing/2014/main" id="{F9FE43FB-8BFA-438F-9794-94CCCFF3D7AF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213" name="Rectangle 337">
            <a:extLst>
              <a:ext uri="{FF2B5EF4-FFF2-40B4-BE49-F238E27FC236}">
                <a16:creationId xmlns:a16="http://schemas.microsoft.com/office/drawing/2014/main" id="{3C0DC4C1-313F-4866-A260-9DC98AC62C45}"/>
              </a:ext>
            </a:extLst>
          </p:cNvPr>
          <p:cNvSpPr/>
          <p:nvPr/>
        </p:nvSpPr>
        <p:spPr bwMode="auto">
          <a:xfrm>
            <a:off x="6916285" y="357998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14" name="Rectangle 338">
            <a:extLst>
              <a:ext uri="{FF2B5EF4-FFF2-40B4-BE49-F238E27FC236}">
                <a16:creationId xmlns:a16="http://schemas.microsoft.com/office/drawing/2014/main" id="{C3A968E0-3C86-43EC-806C-B5B5B9D44A65}"/>
              </a:ext>
            </a:extLst>
          </p:cNvPr>
          <p:cNvSpPr/>
          <p:nvPr/>
        </p:nvSpPr>
        <p:spPr bwMode="auto">
          <a:xfrm>
            <a:off x="6916285" y="429005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15" name="Rectangle 339">
            <a:extLst>
              <a:ext uri="{FF2B5EF4-FFF2-40B4-BE49-F238E27FC236}">
                <a16:creationId xmlns:a16="http://schemas.microsoft.com/office/drawing/2014/main" id="{A5662256-67E0-427E-B181-C7D2337EB7FD}"/>
              </a:ext>
            </a:extLst>
          </p:cNvPr>
          <p:cNvSpPr/>
          <p:nvPr/>
        </p:nvSpPr>
        <p:spPr bwMode="auto">
          <a:xfrm>
            <a:off x="6916285" y="3935018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16" name="Rectangle 350">
            <a:extLst>
              <a:ext uri="{FF2B5EF4-FFF2-40B4-BE49-F238E27FC236}">
                <a16:creationId xmlns:a16="http://schemas.microsoft.com/office/drawing/2014/main" id="{2912FE30-CECB-47AF-9B99-9EBFEBA5E7D4}"/>
              </a:ext>
            </a:extLst>
          </p:cNvPr>
          <p:cNvSpPr/>
          <p:nvPr/>
        </p:nvSpPr>
        <p:spPr bwMode="auto">
          <a:xfrm>
            <a:off x="6916285" y="4645089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17" name="Rectangle 352">
            <a:extLst>
              <a:ext uri="{FF2B5EF4-FFF2-40B4-BE49-F238E27FC236}">
                <a16:creationId xmlns:a16="http://schemas.microsoft.com/office/drawing/2014/main" id="{CEA05084-D3D6-4331-946B-B6A1A697B169}"/>
              </a:ext>
            </a:extLst>
          </p:cNvPr>
          <p:cNvSpPr/>
          <p:nvPr/>
        </p:nvSpPr>
        <p:spPr bwMode="auto">
          <a:xfrm>
            <a:off x="6916285" y="500012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18" name="Oval 353">
            <a:extLst>
              <a:ext uri="{FF2B5EF4-FFF2-40B4-BE49-F238E27FC236}">
                <a16:creationId xmlns:a16="http://schemas.microsoft.com/office/drawing/2014/main" id="{02378CC5-073C-4285-811B-18271F4376D4}"/>
              </a:ext>
            </a:extLst>
          </p:cNvPr>
          <p:cNvSpPr/>
          <p:nvPr/>
        </p:nvSpPr>
        <p:spPr bwMode="auto">
          <a:xfrm>
            <a:off x="7459921" y="3613749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sp>
        <p:nvSpPr>
          <p:cNvPr id="221" name="Oval 397">
            <a:extLst>
              <a:ext uri="{FF2B5EF4-FFF2-40B4-BE49-F238E27FC236}">
                <a16:creationId xmlns:a16="http://schemas.microsoft.com/office/drawing/2014/main" id="{035368CF-ED4C-47DA-A019-DFE975E0E288}"/>
              </a:ext>
            </a:extLst>
          </p:cNvPr>
          <p:cNvSpPr/>
          <p:nvPr/>
        </p:nvSpPr>
        <p:spPr bwMode="auto">
          <a:xfrm>
            <a:off x="6083788" y="4678857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sp>
        <p:nvSpPr>
          <p:cNvPr id="222" name="Oval 398">
            <a:extLst>
              <a:ext uri="{FF2B5EF4-FFF2-40B4-BE49-F238E27FC236}">
                <a16:creationId xmlns:a16="http://schemas.microsoft.com/office/drawing/2014/main" id="{E4E76BB2-A7F8-4C76-B251-733D47DEDEE2}"/>
              </a:ext>
            </a:extLst>
          </p:cNvPr>
          <p:cNvSpPr/>
          <p:nvPr/>
        </p:nvSpPr>
        <p:spPr bwMode="auto">
          <a:xfrm>
            <a:off x="6083788" y="5026023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sp>
        <p:nvSpPr>
          <p:cNvPr id="223" name="Rectangle 426">
            <a:extLst>
              <a:ext uri="{FF2B5EF4-FFF2-40B4-BE49-F238E27FC236}">
                <a16:creationId xmlns:a16="http://schemas.microsoft.com/office/drawing/2014/main" id="{2E77768C-4188-4315-9BB2-8AD83E4481FC}"/>
              </a:ext>
            </a:extLst>
          </p:cNvPr>
          <p:cNvSpPr/>
          <p:nvPr/>
        </p:nvSpPr>
        <p:spPr bwMode="auto">
          <a:xfrm>
            <a:off x="8292415" y="357998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24" name="Rectangle 427">
            <a:extLst>
              <a:ext uri="{FF2B5EF4-FFF2-40B4-BE49-F238E27FC236}">
                <a16:creationId xmlns:a16="http://schemas.microsoft.com/office/drawing/2014/main" id="{FB183D28-A557-4BA3-A034-0DC48875955F}"/>
              </a:ext>
            </a:extLst>
          </p:cNvPr>
          <p:cNvSpPr/>
          <p:nvPr/>
        </p:nvSpPr>
        <p:spPr bwMode="auto">
          <a:xfrm>
            <a:off x="8292415" y="429005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25" name="Rectangle 428">
            <a:extLst>
              <a:ext uri="{FF2B5EF4-FFF2-40B4-BE49-F238E27FC236}">
                <a16:creationId xmlns:a16="http://schemas.microsoft.com/office/drawing/2014/main" id="{BFF64F2B-36AA-4D2E-A16D-2D20FD933E4D}"/>
              </a:ext>
            </a:extLst>
          </p:cNvPr>
          <p:cNvSpPr/>
          <p:nvPr/>
        </p:nvSpPr>
        <p:spPr bwMode="auto">
          <a:xfrm>
            <a:off x="8292415" y="3935018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26" name="Rectangle 439">
            <a:extLst>
              <a:ext uri="{FF2B5EF4-FFF2-40B4-BE49-F238E27FC236}">
                <a16:creationId xmlns:a16="http://schemas.microsoft.com/office/drawing/2014/main" id="{8F521B8C-EC16-4589-A1F5-3F73C1661EF3}"/>
              </a:ext>
            </a:extLst>
          </p:cNvPr>
          <p:cNvSpPr/>
          <p:nvPr/>
        </p:nvSpPr>
        <p:spPr bwMode="auto">
          <a:xfrm>
            <a:off x="8292415" y="4645089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27" name="Rectangle 441">
            <a:extLst>
              <a:ext uri="{FF2B5EF4-FFF2-40B4-BE49-F238E27FC236}">
                <a16:creationId xmlns:a16="http://schemas.microsoft.com/office/drawing/2014/main" id="{591E08C1-BFC2-4BAD-922D-09E1217F603C}"/>
              </a:ext>
            </a:extLst>
          </p:cNvPr>
          <p:cNvSpPr/>
          <p:nvPr/>
        </p:nvSpPr>
        <p:spPr bwMode="auto">
          <a:xfrm>
            <a:off x="8292415" y="500012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28" name="Oval 442">
            <a:extLst>
              <a:ext uri="{FF2B5EF4-FFF2-40B4-BE49-F238E27FC236}">
                <a16:creationId xmlns:a16="http://schemas.microsoft.com/office/drawing/2014/main" id="{6D3B5E2F-BC48-4E72-81A4-A395CA4B829C}"/>
              </a:ext>
            </a:extLst>
          </p:cNvPr>
          <p:cNvSpPr/>
          <p:nvPr/>
        </p:nvSpPr>
        <p:spPr bwMode="auto">
          <a:xfrm>
            <a:off x="8836052" y="3613749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sp>
        <p:nvSpPr>
          <p:cNvPr id="233" name="Rectangle 490">
            <a:extLst>
              <a:ext uri="{FF2B5EF4-FFF2-40B4-BE49-F238E27FC236}">
                <a16:creationId xmlns:a16="http://schemas.microsoft.com/office/drawing/2014/main" id="{868E5C32-0AA0-40A0-908A-8C72F21B8AF2}"/>
              </a:ext>
            </a:extLst>
          </p:cNvPr>
          <p:cNvSpPr/>
          <p:nvPr/>
        </p:nvSpPr>
        <p:spPr bwMode="auto">
          <a:xfrm>
            <a:off x="9668546" y="3579983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34" name="Rectangle 491">
            <a:extLst>
              <a:ext uri="{FF2B5EF4-FFF2-40B4-BE49-F238E27FC236}">
                <a16:creationId xmlns:a16="http://schemas.microsoft.com/office/drawing/2014/main" id="{93AF6CC1-8DDD-4C69-883F-BB3261A6521E}"/>
              </a:ext>
            </a:extLst>
          </p:cNvPr>
          <p:cNvSpPr/>
          <p:nvPr/>
        </p:nvSpPr>
        <p:spPr bwMode="auto">
          <a:xfrm>
            <a:off x="9668546" y="429005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35" name="Rectangle 492">
            <a:extLst>
              <a:ext uri="{FF2B5EF4-FFF2-40B4-BE49-F238E27FC236}">
                <a16:creationId xmlns:a16="http://schemas.microsoft.com/office/drawing/2014/main" id="{7A352FD8-06EB-4375-A621-2908A143A53F}"/>
              </a:ext>
            </a:extLst>
          </p:cNvPr>
          <p:cNvSpPr/>
          <p:nvPr/>
        </p:nvSpPr>
        <p:spPr bwMode="auto">
          <a:xfrm>
            <a:off x="9668546" y="3935018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36" name="Rectangle 503">
            <a:extLst>
              <a:ext uri="{FF2B5EF4-FFF2-40B4-BE49-F238E27FC236}">
                <a16:creationId xmlns:a16="http://schemas.microsoft.com/office/drawing/2014/main" id="{7692F36B-8E99-49AF-BE75-32DAEF1FB459}"/>
              </a:ext>
            </a:extLst>
          </p:cNvPr>
          <p:cNvSpPr/>
          <p:nvPr/>
        </p:nvSpPr>
        <p:spPr bwMode="auto">
          <a:xfrm>
            <a:off x="9668546" y="4645089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sp>
        <p:nvSpPr>
          <p:cNvPr id="237" name="Rectangle 504">
            <a:extLst>
              <a:ext uri="{FF2B5EF4-FFF2-40B4-BE49-F238E27FC236}">
                <a16:creationId xmlns:a16="http://schemas.microsoft.com/office/drawing/2014/main" id="{4030E06E-7526-4CF4-97E2-EE82A3F2C44F}"/>
              </a:ext>
            </a:extLst>
          </p:cNvPr>
          <p:cNvSpPr/>
          <p:nvPr/>
        </p:nvSpPr>
        <p:spPr bwMode="auto">
          <a:xfrm>
            <a:off x="9668546" y="5000124"/>
            <a:ext cx="1283590" cy="30086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sz="1200" cap="small" dirty="0">
              <a:solidFill>
                <a:schemeClr val="bg1"/>
              </a:solidFill>
            </a:endParaRPr>
          </a:p>
        </p:txBody>
      </p:sp>
      <p:grpSp>
        <p:nvGrpSpPr>
          <p:cNvPr id="238" name="Group 528">
            <a:extLst>
              <a:ext uri="{FF2B5EF4-FFF2-40B4-BE49-F238E27FC236}">
                <a16:creationId xmlns:a16="http://schemas.microsoft.com/office/drawing/2014/main" id="{6791C291-1091-4751-9E93-93650294B354}"/>
              </a:ext>
            </a:extLst>
          </p:cNvPr>
          <p:cNvGrpSpPr/>
          <p:nvPr/>
        </p:nvGrpSpPr>
        <p:grpSpPr>
          <a:xfrm>
            <a:off x="10212182" y="4678857"/>
            <a:ext cx="196318" cy="233326"/>
            <a:chOff x="4922092" y="1979110"/>
            <a:chExt cx="144000" cy="156347"/>
          </a:xfrm>
        </p:grpSpPr>
        <p:sp>
          <p:nvSpPr>
            <p:cNvPr id="266" name="Oval 529">
              <a:extLst>
                <a:ext uri="{FF2B5EF4-FFF2-40B4-BE49-F238E27FC236}">
                  <a16:creationId xmlns:a16="http://schemas.microsoft.com/office/drawing/2014/main" id="{2823132C-1703-4C7C-A938-F95A0D4DC4A8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67" name="Arc 530">
              <a:extLst>
                <a:ext uri="{FF2B5EF4-FFF2-40B4-BE49-F238E27FC236}">
                  <a16:creationId xmlns:a16="http://schemas.microsoft.com/office/drawing/2014/main" id="{17B88D15-FD56-4424-80D2-69AD77ABA482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9" name="Group 552">
            <a:extLst>
              <a:ext uri="{FF2B5EF4-FFF2-40B4-BE49-F238E27FC236}">
                <a16:creationId xmlns:a16="http://schemas.microsoft.com/office/drawing/2014/main" id="{348D3ED5-1F33-4121-BEC4-1866AF9669BA}"/>
              </a:ext>
            </a:extLst>
          </p:cNvPr>
          <p:cNvGrpSpPr/>
          <p:nvPr/>
        </p:nvGrpSpPr>
        <p:grpSpPr>
          <a:xfrm>
            <a:off x="10212182" y="3613749"/>
            <a:ext cx="196318" cy="233326"/>
            <a:chOff x="4694559" y="3038685"/>
            <a:chExt cx="144000" cy="156347"/>
          </a:xfrm>
        </p:grpSpPr>
        <p:sp>
          <p:nvSpPr>
            <p:cNvPr id="264" name="Oval 553">
              <a:extLst>
                <a:ext uri="{FF2B5EF4-FFF2-40B4-BE49-F238E27FC236}">
                  <a16:creationId xmlns:a16="http://schemas.microsoft.com/office/drawing/2014/main" id="{892FC573-0624-46A5-913A-A0358487F641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65" name="Arc 554">
              <a:extLst>
                <a:ext uri="{FF2B5EF4-FFF2-40B4-BE49-F238E27FC236}">
                  <a16:creationId xmlns:a16="http://schemas.microsoft.com/office/drawing/2014/main" id="{71059C56-CF7E-4FDC-B3F9-9349217E9A4C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3" name="Group 588">
            <a:extLst>
              <a:ext uri="{FF2B5EF4-FFF2-40B4-BE49-F238E27FC236}">
                <a16:creationId xmlns:a16="http://schemas.microsoft.com/office/drawing/2014/main" id="{4E5BD3B0-CA29-491B-BDA7-7D353A181157}"/>
              </a:ext>
            </a:extLst>
          </p:cNvPr>
          <p:cNvGrpSpPr/>
          <p:nvPr/>
        </p:nvGrpSpPr>
        <p:grpSpPr>
          <a:xfrm>
            <a:off x="10212182" y="3221820"/>
            <a:ext cx="196318" cy="233326"/>
            <a:chOff x="4922092" y="1979110"/>
            <a:chExt cx="144000" cy="156347"/>
          </a:xfrm>
        </p:grpSpPr>
        <p:sp>
          <p:nvSpPr>
            <p:cNvPr id="256" name="Oval 589">
              <a:extLst>
                <a:ext uri="{FF2B5EF4-FFF2-40B4-BE49-F238E27FC236}">
                  <a16:creationId xmlns:a16="http://schemas.microsoft.com/office/drawing/2014/main" id="{DFA5C3A5-DFE2-4B39-976D-5A83BF64D723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57" name="Arc 590">
              <a:extLst>
                <a:ext uri="{FF2B5EF4-FFF2-40B4-BE49-F238E27FC236}">
                  <a16:creationId xmlns:a16="http://schemas.microsoft.com/office/drawing/2014/main" id="{4CD5B5B7-8F95-4E2F-8559-F01FFC87EDF3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44" name="Group 608">
            <a:extLst>
              <a:ext uri="{FF2B5EF4-FFF2-40B4-BE49-F238E27FC236}">
                <a16:creationId xmlns:a16="http://schemas.microsoft.com/office/drawing/2014/main" id="{E8F9E453-6324-46B1-873B-386C545D7452}"/>
              </a:ext>
            </a:extLst>
          </p:cNvPr>
          <p:cNvGrpSpPr/>
          <p:nvPr/>
        </p:nvGrpSpPr>
        <p:grpSpPr>
          <a:xfrm>
            <a:off x="6083788" y="3221821"/>
            <a:ext cx="196318" cy="233326"/>
            <a:chOff x="4694559" y="3038685"/>
            <a:chExt cx="144000" cy="156347"/>
          </a:xfrm>
        </p:grpSpPr>
        <p:sp>
          <p:nvSpPr>
            <p:cNvPr id="254" name="Oval 609">
              <a:extLst>
                <a:ext uri="{FF2B5EF4-FFF2-40B4-BE49-F238E27FC236}">
                  <a16:creationId xmlns:a16="http://schemas.microsoft.com/office/drawing/2014/main" id="{40E6E449-1BFE-4AC2-9E73-66263D07E369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55" name="Arc 610">
              <a:extLst>
                <a:ext uri="{FF2B5EF4-FFF2-40B4-BE49-F238E27FC236}">
                  <a16:creationId xmlns:a16="http://schemas.microsoft.com/office/drawing/2014/main" id="{649875AE-C351-4CC7-801F-07190D486BC9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284" name="Rectangle 13">
            <a:extLst>
              <a:ext uri="{FF2B5EF4-FFF2-40B4-BE49-F238E27FC236}">
                <a16:creationId xmlns:a16="http://schemas.microsoft.com/office/drawing/2014/main" id="{DA23CA0F-B1A5-44BC-BAAE-04537C4E71BD}"/>
              </a:ext>
            </a:extLst>
          </p:cNvPr>
          <p:cNvSpPr/>
          <p:nvPr/>
        </p:nvSpPr>
        <p:spPr bwMode="auto">
          <a:xfrm>
            <a:off x="679861" y="5005261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/>
              <a:t>New Business Models</a:t>
            </a:r>
          </a:p>
        </p:txBody>
      </p:sp>
      <p:grpSp>
        <p:nvGrpSpPr>
          <p:cNvPr id="286" name="Group 552">
            <a:extLst>
              <a:ext uri="{FF2B5EF4-FFF2-40B4-BE49-F238E27FC236}">
                <a16:creationId xmlns:a16="http://schemas.microsoft.com/office/drawing/2014/main" id="{65BC111F-74CC-4634-B3EC-EC8CA7218DD0}"/>
              </a:ext>
            </a:extLst>
          </p:cNvPr>
          <p:cNvGrpSpPr/>
          <p:nvPr/>
        </p:nvGrpSpPr>
        <p:grpSpPr>
          <a:xfrm>
            <a:off x="7464152" y="1808525"/>
            <a:ext cx="196318" cy="233326"/>
            <a:chOff x="4694559" y="3038685"/>
            <a:chExt cx="144000" cy="156347"/>
          </a:xfrm>
        </p:grpSpPr>
        <p:sp>
          <p:nvSpPr>
            <p:cNvPr id="287" name="Oval 553">
              <a:extLst>
                <a:ext uri="{FF2B5EF4-FFF2-40B4-BE49-F238E27FC236}">
                  <a16:creationId xmlns:a16="http://schemas.microsoft.com/office/drawing/2014/main" id="{C891D72C-B5ED-4911-A3C0-95DA5FD93501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88" name="Arc 554">
              <a:extLst>
                <a:ext uri="{FF2B5EF4-FFF2-40B4-BE49-F238E27FC236}">
                  <a16:creationId xmlns:a16="http://schemas.microsoft.com/office/drawing/2014/main" id="{E28C01F0-4062-44F3-92C9-793F5A10B535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289" name="Oval 452">
            <a:extLst>
              <a:ext uri="{FF2B5EF4-FFF2-40B4-BE49-F238E27FC236}">
                <a16:creationId xmlns:a16="http://schemas.microsoft.com/office/drawing/2014/main" id="{80E70148-3471-48C8-9094-80941475A33E}"/>
              </a:ext>
            </a:extLst>
          </p:cNvPr>
          <p:cNvSpPr/>
          <p:nvPr/>
        </p:nvSpPr>
        <p:spPr bwMode="auto">
          <a:xfrm>
            <a:off x="6083788" y="2523323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grpSp>
        <p:nvGrpSpPr>
          <p:cNvPr id="290" name="Group 617">
            <a:extLst>
              <a:ext uri="{FF2B5EF4-FFF2-40B4-BE49-F238E27FC236}">
                <a16:creationId xmlns:a16="http://schemas.microsoft.com/office/drawing/2014/main" id="{37992DFF-4C59-4BC1-B076-17A0ED86527E}"/>
              </a:ext>
            </a:extLst>
          </p:cNvPr>
          <p:cNvGrpSpPr/>
          <p:nvPr/>
        </p:nvGrpSpPr>
        <p:grpSpPr>
          <a:xfrm>
            <a:off x="7459919" y="2166848"/>
            <a:ext cx="196318" cy="233326"/>
            <a:chOff x="4694559" y="3324155"/>
            <a:chExt cx="144000" cy="156347"/>
          </a:xfrm>
        </p:grpSpPr>
        <p:sp>
          <p:nvSpPr>
            <p:cNvPr id="291" name="Oval 618">
              <a:extLst>
                <a:ext uri="{FF2B5EF4-FFF2-40B4-BE49-F238E27FC236}">
                  <a16:creationId xmlns:a16="http://schemas.microsoft.com/office/drawing/2014/main" id="{E988EE8E-1B39-49DA-B901-12F51BAD2742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92" name="Arc 619">
              <a:extLst>
                <a:ext uri="{FF2B5EF4-FFF2-40B4-BE49-F238E27FC236}">
                  <a16:creationId xmlns:a16="http://schemas.microsoft.com/office/drawing/2014/main" id="{FBA0E420-F622-4F8B-B364-F9EB34651B82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3" name="Group 617">
            <a:extLst>
              <a:ext uri="{FF2B5EF4-FFF2-40B4-BE49-F238E27FC236}">
                <a16:creationId xmlns:a16="http://schemas.microsoft.com/office/drawing/2014/main" id="{768E07EE-E70A-470D-A668-C258BA526B21}"/>
              </a:ext>
            </a:extLst>
          </p:cNvPr>
          <p:cNvGrpSpPr/>
          <p:nvPr/>
        </p:nvGrpSpPr>
        <p:grpSpPr>
          <a:xfrm>
            <a:off x="7459919" y="2878654"/>
            <a:ext cx="196318" cy="233326"/>
            <a:chOff x="4694559" y="3324155"/>
            <a:chExt cx="144000" cy="156347"/>
          </a:xfrm>
        </p:grpSpPr>
        <p:sp>
          <p:nvSpPr>
            <p:cNvPr id="294" name="Oval 618">
              <a:extLst>
                <a:ext uri="{FF2B5EF4-FFF2-40B4-BE49-F238E27FC236}">
                  <a16:creationId xmlns:a16="http://schemas.microsoft.com/office/drawing/2014/main" id="{B57713B3-5B85-4BA0-B8ED-35E022E640AF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95" name="Arc 619">
              <a:extLst>
                <a:ext uri="{FF2B5EF4-FFF2-40B4-BE49-F238E27FC236}">
                  <a16:creationId xmlns:a16="http://schemas.microsoft.com/office/drawing/2014/main" id="{BC859667-5FE7-4D4A-9FA7-0BD257D5BF3D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6" name="Group 528">
            <a:extLst>
              <a:ext uri="{FF2B5EF4-FFF2-40B4-BE49-F238E27FC236}">
                <a16:creationId xmlns:a16="http://schemas.microsoft.com/office/drawing/2014/main" id="{0EB03EB2-7A07-4505-8585-B00CE2304579}"/>
              </a:ext>
            </a:extLst>
          </p:cNvPr>
          <p:cNvGrpSpPr/>
          <p:nvPr/>
        </p:nvGrpSpPr>
        <p:grpSpPr>
          <a:xfrm>
            <a:off x="8831062" y="2869912"/>
            <a:ext cx="196318" cy="233326"/>
            <a:chOff x="4922092" y="1979110"/>
            <a:chExt cx="144000" cy="156347"/>
          </a:xfrm>
        </p:grpSpPr>
        <p:sp>
          <p:nvSpPr>
            <p:cNvPr id="297" name="Oval 529">
              <a:extLst>
                <a:ext uri="{FF2B5EF4-FFF2-40B4-BE49-F238E27FC236}">
                  <a16:creationId xmlns:a16="http://schemas.microsoft.com/office/drawing/2014/main" id="{77AB49C9-31D8-430E-B72A-5541653FB107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298" name="Arc 530">
              <a:extLst>
                <a:ext uri="{FF2B5EF4-FFF2-40B4-BE49-F238E27FC236}">
                  <a16:creationId xmlns:a16="http://schemas.microsoft.com/office/drawing/2014/main" id="{AAB54313-9681-4747-80AD-1652FE8CC24C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9" name="Group 561">
            <a:extLst>
              <a:ext uri="{FF2B5EF4-FFF2-40B4-BE49-F238E27FC236}">
                <a16:creationId xmlns:a16="http://schemas.microsoft.com/office/drawing/2014/main" id="{4F989758-F0B8-4823-9DDB-953468308968}"/>
              </a:ext>
            </a:extLst>
          </p:cNvPr>
          <p:cNvGrpSpPr/>
          <p:nvPr/>
        </p:nvGrpSpPr>
        <p:grpSpPr>
          <a:xfrm>
            <a:off x="7459919" y="3236177"/>
            <a:ext cx="196318" cy="233326"/>
            <a:chOff x="4694559" y="3324155"/>
            <a:chExt cx="144000" cy="156347"/>
          </a:xfrm>
        </p:grpSpPr>
        <p:sp>
          <p:nvSpPr>
            <p:cNvPr id="300" name="Oval 562">
              <a:extLst>
                <a:ext uri="{FF2B5EF4-FFF2-40B4-BE49-F238E27FC236}">
                  <a16:creationId xmlns:a16="http://schemas.microsoft.com/office/drawing/2014/main" id="{A70E7811-F43E-41A5-8AC9-E78FA2DB4384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01" name="Arc 563">
              <a:extLst>
                <a:ext uri="{FF2B5EF4-FFF2-40B4-BE49-F238E27FC236}">
                  <a16:creationId xmlns:a16="http://schemas.microsoft.com/office/drawing/2014/main" id="{A9AAAB2D-D90E-4CFE-8A23-641F41533966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2" name="Group 561">
            <a:extLst>
              <a:ext uri="{FF2B5EF4-FFF2-40B4-BE49-F238E27FC236}">
                <a16:creationId xmlns:a16="http://schemas.microsoft.com/office/drawing/2014/main" id="{30151371-CD37-45F3-AD58-DF3D06E34DBD}"/>
              </a:ext>
            </a:extLst>
          </p:cNvPr>
          <p:cNvGrpSpPr/>
          <p:nvPr/>
        </p:nvGrpSpPr>
        <p:grpSpPr>
          <a:xfrm>
            <a:off x="8831062" y="3224947"/>
            <a:ext cx="196318" cy="233326"/>
            <a:chOff x="4694559" y="3324155"/>
            <a:chExt cx="144000" cy="156347"/>
          </a:xfrm>
        </p:grpSpPr>
        <p:sp>
          <p:nvSpPr>
            <p:cNvPr id="303" name="Oval 562">
              <a:extLst>
                <a:ext uri="{FF2B5EF4-FFF2-40B4-BE49-F238E27FC236}">
                  <a16:creationId xmlns:a16="http://schemas.microsoft.com/office/drawing/2014/main" id="{B30B42B1-1EF8-492A-8AB9-5DD4960BF2B9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04" name="Arc 563">
              <a:extLst>
                <a:ext uri="{FF2B5EF4-FFF2-40B4-BE49-F238E27FC236}">
                  <a16:creationId xmlns:a16="http://schemas.microsoft.com/office/drawing/2014/main" id="{F956B2EA-786A-4703-9DA0-8D8900C15978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5" name="Group 588">
            <a:extLst>
              <a:ext uri="{FF2B5EF4-FFF2-40B4-BE49-F238E27FC236}">
                <a16:creationId xmlns:a16="http://schemas.microsoft.com/office/drawing/2014/main" id="{53398F52-F15C-4131-B8D0-B661E0DD174F}"/>
              </a:ext>
            </a:extLst>
          </p:cNvPr>
          <p:cNvGrpSpPr/>
          <p:nvPr/>
        </p:nvGrpSpPr>
        <p:grpSpPr>
          <a:xfrm>
            <a:off x="6083788" y="3605372"/>
            <a:ext cx="196318" cy="233326"/>
            <a:chOff x="4922092" y="1979110"/>
            <a:chExt cx="144000" cy="156347"/>
          </a:xfrm>
        </p:grpSpPr>
        <p:sp>
          <p:nvSpPr>
            <p:cNvPr id="306" name="Oval 589">
              <a:extLst>
                <a:ext uri="{FF2B5EF4-FFF2-40B4-BE49-F238E27FC236}">
                  <a16:creationId xmlns:a16="http://schemas.microsoft.com/office/drawing/2014/main" id="{D5081F7D-C9A6-484F-A3B5-5443F01547E0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07" name="Arc 590">
              <a:extLst>
                <a:ext uri="{FF2B5EF4-FFF2-40B4-BE49-F238E27FC236}">
                  <a16:creationId xmlns:a16="http://schemas.microsoft.com/office/drawing/2014/main" id="{3BB1CE9E-2E3F-40D2-BA49-E98A8533F23A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08" name="Group 310">
            <a:extLst>
              <a:ext uri="{FF2B5EF4-FFF2-40B4-BE49-F238E27FC236}">
                <a16:creationId xmlns:a16="http://schemas.microsoft.com/office/drawing/2014/main" id="{C37A1906-809A-49CB-B7BF-74938139E044}"/>
              </a:ext>
            </a:extLst>
          </p:cNvPr>
          <p:cNvGrpSpPr/>
          <p:nvPr/>
        </p:nvGrpSpPr>
        <p:grpSpPr>
          <a:xfrm>
            <a:off x="8829347" y="3961272"/>
            <a:ext cx="196318" cy="233326"/>
            <a:chOff x="4922092" y="1979110"/>
            <a:chExt cx="144000" cy="156347"/>
          </a:xfrm>
        </p:grpSpPr>
        <p:sp>
          <p:nvSpPr>
            <p:cNvPr id="309" name="Oval 127">
              <a:extLst>
                <a:ext uri="{FF2B5EF4-FFF2-40B4-BE49-F238E27FC236}">
                  <a16:creationId xmlns:a16="http://schemas.microsoft.com/office/drawing/2014/main" id="{BC6B15B5-AB68-4404-9F03-EA82ABB206D8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10" name="Arc 128">
              <a:extLst>
                <a:ext uri="{FF2B5EF4-FFF2-40B4-BE49-F238E27FC236}">
                  <a16:creationId xmlns:a16="http://schemas.microsoft.com/office/drawing/2014/main" id="{4D1451A1-D20A-49D9-BA88-7DE05DF5060D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1" name="Group 310">
            <a:extLst>
              <a:ext uri="{FF2B5EF4-FFF2-40B4-BE49-F238E27FC236}">
                <a16:creationId xmlns:a16="http://schemas.microsoft.com/office/drawing/2014/main" id="{1781ABF8-E1BC-4B28-AFF0-611963BB95C9}"/>
              </a:ext>
            </a:extLst>
          </p:cNvPr>
          <p:cNvGrpSpPr/>
          <p:nvPr/>
        </p:nvGrpSpPr>
        <p:grpSpPr>
          <a:xfrm>
            <a:off x="7459919" y="3961272"/>
            <a:ext cx="196318" cy="233326"/>
            <a:chOff x="4922092" y="1979110"/>
            <a:chExt cx="144000" cy="156347"/>
          </a:xfrm>
        </p:grpSpPr>
        <p:sp>
          <p:nvSpPr>
            <p:cNvPr id="312" name="Oval 127">
              <a:extLst>
                <a:ext uri="{FF2B5EF4-FFF2-40B4-BE49-F238E27FC236}">
                  <a16:creationId xmlns:a16="http://schemas.microsoft.com/office/drawing/2014/main" id="{DA65C8AD-131C-490D-9C93-1EEDE14A772C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13" name="Arc 128">
              <a:extLst>
                <a:ext uri="{FF2B5EF4-FFF2-40B4-BE49-F238E27FC236}">
                  <a16:creationId xmlns:a16="http://schemas.microsoft.com/office/drawing/2014/main" id="{86E48CE6-0267-4054-B8C4-800676AEBD59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4" name="Group 310">
            <a:extLst>
              <a:ext uri="{FF2B5EF4-FFF2-40B4-BE49-F238E27FC236}">
                <a16:creationId xmlns:a16="http://schemas.microsoft.com/office/drawing/2014/main" id="{C761E1A9-F38B-4A62-A083-7727A42F5B9F}"/>
              </a:ext>
            </a:extLst>
          </p:cNvPr>
          <p:cNvGrpSpPr/>
          <p:nvPr/>
        </p:nvGrpSpPr>
        <p:grpSpPr>
          <a:xfrm>
            <a:off x="10220162" y="3961272"/>
            <a:ext cx="196318" cy="233326"/>
            <a:chOff x="4922092" y="1979110"/>
            <a:chExt cx="144000" cy="156347"/>
          </a:xfrm>
        </p:grpSpPr>
        <p:sp>
          <p:nvSpPr>
            <p:cNvPr id="315" name="Oval 127">
              <a:extLst>
                <a:ext uri="{FF2B5EF4-FFF2-40B4-BE49-F238E27FC236}">
                  <a16:creationId xmlns:a16="http://schemas.microsoft.com/office/drawing/2014/main" id="{B3607A68-D11E-4613-8B5D-1D519871A87C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16" name="Arc 128">
              <a:extLst>
                <a:ext uri="{FF2B5EF4-FFF2-40B4-BE49-F238E27FC236}">
                  <a16:creationId xmlns:a16="http://schemas.microsoft.com/office/drawing/2014/main" id="{547348D8-0123-4A3A-B600-52FF6370CBBD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17" name="Group 310">
            <a:extLst>
              <a:ext uri="{FF2B5EF4-FFF2-40B4-BE49-F238E27FC236}">
                <a16:creationId xmlns:a16="http://schemas.microsoft.com/office/drawing/2014/main" id="{457E7BBB-BBE8-4805-BB28-842DC531A974}"/>
              </a:ext>
            </a:extLst>
          </p:cNvPr>
          <p:cNvGrpSpPr/>
          <p:nvPr/>
        </p:nvGrpSpPr>
        <p:grpSpPr>
          <a:xfrm>
            <a:off x="8836051" y="4321257"/>
            <a:ext cx="196318" cy="233326"/>
            <a:chOff x="4922092" y="1979110"/>
            <a:chExt cx="144000" cy="156347"/>
          </a:xfrm>
        </p:grpSpPr>
        <p:sp>
          <p:nvSpPr>
            <p:cNvPr id="318" name="Oval 127">
              <a:extLst>
                <a:ext uri="{FF2B5EF4-FFF2-40B4-BE49-F238E27FC236}">
                  <a16:creationId xmlns:a16="http://schemas.microsoft.com/office/drawing/2014/main" id="{A052B022-B643-42FF-AD8F-499559BB3116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19" name="Arc 128">
              <a:extLst>
                <a:ext uri="{FF2B5EF4-FFF2-40B4-BE49-F238E27FC236}">
                  <a16:creationId xmlns:a16="http://schemas.microsoft.com/office/drawing/2014/main" id="{E7F97B6E-2186-4467-A45C-244A45BF4FEE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0" name="Group 310">
            <a:extLst>
              <a:ext uri="{FF2B5EF4-FFF2-40B4-BE49-F238E27FC236}">
                <a16:creationId xmlns:a16="http://schemas.microsoft.com/office/drawing/2014/main" id="{55F07788-1C87-40DF-9601-6F6FEDEF0D39}"/>
              </a:ext>
            </a:extLst>
          </p:cNvPr>
          <p:cNvGrpSpPr/>
          <p:nvPr/>
        </p:nvGrpSpPr>
        <p:grpSpPr>
          <a:xfrm>
            <a:off x="7466623" y="4321257"/>
            <a:ext cx="196318" cy="233326"/>
            <a:chOff x="4922092" y="1979110"/>
            <a:chExt cx="144000" cy="156347"/>
          </a:xfrm>
        </p:grpSpPr>
        <p:sp>
          <p:nvSpPr>
            <p:cNvPr id="321" name="Oval 127">
              <a:extLst>
                <a:ext uri="{FF2B5EF4-FFF2-40B4-BE49-F238E27FC236}">
                  <a16:creationId xmlns:a16="http://schemas.microsoft.com/office/drawing/2014/main" id="{C6192943-07CC-4936-B933-2A9F0982CE03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22" name="Arc 128">
              <a:extLst>
                <a:ext uri="{FF2B5EF4-FFF2-40B4-BE49-F238E27FC236}">
                  <a16:creationId xmlns:a16="http://schemas.microsoft.com/office/drawing/2014/main" id="{ACD5FF1A-43B6-4DD1-9BF7-9E54EBD30B4A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3" name="Group 310">
            <a:extLst>
              <a:ext uri="{FF2B5EF4-FFF2-40B4-BE49-F238E27FC236}">
                <a16:creationId xmlns:a16="http://schemas.microsoft.com/office/drawing/2014/main" id="{403AB911-B14A-457C-8862-55760B928378}"/>
              </a:ext>
            </a:extLst>
          </p:cNvPr>
          <p:cNvGrpSpPr/>
          <p:nvPr/>
        </p:nvGrpSpPr>
        <p:grpSpPr>
          <a:xfrm>
            <a:off x="10220162" y="4311984"/>
            <a:ext cx="196318" cy="233326"/>
            <a:chOff x="4922092" y="1979110"/>
            <a:chExt cx="144000" cy="156347"/>
          </a:xfrm>
        </p:grpSpPr>
        <p:sp>
          <p:nvSpPr>
            <p:cNvPr id="324" name="Oval 127">
              <a:extLst>
                <a:ext uri="{FF2B5EF4-FFF2-40B4-BE49-F238E27FC236}">
                  <a16:creationId xmlns:a16="http://schemas.microsoft.com/office/drawing/2014/main" id="{21916E0B-3A4B-493D-9A6F-009C8B8A072A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25" name="Arc 128">
              <a:extLst>
                <a:ext uri="{FF2B5EF4-FFF2-40B4-BE49-F238E27FC236}">
                  <a16:creationId xmlns:a16="http://schemas.microsoft.com/office/drawing/2014/main" id="{B2575284-69DB-4A6A-A6B4-8A474D367C36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6" name="Group 394">
            <a:extLst>
              <a:ext uri="{FF2B5EF4-FFF2-40B4-BE49-F238E27FC236}">
                <a16:creationId xmlns:a16="http://schemas.microsoft.com/office/drawing/2014/main" id="{752A0017-2AEF-42FB-B486-63189DA4D25A}"/>
              </a:ext>
            </a:extLst>
          </p:cNvPr>
          <p:cNvGrpSpPr/>
          <p:nvPr/>
        </p:nvGrpSpPr>
        <p:grpSpPr>
          <a:xfrm>
            <a:off x="7466623" y="4680016"/>
            <a:ext cx="196318" cy="233326"/>
            <a:chOff x="4694559" y="3038685"/>
            <a:chExt cx="144000" cy="156347"/>
          </a:xfrm>
        </p:grpSpPr>
        <p:sp>
          <p:nvSpPr>
            <p:cNvPr id="327" name="Oval 395">
              <a:extLst>
                <a:ext uri="{FF2B5EF4-FFF2-40B4-BE49-F238E27FC236}">
                  <a16:creationId xmlns:a16="http://schemas.microsoft.com/office/drawing/2014/main" id="{9D265C19-9128-4E76-9C53-DF8C69D5DC08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28" name="Arc 396">
              <a:extLst>
                <a:ext uri="{FF2B5EF4-FFF2-40B4-BE49-F238E27FC236}">
                  <a16:creationId xmlns:a16="http://schemas.microsoft.com/office/drawing/2014/main" id="{AA555B27-F5B5-4AFB-8606-66F3FCF534C8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29" name="Group 394">
            <a:extLst>
              <a:ext uri="{FF2B5EF4-FFF2-40B4-BE49-F238E27FC236}">
                <a16:creationId xmlns:a16="http://schemas.microsoft.com/office/drawing/2014/main" id="{BB907586-855D-4C6A-A870-E70CBA560520}"/>
              </a:ext>
            </a:extLst>
          </p:cNvPr>
          <p:cNvGrpSpPr/>
          <p:nvPr/>
        </p:nvGrpSpPr>
        <p:grpSpPr>
          <a:xfrm>
            <a:off x="8829347" y="4678857"/>
            <a:ext cx="196318" cy="233326"/>
            <a:chOff x="4694559" y="3038685"/>
            <a:chExt cx="144000" cy="156347"/>
          </a:xfrm>
        </p:grpSpPr>
        <p:sp>
          <p:nvSpPr>
            <p:cNvPr id="330" name="Oval 395">
              <a:extLst>
                <a:ext uri="{FF2B5EF4-FFF2-40B4-BE49-F238E27FC236}">
                  <a16:creationId xmlns:a16="http://schemas.microsoft.com/office/drawing/2014/main" id="{CF6FCF7E-61EF-4FDE-BB31-8C4B10C5D026}"/>
                </a:ext>
              </a:extLst>
            </p:cNvPr>
            <p:cNvSpPr/>
            <p:nvPr/>
          </p:nvSpPr>
          <p:spPr bwMode="auto">
            <a:xfrm>
              <a:off x="4694559" y="303868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31" name="Arc 396">
              <a:extLst>
                <a:ext uri="{FF2B5EF4-FFF2-40B4-BE49-F238E27FC236}">
                  <a16:creationId xmlns:a16="http://schemas.microsoft.com/office/drawing/2014/main" id="{ED9D9336-0390-4851-978B-6CF65182A696}"/>
                </a:ext>
              </a:extLst>
            </p:cNvPr>
            <p:cNvSpPr/>
            <p:nvPr/>
          </p:nvSpPr>
          <p:spPr bwMode="gray">
            <a:xfrm>
              <a:off x="4694559" y="3038685"/>
              <a:ext cx="144000" cy="156347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332" name="Oval 353">
            <a:extLst>
              <a:ext uri="{FF2B5EF4-FFF2-40B4-BE49-F238E27FC236}">
                <a16:creationId xmlns:a16="http://schemas.microsoft.com/office/drawing/2014/main" id="{3D0268B0-7554-4A80-87CB-6F1D5C3D7A6A}"/>
              </a:ext>
            </a:extLst>
          </p:cNvPr>
          <p:cNvSpPr/>
          <p:nvPr/>
        </p:nvSpPr>
        <p:spPr bwMode="auto">
          <a:xfrm>
            <a:off x="7459919" y="5013176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sp>
        <p:nvSpPr>
          <p:cNvPr id="333" name="Oval 353">
            <a:extLst>
              <a:ext uri="{FF2B5EF4-FFF2-40B4-BE49-F238E27FC236}">
                <a16:creationId xmlns:a16="http://schemas.microsoft.com/office/drawing/2014/main" id="{797AF3A7-E3EF-4BD7-B9C8-FD3727F08A1B}"/>
              </a:ext>
            </a:extLst>
          </p:cNvPr>
          <p:cNvSpPr/>
          <p:nvPr/>
        </p:nvSpPr>
        <p:spPr bwMode="auto">
          <a:xfrm>
            <a:off x="8836051" y="5013176"/>
            <a:ext cx="196318" cy="233326"/>
          </a:xfrm>
          <a:prstGeom prst="ellipse">
            <a:avLst/>
          </a:prstGeom>
          <a:solidFill>
            <a:schemeClr val="accent3"/>
          </a:solidFill>
          <a:ln w="9525" cap="flat" cmpd="sng" algn="ctr">
            <a:solidFill>
              <a:srgbClr val="B4B4B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spcBef>
                <a:spcPct val="50000"/>
              </a:spcBef>
              <a:spcAft>
                <a:spcPct val="0"/>
              </a:spcAft>
              <a:buClr>
                <a:schemeClr val="accent1"/>
              </a:buClr>
              <a:buSzPct val="80000"/>
            </a:pPr>
            <a:endParaRPr lang="de-DE" cap="small" dirty="0" err="1">
              <a:solidFill>
                <a:schemeClr val="bg1"/>
              </a:solidFill>
            </a:endParaRPr>
          </a:p>
        </p:txBody>
      </p:sp>
      <p:grpSp>
        <p:nvGrpSpPr>
          <p:cNvPr id="334" name="Group 528">
            <a:extLst>
              <a:ext uri="{FF2B5EF4-FFF2-40B4-BE49-F238E27FC236}">
                <a16:creationId xmlns:a16="http://schemas.microsoft.com/office/drawing/2014/main" id="{F5E1660D-26BF-4250-832C-C649B9074D27}"/>
              </a:ext>
            </a:extLst>
          </p:cNvPr>
          <p:cNvGrpSpPr/>
          <p:nvPr/>
        </p:nvGrpSpPr>
        <p:grpSpPr>
          <a:xfrm>
            <a:off x="10212182" y="5013176"/>
            <a:ext cx="196318" cy="233326"/>
            <a:chOff x="4922092" y="1979110"/>
            <a:chExt cx="144000" cy="156347"/>
          </a:xfrm>
        </p:grpSpPr>
        <p:sp>
          <p:nvSpPr>
            <p:cNvPr id="335" name="Oval 529">
              <a:extLst>
                <a:ext uri="{FF2B5EF4-FFF2-40B4-BE49-F238E27FC236}">
                  <a16:creationId xmlns:a16="http://schemas.microsoft.com/office/drawing/2014/main" id="{0EDF005B-9D9F-45F6-82B7-A768EE7EB197}"/>
                </a:ext>
              </a:extLst>
            </p:cNvPr>
            <p:cNvSpPr/>
            <p:nvPr/>
          </p:nvSpPr>
          <p:spPr bwMode="auto">
            <a:xfrm>
              <a:off x="4922092" y="1979110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36" name="Arc 530">
              <a:extLst>
                <a:ext uri="{FF2B5EF4-FFF2-40B4-BE49-F238E27FC236}">
                  <a16:creationId xmlns:a16="http://schemas.microsoft.com/office/drawing/2014/main" id="{1B216D7B-6F8E-471E-9604-6FA126712B95}"/>
                </a:ext>
              </a:extLst>
            </p:cNvPr>
            <p:cNvSpPr/>
            <p:nvPr/>
          </p:nvSpPr>
          <p:spPr bwMode="gray">
            <a:xfrm>
              <a:off x="4922092" y="1979110"/>
              <a:ext cx="144000" cy="156347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sp>
        <p:nvSpPr>
          <p:cNvPr id="337" name="Rectangle 17">
            <a:extLst>
              <a:ext uri="{FF2B5EF4-FFF2-40B4-BE49-F238E27FC236}">
                <a16:creationId xmlns:a16="http://schemas.microsoft.com/office/drawing/2014/main" id="{538F5D49-2972-406D-8CC7-064C31B816C7}"/>
              </a:ext>
            </a:extLst>
          </p:cNvPr>
          <p:cNvSpPr/>
          <p:nvPr/>
        </p:nvSpPr>
        <p:spPr bwMode="auto">
          <a:xfrm>
            <a:off x="695400" y="1772816"/>
            <a:ext cx="4809797" cy="301310"/>
          </a:xfrm>
          <a:prstGeom prst="rect">
            <a:avLst/>
          </a:prstGeom>
          <a:noFill/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0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3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71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06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542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678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814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949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085" algn="l" defTabSz="91427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hangingPunct="0">
              <a:spcBef>
                <a:spcPct val="50000"/>
              </a:spcBef>
              <a:buClr>
                <a:schemeClr val="accent1"/>
              </a:buClr>
              <a:buSzPct val="80000"/>
            </a:pPr>
            <a:r>
              <a:rPr lang="de-DE" sz="1200" cap="small" dirty="0"/>
              <a:t>Market </a:t>
            </a:r>
            <a:r>
              <a:rPr lang="de-DE" sz="1200" cap="small" dirty="0" err="1"/>
              <a:t>professionalisation</a:t>
            </a:r>
            <a:r>
              <a:rPr lang="de-DE" sz="1200" cap="small" dirty="0"/>
              <a:t> (</a:t>
            </a:r>
            <a:r>
              <a:rPr lang="de-DE" sz="1200" cap="small" dirty="0" err="1"/>
              <a:t>garages</a:t>
            </a:r>
            <a:r>
              <a:rPr lang="de-DE" sz="1200" cap="small" dirty="0"/>
              <a:t> / </a:t>
            </a:r>
            <a:r>
              <a:rPr lang="de-DE" sz="1200" cap="small" dirty="0" err="1"/>
              <a:t>wholesalers</a:t>
            </a:r>
            <a:r>
              <a:rPr lang="de-DE" sz="1200" cap="small" dirty="0"/>
              <a:t>)</a:t>
            </a:r>
          </a:p>
        </p:txBody>
      </p:sp>
      <p:grpSp>
        <p:nvGrpSpPr>
          <p:cNvPr id="339" name="Group 617">
            <a:extLst>
              <a:ext uri="{FF2B5EF4-FFF2-40B4-BE49-F238E27FC236}">
                <a16:creationId xmlns:a16="http://schemas.microsoft.com/office/drawing/2014/main" id="{A0CF4AE8-95DB-497A-80E3-278BFCB53955}"/>
              </a:ext>
            </a:extLst>
          </p:cNvPr>
          <p:cNvGrpSpPr/>
          <p:nvPr/>
        </p:nvGrpSpPr>
        <p:grpSpPr>
          <a:xfrm>
            <a:off x="6083788" y="3969678"/>
            <a:ext cx="196318" cy="233326"/>
            <a:chOff x="4694559" y="3324155"/>
            <a:chExt cx="144000" cy="156347"/>
          </a:xfrm>
        </p:grpSpPr>
        <p:sp>
          <p:nvSpPr>
            <p:cNvPr id="340" name="Oval 618">
              <a:extLst>
                <a:ext uri="{FF2B5EF4-FFF2-40B4-BE49-F238E27FC236}">
                  <a16:creationId xmlns:a16="http://schemas.microsoft.com/office/drawing/2014/main" id="{7EF903EE-BE96-4C38-A81D-23DB8744E4FA}"/>
                </a:ext>
              </a:extLst>
            </p:cNvPr>
            <p:cNvSpPr/>
            <p:nvPr/>
          </p:nvSpPr>
          <p:spPr bwMode="auto">
            <a:xfrm>
              <a:off x="4694559" y="3324155"/>
              <a:ext cx="144000" cy="156347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41" name="Arc 619">
              <a:extLst>
                <a:ext uri="{FF2B5EF4-FFF2-40B4-BE49-F238E27FC236}">
                  <a16:creationId xmlns:a16="http://schemas.microsoft.com/office/drawing/2014/main" id="{ECAA1FA5-C83B-4941-A51F-310FA89BFDFC}"/>
                </a:ext>
              </a:extLst>
            </p:cNvPr>
            <p:cNvSpPr/>
            <p:nvPr/>
          </p:nvSpPr>
          <p:spPr bwMode="gray">
            <a:xfrm>
              <a:off x="4694559" y="3324155"/>
              <a:ext cx="144000" cy="156347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cap="small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959B746-06B9-49EE-9EC1-C23DD5DF3C02}"/>
              </a:ext>
            </a:extLst>
          </p:cNvPr>
          <p:cNvGrpSpPr/>
          <p:nvPr/>
        </p:nvGrpSpPr>
        <p:grpSpPr>
          <a:xfrm>
            <a:off x="5353023" y="5494984"/>
            <a:ext cx="1932370" cy="307777"/>
            <a:chOff x="5591943" y="5418440"/>
            <a:chExt cx="1867976" cy="307777"/>
          </a:xfrm>
        </p:grpSpPr>
        <p:sp>
          <p:nvSpPr>
            <p:cNvPr id="163" name="Oval 398">
              <a:extLst>
                <a:ext uri="{FF2B5EF4-FFF2-40B4-BE49-F238E27FC236}">
                  <a16:creationId xmlns:a16="http://schemas.microsoft.com/office/drawing/2014/main" id="{FC5E1742-B0C8-4709-89D8-C6F2D60AD458}"/>
                </a:ext>
              </a:extLst>
            </p:cNvPr>
            <p:cNvSpPr/>
            <p:nvPr/>
          </p:nvSpPr>
          <p:spPr bwMode="auto">
            <a:xfrm>
              <a:off x="5591943" y="5427922"/>
              <a:ext cx="243381" cy="233326"/>
            </a:xfrm>
            <a:prstGeom prst="ellipse">
              <a:avLst/>
            </a:prstGeom>
            <a:solidFill>
              <a:schemeClr val="accent3"/>
            </a:solidFill>
            <a:ln w="9525" cap="flat" cmpd="sng" algn="ctr">
              <a:solidFill>
                <a:srgbClr val="B4B4B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de-DE"/>
              </a:defPPr>
              <a:lvl1pPr marL="0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13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271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406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542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678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814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949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085" algn="l" defTabSz="91427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400" eaLnBrk="0" fontAlgn="base" hangingPunct="0">
                <a:spcBef>
                  <a:spcPct val="50000"/>
                </a:spcBef>
                <a:spcAft>
                  <a:spcPct val="0"/>
                </a:spcAft>
                <a:buClr>
                  <a:schemeClr val="accent1"/>
                </a:buClr>
                <a:buSzPct val="80000"/>
              </a:pPr>
              <a:endParaRPr lang="de-DE" cap="small" dirty="0" err="1">
                <a:solidFill>
                  <a:schemeClr val="bg1"/>
                </a:solidFill>
              </a:endParaRPr>
            </a:p>
          </p:txBody>
        </p:sp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09A64604-68BA-4043-A80F-DE0ABC7EB0E0}"/>
                </a:ext>
              </a:extLst>
            </p:cNvPr>
            <p:cNvSpPr txBox="1"/>
            <p:nvPr/>
          </p:nvSpPr>
          <p:spPr>
            <a:xfrm>
              <a:off x="5947387" y="5418440"/>
              <a:ext cx="15125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latin typeface="+mn-lt"/>
                </a:rPr>
                <a:t>12.00 h</a:t>
              </a: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B1DA8A92-CE98-492C-AEF3-B452C56E4E82}"/>
              </a:ext>
            </a:extLst>
          </p:cNvPr>
          <p:cNvGrpSpPr/>
          <p:nvPr/>
        </p:nvGrpSpPr>
        <p:grpSpPr>
          <a:xfrm>
            <a:off x="6774199" y="5503862"/>
            <a:ext cx="1739795" cy="307777"/>
            <a:chOff x="5591944" y="5725686"/>
            <a:chExt cx="1584176" cy="307777"/>
          </a:xfrm>
        </p:grpSpPr>
        <p:sp>
          <p:nvSpPr>
            <p:cNvPr id="170" name="Textfeld 169">
              <a:extLst>
                <a:ext uri="{FF2B5EF4-FFF2-40B4-BE49-F238E27FC236}">
                  <a16:creationId xmlns:a16="http://schemas.microsoft.com/office/drawing/2014/main" id="{B017B89F-9DE7-4ED0-9162-BB1F4EB75EA4}"/>
                </a:ext>
              </a:extLst>
            </p:cNvPr>
            <p:cNvSpPr txBox="1"/>
            <p:nvPr/>
          </p:nvSpPr>
          <p:spPr>
            <a:xfrm>
              <a:off x="5956070" y="5725686"/>
              <a:ext cx="12200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latin typeface="+mn-lt"/>
                </a:rPr>
                <a:t>9.00 h</a:t>
              </a:r>
            </a:p>
          </p:txBody>
        </p:sp>
        <p:grpSp>
          <p:nvGrpSpPr>
            <p:cNvPr id="171" name="Group 552">
              <a:extLst>
                <a:ext uri="{FF2B5EF4-FFF2-40B4-BE49-F238E27FC236}">
                  <a16:creationId xmlns:a16="http://schemas.microsoft.com/office/drawing/2014/main" id="{1D51DFD4-BE12-4A0B-B8E0-992ACAB09267}"/>
                </a:ext>
              </a:extLst>
            </p:cNvPr>
            <p:cNvGrpSpPr/>
            <p:nvPr/>
          </p:nvGrpSpPr>
          <p:grpSpPr>
            <a:xfrm>
              <a:off x="5591944" y="5731580"/>
              <a:ext cx="196318" cy="233326"/>
              <a:chOff x="4694559" y="3038685"/>
              <a:chExt cx="144000" cy="156347"/>
            </a:xfrm>
          </p:grpSpPr>
          <p:sp>
            <p:nvSpPr>
              <p:cNvPr id="175" name="Oval 553">
                <a:extLst>
                  <a:ext uri="{FF2B5EF4-FFF2-40B4-BE49-F238E27FC236}">
                    <a16:creationId xmlns:a16="http://schemas.microsoft.com/office/drawing/2014/main" id="{5434B798-F31B-457F-8F9C-E8C6FF703B2E}"/>
                  </a:ext>
                </a:extLst>
              </p:cNvPr>
              <p:cNvSpPr/>
              <p:nvPr/>
            </p:nvSpPr>
            <p:spPr bwMode="auto">
              <a:xfrm>
                <a:off x="4694559" y="3038685"/>
                <a:ext cx="144000" cy="156347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Pct val="80000"/>
                </a:pPr>
                <a:endParaRPr lang="de-DE" cap="small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6" name="Arc 554">
                <a:extLst>
                  <a:ext uri="{FF2B5EF4-FFF2-40B4-BE49-F238E27FC236}">
                    <a16:creationId xmlns:a16="http://schemas.microsoft.com/office/drawing/2014/main" id="{01CA8F81-F65F-4523-8149-F7B9FABCF493}"/>
                  </a:ext>
                </a:extLst>
              </p:cNvPr>
              <p:cNvSpPr/>
              <p:nvPr/>
            </p:nvSpPr>
            <p:spPr bwMode="gray">
              <a:xfrm>
                <a:off x="4694559" y="3038685"/>
                <a:ext cx="144000" cy="156347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cap="small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4B6C092-7A5F-4074-827D-D355572680BC}"/>
              </a:ext>
            </a:extLst>
          </p:cNvPr>
          <p:cNvGrpSpPr/>
          <p:nvPr/>
        </p:nvGrpSpPr>
        <p:grpSpPr>
          <a:xfrm>
            <a:off x="9696400" y="5494984"/>
            <a:ext cx="1416948" cy="307777"/>
            <a:chOff x="8292415" y="5417909"/>
            <a:chExt cx="1416948" cy="307777"/>
          </a:xfrm>
        </p:grpSpPr>
        <p:grpSp>
          <p:nvGrpSpPr>
            <p:cNvPr id="180" name="Group 310">
              <a:extLst>
                <a:ext uri="{FF2B5EF4-FFF2-40B4-BE49-F238E27FC236}">
                  <a16:creationId xmlns:a16="http://schemas.microsoft.com/office/drawing/2014/main" id="{252B5945-986F-41B6-AF05-BDE47456B522}"/>
                </a:ext>
              </a:extLst>
            </p:cNvPr>
            <p:cNvGrpSpPr/>
            <p:nvPr/>
          </p:nvGrpSpPr>
          <p:grpSpPr>
            <a:xfrm>
              <a:off x="8292415" y="5439688"/>
              <a:ext cx="196318" cy="233326"/>
              <a:chOff x="4922092" y="1979110"/>
              <a:chExt cx="144000" cy="156347"/>
            </a:xfrm>
          </p:grpSpPr>
          <p:sp>
            <p:nvSpPr>
              <p:cNvPr id="181" name="Oval 127">
                <a:extLst>
                  <a:ext uri="{FF2B5EF4-FFF2-40B4-BE49-F238E27FC236}">
                    <a16:creationId xmlns:a16="http://schemas.microsoft.com/office/drawing/2014/main" id="{0E73E036-26D6-493F-8555-1B3E82126794}"/>
                  </a:ext>
                </a:extLst>
              </p:cNvPr>
              <p:cNvSpPr/>
              <p:nvPr/>
            </p:nvSpPr>
            <p:spPr bwMode="auto">
              <a:xfrm>
                <a:off x="4922092" y="1979110"/>
                <a:ext cx="144000" cy="156347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Pct val="80000"/>
                </a:pPr>
                <a:endParaRPr lang="de-DE" cap="small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82" name="Arc 128">
                <a:extLst>
                  <a:ext uri="{FF2B5EF4-FFF2-40B4-BE49-F238E27FC236}">
                    <a16:creationId xmlns:a16="http://schemas.microsoft.com/office/drawing/2014/main" id="{B486C17A-2C2E-44A1-A86C-1987C306C8E9}"/>
                  </a:ext>
                </a:extLst>
              </p:cNvPr>
              <p:cNvSpPr/>
              <p:nvPr/>
            </p:nvSpPr>
            <p:spPr bwMode="gray">
              <a:xfrm>
                <a:off x="4922092" y="1979110"/>
                <a:ext cx="144000" cy="156347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3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cap="small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3" name="Textfeld 182">
              <a:extLst>
                <a:ext uri="{FF2B5EF4-FFF2-40B4-BE49-F238E27FC236}">
                  <a16:creationId xmlns:a16="http://schemas.microsoft.com/office/drawing/2014/main" id="{72CC760B-C17E-42A7-B483-7884EDFE2446}"/>
                </a:ext>
              </a:extLst>
            </p:cNvPr>
            <p:cNvSpPr txBox="1"/>
            <p:nvPr/>
          </p:nvSpPr>
          <p:spPr>
            <a:xfrm>
              <a:off x="8489313" y="5417909"/>
              <a:ext cx="12200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latin typeface="+mn-lt"/>
                </a:rPr>
                <a:t> 3.00 h</a:t>
              </a: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E5B17E46-61C0-4438-833A-548F841C0F80}"/>
              </a:ext>
            </a:extLst>
          </p:cNvPr>
          <p:cNvGrpSpPr/>
          <p:nvPr/>
        </p:nvGrpSpPr>
        <p:grpSpPr>
          <a:xfrm>
            <a:off x="8256240" y="5498068"/>
            <a:ext cx="1375669" cy="307777"/>
            <a:chOff x="8885192" y="5406238"/>
            <a:chExt cx="1375669" cy="307777"/>
          </a:xfrm>
        </p:grpSpPr>
        <p:grpSp>
          <p:nvGrpSpPr>
            <p:cNvPr id="177" name="Group 617">
              <a:extLst>
                <a:ext uri="{FF2B5EF4-FFF2-40B4-BE49-F238E27FC236}">
                  <a16:creationId xmlns:a16="http://schemas.microsoft.com/office/drawing/2014/main" id="{C2A94016-D55D-4E77-A4D1-66E23DE9331C}"/>
                </a:ext>
              </a:extLst>
            </p:cNvPr>
            <p:cNvGrpSpPr/>
            <p:nvPr/>
          </p:nvGrpSpPr>
          <p:grpSpPr>
            <a:xfrm>
              <a:off x="8885192" y="5418440"/>
              <a:ext cx="196318" cy="233326"/>
              <a:chOff x="4694559" y="3324155"/>
              <a:chExt cx="144000" cy="156347"/>
            </a:xfrm>
          </p:grpSpPr>
          <p:sp>
            <p:nvSpPr>
              <p:cNvPr id="178" name="Oval 618">
                <a:extLst>
                  <a:ext uri="{FF2B5EF4-FFF2-40B4-BE49-F238E27FC236}">
                    <a16:creationId xmlns:a16="http://schemas.microsoft.com/office/drawing/2014/main" id="{9E5982F5-27D8-429D-B282-EB7F4684274F}"/>
                  </a:ext>
                </a:extLst>
              </p:cNvPr>
              <p:cNvSpPr/>
              <p:nvPr/>
            </p:nvSpPr>
            <p:spPr bwMode="auto">
              <a:xfrm>
                <a:off x="4694559" y="3324155"/>
                <a:ext cx="144000" cy="156347"/>
              </a:xfrm>
              <a:prstGeom prst="ellipse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914400"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chemeClr val="accent1"/>
                  </a:buClr>
                  <a:buSzPct val="80000"/>
                </a:pPr>
                <a:endParaRPr lang="de-DE" cap="small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179" name="Arc 619">
                <a:extLst>
                  <a:ext uri="{FF2B5EF4-FFF2-40B4-BE49-F238E27FC236}">
                    <a16:creationId xmlns:a16="http://schemas.microsoft.com/office/drawing/2014/main" id="{EF9E0A43-59DF-4469-B0BB-C869B205D1C3}"/>
                  </a:ext>
                </a:extLst>
              </p:cNvPr>
              <p:cNvSpPr/>
              <p:nvPr/>
            </p:nvSpPr>
            <p:spPr bwMode="gray">
              <a:xfrm>
                <a:off x="4694559" y="3324155"/>
                <a:ext cx="144000" cy="156347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 cap="flat" cmpd="sng" algn="ctr">
                <a:solidFill>
                  <a:srgbClr val="B4B4B4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>
                <a:defPPr>
                  <a:defRPr lang="de-DE"/>
                </a:defPPr>
                <a:lvl1pPr marL="0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13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271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406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542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5678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2814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199949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085" algn="l" defTabSz="914271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de-DE" cap="small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87" name="Textfeld 186">
              <a:extLst>
                <a:ext uri="{FF2B5EF4-FFF2-40B4-BE49-F238E27FC236}">
                  <a16:creationId xmlns:a16="http://schemas.microsoft.com/office/drawing/2014/main" id="{C9666FFB-E955-4AA0-9C7F-F667274235D8}"/>
                </a:ext>
              </a:extLst>
            </p:cNvPr>
            <p:cNvSpPr txBox="1"/>
            <p:nvPr/>
          </p:nvSpPr>
          <p:spPr>
            <a:xfrm>
              <a:off x="9040811" y="5406238"/>
              <a:ext cx="12200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>
                  <a:latin typeface="+mn-lt"/>
                </a:rPr>
                <a:t>6.00 h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83543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 descr="\\NAS\PresentationLoad\07 Produktion\1_TEMPLATES\5_Unternehmenspräsentation\1 JOBS ZUM BEARBEITEN\T2302_Company-Presentation-Toolbox\Drafts\Bilder\Bilder Unternehmenspräsenation Templates\komprimiert\image84.jpe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5992" y="836712"/>
            <a:ext cx="8235216" cy="5616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239350" y="851372"/>
            <a:ext cx="10972800" cy="633412"/>
          </a:xfrm>
        </p:spPr>
        <p:txBody>
          <a:bodyPr/>
          <a:lstStyle/>
          <a:p>
            <a:r>
              <a:rPr lang="en-US" sz="2000" cap="all" dirty="0"/>
              <a:t>Thank you</a:t>
            </a:r>
          </a:p>
        </p:txBody>
      </p:sp>
      <p:sp>
        <p:nvSpPr>
          <p:cNvPr id="2" name="Inhaltsplatzhalter 1"/>
          <p:cNvSpPr>
            <a:spLocks noGrp="1"/>
          </p:cNvSpPr>
          <p:nvPr>
            <p:ph idx="4294967295"/>
          </p:nvPr>
        </p:nvSpPr>
        <p:spPr>
          <a:xfrm>
            <a:off x="239350" y="908050"/>
            <a:ext cx="3476988" cy="4319588"/>
          </a:xfrm>
        </p:spPr>
        <p:txBody>
          <a:bodyPr/>
          <a:lstStyle/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r>
              <a:rPr lang="de-DE" dirty="0"/>
              <a:t>Zoran Nikolic</a:t>
            </a:r>
          </a:p>
          <a:p>
            <a:pPr marL="0" indent="0">
              <a:buNone/>
            </a:pPr>
            <a:r>
              <a:rPr lang="de-DE" dirty="0" err="1"/>
              <a:t>TechnologiePark</a:t>
            </a:r>
            <a:br>
              <a:rPr lang="de-DE" dirty="0"/>
            </a:br>
            <a:r>
              <a:rPr lang="de-DE" dirty="0"/>
              <a:t>Friedrich-Ebert-</a:t>
            </a:r>
            <a:r>
              <a:rPr lang="de-DE" dirty="0" err="1"/>
              <a:t>Strasse</a:t>
            </a:r>
            <a:r>
              <a:rPr lang="de-DE" dirty="0"/>
              <a:t> 75</a:t>
            </a:r>
            <a:br>
              <a:rPr lang="de-DE" dirty="0"/>
            </a:br>
            <a:r>
              <a:rPr lang="de-DE" dirty="0"/>
              <a:t>D 51429 Bergisch Gladbach</a:t>
            </a:r>
          </a:p>
          <a:p>
            <a:pPr marL="0" indent="0">
              <a:buNone/>
            </a:pPr>
            <a:r>
              <a:rPr lang="en-US" dirty="0"/>
              <a:t>Germany </a:t>
            </a:r>
            <a:endParaRPr lang="de-DE" dirty="0"/>
          </a:p>
          <a:p>
            <a:pPr marL="0" indent="0">
              <a:buNone/>
            </a:pPr>
            <a:r>
              <a:rPr lang="en-US" dirty="0"/>
              <a:t>Tel.: +49 (2204) 8425-36</a:t>
            </a:r>
            <a:br>
              <a:rPr lang="en-US" dirty="0"/>
            </a:br>
            <a:r>
              <a:rPr lang="en-US" dirty="0"/>
              <a:t>Fax: +49 (2204) 8425-39</a:t>
            </a:r>
            <a:br>
              <a:rPr lang="en-US" dirty="0"/>
            </a:br>
            <a:r>
              <a:rPr lang="en-US" u="sng" dirty="0">
                <a:hlinkClick r:id="rId3"/>
              </a:rPr>
              <a:t>zoran.nikolic@wolk-aftersales.de</a:t>
            </a:r>
            <a:br>
              <a:rPr lang="en-US" dirty="0"/>
            </a:br>
            <a:r>
              <a:rPr lang="en-US" u="sng" dirty="0">
                <a:hlinkClick r:id="rId4"/>
              </a:rPr>
              <a:t>http://www.wolk-aftersales.com</a:t>
            </a:r>
            <a:br>
              <a:rPr lang="en-US" dirty="0"/>
            </a:br>
            <a:endParaRPr lang="en-US" sz="2200" dirty="0"/>
          </a:p>
        </p:txBody>
      </p:sp>
      <p:sp>
        <p:nvSpPr>
          <p:cNvPr id="7" name="_text"/>
          <p:cNvSpPr txBox="1">
            <a:spLocks/>
          </p:cNvSpPr>
          <p:nvPr/>
        </p:nvSpPr>
        <p:spPr bwMode="gray">
          <a:xfrm>
            <a:off x="-24680" y="1554163"/>
            <a:ext cx="5699356" cy="42481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190800" indent="-190800">
              <a:lnSpc>
                <a:spcPct val="95000"/>
              </a:lnSpc>
              <a:spcAft>
                <a:spcPts val="800"/>
              </a:spcAft>
              <a:buFont typeface="Wingdings" pitchFamily="2" charset="2"/>
              <a:buChar char="§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68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38B1061-8E63-4E09-BBAD-B159DC477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bout </a:t>
            </a:r>
            <a:r>
              <a:rPr lang="de-DE" dirty="0" err="1"/>
              <a:t>wolk</a:t>
            </a:r>
            <a:r>
              <a:rPr lang="de-DE" dirty="0"/>
              <a:t> after </a:t>
            </a:r>
            <a:r>
              <a:rPr lang="de-DE" dirty="0" err="1"/>
              <a:t>sales</a:t>
            </a:r>
            <a:r>
              <a:rPr lang="de-DE" dirty="0"/>
              <a:t> </a:t>
            </a:r>
            <a:r>
              <a:rPr lang="de-DE" dirty="0" err="1"/>
              <a:t>experts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4294967295"/>
          </p:nvPr>
        </p:nvSpPr>
        <p:spPr>
          <a:xfrm>
            <a:off x="551086" y="3255963"/>
            <a:ext cx="3168650" cy="2981325"/>
          </a:xfrm>
          <a:solidFill>
            <a:schemeClr val="accent3"/>
          </a:solidFill>
        </p:spPr>
        <p:txBody>
          <a:bodyPr/>
          <a:lstStyle/>
          <a:p>
            <a:pPr marL="88900" indent="0">
              <a:lnSpc>
                <a:spcPct val="95000"/>
              </a:lnSpc>
              <a:spcAft>
                <a:spcPts val="450"/>
              </a:spcAft>
              <a:buNone/>
            </a:pPr>
            <a:r>
              <a:rPr lang="en-US" sz="2000" cap="small" dirty="0">
                <a:solidFill>
                  <a:schemeClr val="bg1"/>
                </a:solidFill>
              </a:rPr>
              <a:t>Management consultancy specialized in the automotive aftermarket in Europe</a:t>
            </a:r>
            <a:endParaRPr lang="en-US" sz="2000" cap="small" dirty="0">
              <a:solidFill>
                <a:schemeClr val="bg1"/>
              </a:solidFill>
              <a:cs typeface="Arial" charset="0"/>
            </a:endParaRPr>
          </a:p>
          <a:p>
            <a:pPr marL="88900" indent="0">
              <a:lnSpc>
                <a:spcPct val="95000"/>
              </a:lnSpc>
              <a:spcAft>
                <a:spcPts val="450"/>
              </a:spcAft>
              <a:buNone/>
            </a:pPr>
            <a:r>
              <a:rPr lang="en-US" sz="2000" cap="small" dirty="0">
                <a:solidFill>
                  <a:schemeClr val="bg1"/>
                </a:solidFill>
                <a:cs typeface="Arial" charset="0"/>
              </a:rPr>
              <a:t>Established 1994</a:t>
            </a:r>
          </a:p>
          <a:p>
            <a:pPr marL="88900" indent="0">
              <a:lnSpc>
                <a:spcPct val="95000"/>
              </a:lnSpc>
              <a:spcAft>
                <a:spcPts val="450"/>
              </a:spcAft>
              <a:buNone/>
            </a:pPr>
            <a:r>
              <a:rPr lang="en-US" sz="2000" cap="small" dirty="0">
                <a:solidFill>
                  <a:schemeClr val="bg1"/>
                </a:solidFill>
                <a:cs typeface="Arial" charset="0"/>
              </a:rPr>
              <a:t>Based in Germany</a:t>
            </a:r>
            <a:endParaRPr lang="en-US" sz="2000" cap="small" dirty="0">
              <a:solidFill>
                <a:schemeClr val="bg1"/>
              </a:solidFill>
            </a:endParaRPr>
          </a:p>
          <a:p>
            <a:pPr marL="88900" indent="0">
              <a:lnSpc>
                <a:spcPct val="95000"/>
              </a:lnSpc>
              <a:spcAft>
                <a:spcPts val="450"/>
              </a:spcAft>
              <a:buNone/>
            </a:pPr>
            <a:r>
              <a:rPr lang="en-US" sz="2000" cap="small" dirty="0">
                <a:solidFill>
                  <a:schemeClr val="bg1"/>
                </a:solidFill>
                <a:cs typeface="Arial" charset="0"/>
              </a:rPr>
              <a:t>International alliance of 10 after sales consulting companies</a:t>
            </a:r>
            <a:endParaRPr lang="ru-RU" cap="small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004E3B0B-C5DE-4182-97AB-C581BDDE545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082" y="1092989"/>
            <a:ext cx="3146654" cy="2162228"/>
          </a:xfrm>
          <a:prstGeom prst="rect">
            <a:avLst/>
          </a:prstGeom>
        </p:spPr>
      </p:pic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10A82232-C7AE-4D46-A908-08F302FE4E6B}"/>
              </a:ext>
            </a:extLst>
          </p:cNvPr>
          <p:cNvGrpSpPr/>
          <p:nvPr/>
        </p:nvGrpSpPr>
        <p:grpSpPr>
          <a:xfrm>
            <a:off x="3719736" y="1092989"/>
            <a:ext cx="7819887" cy="5144324"/>
            <a:chOff x="2884625" y="783432"/>
            <a:chExt cx="9306382" cy="5540377"/>
          </a:xfrm>
        </p:grpSpPr>
        <p:sp>
          <p:nvSpPr>
            <p:cNvPr id="120" name="Niederlande" descr="© INSCALE GmbH, 05.05.2010&#10;http://www.presentationload.com/">
              <a:extLst>
                <a:ext uri="{FF2B5EF4-FFF2-40B4-BE49-F238E27FC236}">
                  <a16:creationId xmlns:a16="http://schemas.microsoft.com/office/drawing/2014/main" id="{F658312C-0CDC-4D00-B993-F0D213E58FB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5846413" y="2986214"/>
              <a:ext cx="676188" cy="513090"/>
            </a:xfrm>
            <a:custGeom>
              <a:avLst/>
              <a:gdLst/>
              <a:ahLst/>
              <a:cxnLst>
                <a:cxn ang="0">
                  <a:pos x="154" y="5"/>
                </a:cxn>
                <a:cxn ang="0">
                  <a:pos x="131" y="10"/>
                </a:cxn>
                <a:cxn ang="0">
                  <a:pos x="96" y="34"/>
                </a:cxn>
                <a:cxn ang="0">
                  <a:pos x="105" y="45"/>
                </a:cxn>
                <a:cxn ang="0">
                  <a:pos x="104" y="55"/>
                </a:cxn>
                <a:cxn ang="0">
                  <a:pos x="101" y="57"/>
                </a:cxn>
                <a:cxn ang="0">
                  <a:pos x="83" y="73"/>
                </a:cxn>
                <a:cxn ang="0">
                  <a:pos x="99" y="72"/>
                </a:cxn>
                <a:cxn ang="0">
                  <a:pos x="109" y="72"/>
                </a:cxn>
                <a:cxn ang="0">
                  <a:pos x="76" y="71"/>
                </a:cxn>
                <a:cxn ang="0">
                  <a:pos x="82" y="64"/>
                </a:cxn>
                <a:cxn ang="0">
                  <a:pos x="84" y="44"/>
                </a:cxn>
                <a:cxn ang="0">
                  <a:pos x="67" y="32"/>
                </a:cxn>
                <a:cxn ang="0">
                  <a:pos x="47" y="101"/>
                </a:cxn>
                <a:cxn ang="0">
                  <a:pos x="33" y="94"/>
                </a:cxn>
                <a:cxn ang="0">
                  <a:pos x="61" y="109"/>
                </a:cxn>
                <a:cxn ang="0">
                  <a:pos x="48" y="113"/>
                </a:cxn>
                <a:cxn ang="0">
                  <a:pos x="40" y="119"/>
                </a:cxn>
                <a:cxn ang="0">
                  <a:pos x="32" y="119"/>
                </a:cxn>
                <a:cxn ang="0">
                  <a:pos x="40" y="126"/>
                </a:cxn>
                <a:cxn ang="0">
                  <a:pos x="19" y="121"/>
                </a:cxn>
                <a:cxn ang="0">
                  <a:pos x="10" y="124"/>
                </a:cxn>
                <a:cxn ang="0">
                  <a:pos x="26" y="127"/>
                </a:cxn>
                <a:cxn ang="0">
                  <a:pos x="33" y="135"/>
                </a:cxn>
                <a:cxn ang="0">
                  <a:pos x="23" y="133"/>
                </a:cxn>
                <a:cxn ang="0">
                  <a:pos x="2" y="129"/>
                </a:cxn>
                <a:cxn ang="0">
                  <a:pos x="7" y="139"/>
                </a:cxn>
                <a:cxn ang="0">
                  <a:pos x="22" y="143"/>
                </a:cxn>
                <a:cxn ang="0">
                  <a:pos x="46" y="135"/>
                </a:cxn>
                <a:cxn ang="0">
                  <a:pos x="54" y="131"/>
                </a:cxn>
                <a:cxn ang="0">
                  <a:pos x="67" y="134"/>
                </a:cxn>
                <a:cxn ang="0">
                  <a:pos x="76" y="138"/>
                </a:cxn>
                <a:cxn ang="0">
                  <a:pos x="92" y="145"/>
                </a:cxn>
                <a:cxn ang="0">
                  <a:pos x="99" y="159"/>
                </a:cxn>
                <a:cxn ang="0">
                  <a:pos x="93" y="170"/>
                </a:cxn>
                <a:cxn ang="0">
                  <a:pos x="110" y="175"/>
                </a:cxn>
                <a:cxn ang="0">
                  <a:pos x="106" y="161"/>
                </a:cxn>
                <a:cxn ang="0">
                  <a:pos x="118" y="149"/>
                </a:cxn>
                <a:cxn ang="0">
                  <a:pos x="119" y="124"/>
                </a:cxn>
                <a:cxn ang="0">
                  <a:pos x="120" y="106"/>
                </a:cxn>
                <a:cxn ang="0">
                  <a:pos x="131" y="104"/>
                </a:cxn>
                <a:cxn ang="0">
                  <a:pos x="150" y="88"/>
                </a:cxn>
                <a:cxn ang="0">
                  <a:pos x="147" y="58"/>
                </a:cxn>
                <a:cxn ang="0">
                  <a:pos x="166" y="29"/>
                </a:cxn>
                <a:cxn ang="0">
                  <a:pos x="76" y="17"/>
                </a:cxn>
                <a:cxn ang="0">
                  <a:pos x="70" y="29"/>
                </a:cxn>
                <a:cxn ang="0">
                  <a:pos x="27" y="115"/>
                </a:cxn>
                <a:cxn ang="0">
                  <a:pos x="31" y="112"/>
                </a:cxn>
                <a:cxn ang="0">
                  <a:pos x="22" y="110"/>
                </a:cxn>
                <a:cxn ang="0">
                  <a:pos x="24" y="116"/>
                </a:cxn>
                <a:cxn ang="0">
                  <a:pos x="18" y="118"/>
                </a:cxn>
                <a:cxn ang="0">
                  <a:pos x="32" y="106"/>
                </a:cxn>
                <a:cxn ang="0">
                  <a:pos x="45" y="112"/>
                </a:cxn>
                <a:cxn ang="0">
                  <a:pos x="27" y="105"/>
                </a:cxn>
                <a:cxn ang="0">
                  <a:pos x="82" y="13"/>
                </a:cxn>
                <a:cxn ang="0">
                  <a:pos x="99" y="7"/>
                </a:cxn>
                <a:cxn ang="0">
                  <a:pos x="98" y="3"/>
                </a:cxn>
                <a:cxn ang="0">
                  <a:pos x="90" y="9"/>
                </a:cxn>
                <a:cxn ang="0">
                  <a:pos x="109" y="3"/>
                </a:cxn>
                <a:cxn ang="0">
                  <a:pos x="135" y="0"/>
                </a:cxn>
                <a:cxn ang="0">
                  <a:pos x="136" y="2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1" name="Belgien" descr="© INSCALE GmbH, 05.05.2010&#10;http://www.presentationload.com/">
              <a:extLst>
                <a:ext uri="{FF2B5EF4-FFF2-40B4-BE49-F238E27FC236}">
                  <a16:creationId xmlns:a16="http://schemas.microsoft.com/office/drawing/2014/main" id="{832E90E1-D72B-40A5-8DC3-834FF49856B1}"/>
                </a:ext>
              </a:extLst>
            </p:cNvPr>
            <p:cNvSpPr>
              <a:spLocks/>
            </p:cNvSpPr>
            <p:nvPr/>
          </p:nvSpPr>
          <p:spPr bwMode="gray">
            <a:xfrm>
              <a:off x="5709786" y="3350559"/>
              <a:ext cx="643767" cy="386072"/>
            </a:xfrm>
            <a:custGeom>
              <a:avLst/>
              <a:gdLst/>
              <a:ahLst/>
              <a:cxnLst>
                <a:cxn ang="0">
                  <a:pos x="150" y="64"/>
                </a:cxn>
                <a:cxn ang="0">
                  <a:pos x="144" y="49"/>
                </a:cxn>
                <a:cxn ang="0">
                  <a:pos x="128" y="48"/>
                </a:cxn>
                <a:cxn ang="0">
                  <a:pos x="132" y="42"/>
                </a:cxn>
                <a:cxn ang="0">
                  <a:pos x="133" y="33"/>
                </a:cxn>
                <a:cxn ang="0">
                  <a:pos x="130" y="24"/>
                </a:cxn>
                <a:cxn ang="0">
                  <a:pos x="123" y="16"/>
                </a:cxn>
                <a:cxn ang="0">
                  <a:pos x="110" y="12"/>
                </a:cxn>
                <a:cxn ang="0">
                  <a:pos x="106" y="3"/>
                </a:cxn>
                <a:cxn ang="0">
                  <a:pos x="96" y="8"/>
                </a:cxn>
                <a:cxn ang="0">
                  <a:pos x="88" y="5"/>
                </a:cxn>
                <a:cxn ang="0">
                  <a:pos x="82" y="2"/>
                </a:cxn>
                <a:cxn ang="0">
                  <a:pos x="77" y="9"/>
                </a:cxn>
                <a:cxn ang="0">
                  <a:pos x="56" y="17"/>
                </a:cxn>
                <a:cxn ang="0">
                  <a:pos x="42" y="9"/>
                </a:cxn>
                <a:cxn ang="0">
                  <a:pos x="35" y="12"/>
                </a:cxn>
                <a:cxn ang="0">
                  <a:pos x="36" y="5"/>
                </a:cxn>
                <a:cxn ang="0">
                  <a:pos x="11" y="15"/>
                </a:cxn>
                <a:cxn ang="0">
                  <a:pos x="1" y="25"/>
                </a:cxn>
                <a:cxn ang="0">
                  <a:pos x="2" y="29"/>
                </a:cxn>
                <a:cxn ang="0">
                  <a:pos x="0" y="37"/>
                </a:cxn>
                <a:cxn ang="0">
                  <a:pos x="8" y="44"/>
                </a:cxn>
                <a:cxn ang="0">
                  <a:pos x="15" y="41"/>
                </a:cxn>
                <a:cxn ang="0">
                  <a:pos x="25" y="48"/>
                </a:cxn>
                <a:cxn ang="0">
                  <a:pos x="28" y="62"/>
                </a:cxn>
                <a:cxn ang="0">
                  <a:pos x="41" y="64"/>
                </a:cxn>
                <a:cxn ang="0">
                  <a:pos x="49" y="72"/>
                </a:cxn>
                <a:cxn ang="0">
                  <a:pos x="58" y="87"/>
                </a:cxn>
                <a:cxn ang="0">
                  <a:pos x="60" y="100"/>
                </a:cxn>
                <a:cxn ang="0">
                  <a:pos x="73" y="103"/>
                </a:cxn>
                <a:cxn ang="0">
                  <a:pos x="80" y="98"/>
                </a:cxn>
                <a:cxn ang="0">
                  <a:pos x="86" y="100"/>
                </a:cxn>
                <a:cxn ang="0">
                  <a:pos x="86" y="110"/>
                </a:cxn>
                <a:cxn ang="0">
                  <a:pos x="95" y="112"/>
                </a:cxn>
                <a:cxn ang="0">
                  <a:pos x="107" y="124"/>
                </a:cxn>
                <a:cxn ang="0">
                  <a:pos x="129" y="132"/>
                </a:cxn>
                <a:cxn ang="0">
                  <a:pos x="128" y="105"/>
                </a:cxn>
                <a:cxn ang="0">
                  <a:pos x="138" y="90"/>
                </a:cxn>
                <a:cxn ang="0">
                  <a:pos x="150" y="85"/>
                </a:cxn>
                <a:cxn ang="0">
                  <a:pos x="156" y="6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2" name="Luxemburg" descr="© INSCALE GmbH, 05.05.2010&#10;http://www.presentationload.com/">
              <a:extLst>
                <a:ext uri="{FF2B5EF4-FFF2-40B4-BE49-F238E27FC236}">
                  <a16:creationId xmlns:a16="http://schemas.microsoft.com/office/drawing/2014/main" id="{06557C7B-1E59-4A6B-9513-41F4334FBFEC}"/>
                </a:ext>
              </a:extLst>
            </p:cNvPr>
            <p:cNvSpPr>
              <a:spLocks/>
            </p:cNvSpPr>
            <p:nvPr/>
          </p:nvSpPr>
          <p:spPr bwMode="gray">
            <a:xfrm>
              <a:off x="6223874" y="3611282"/>
              <a:ext cx="141256" cy="145403"/>
            </a:xfrm>
            <a:custGeom>
              <a:avLst/>
              <a:gdLst/>
              <a:ahLst/>
              <a:cxnLst>
                <a:cxn ang="0">
                  <a:pos x="34" y="30"/>
                </a:cxn>
                <a:cxn ang="0">
                  <a:pos x="28" y="21"/>
                </a:cxn>
                <a:cxn ang="0">
                  <a:pos x="19" y="5"/>
                </a:cxn>
                <a:cxn ang="0">
                  <a:pos x="19" y="2"/>
                </a:cxn>
                <a:cxn ang="0">
                  <a:pos x="10" y="0"/>
                </a:cxn>
                <a:cxn ang="0">
                  <a:pos x="3" y="14"/>
                </a:cxn>
                <a:cxn ang="0">
                  <a:pos x="0" y="15"/>
                </a:cxn>
                <a:cxn ang="0">
                  <a:pos x="4" y="34"/>
                </a:cxn>
                <a:cxn ang="0">
                  <a:pos x="1" y="42"/>
                </a:cxn>
                <a:cxn ang="0">
                  <a:pos x="0" y="42"/>
                </a:cxn>
                <a:cxn ang="0">
                  <a:pos x="5" y="44"/>
                </a:cxn>
                <a:cxn ang="0">
                  <a:pos x="10" y="49"/>
                </a:cxn>
                <a:cxn ang="0">
                  <a:pos x="18" y="45"/>
                </a:cxn>
                <a:cxn ang="0">
                  <a:pos x="23" y="47"/>
                </a:cxn>
                <a:cxn ang="0">
                  <a:pos x="27" y="46"/>
                </a:cxn>
                <a:cxn ang="0">
                  <a:pos x="26" y="43"/>
                </a:cxn>
                <a:cxn ang="0">
                  <a:pos x="27" y="37"/>
                </a:cxn>
                <a:cxn ang="0">
                  <a:pos x="34" y="30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5" name="Tschechische Republik" descr="© INSCALE GmbH, 05.05.2010&#10;http://www.presentationload.com/">
              <a:extLst>
                <a:ext uri="{FF2B5EF4-FFF2-40B4-BE49-F238E27FC236}">
                  <a16:creationId xmlns:a16="http://schemas.microsoft.com/office/drawing/2014/main" id="{D156E273-DF66-4E5E-A4B4-1B2E029EA46B}"/>
                </a:ext>
              </a:extLst>
            </p:cNvPr>
            <p:cNvSpPr>
              <a:spLocks/>
            </p:cNvSpPr>
            <p:nvPr/>
          </p:nvSpPr>
          <p:spPr bwMode="gray">
            <a:xfrm>
              <a:off x="7309940" y="3445820"/>
              <a:ext cx="1185641" cy="484679"/>
            </a:xfrm>
            <a:custGeom>
              <a:avLst/>
              <a:gdLst/>
              <a:ahLst/>
              <a:cxnLst>
                <a:cxn ang="0">
                  <a:pos x="282" y="79"/>
                </a:cxn>
                <a:cxn ang="0">
                  <a:pos x="269" y="64"/>
                </a:cxn>
                <a:cxn ang="0">
                  <a:pos x="252" y="63"/>
                </a:cxn>
                <a:cxn ang="0">
                  <a:pos x="243" y="58"/>
                </a:cxn>
                <a:cxn ang="0">
                  <a:pos x="243" y="48"/>
                </a:cxn>
                <a:cxn ang="0">
                  <a:pos x="227" y="48"/>
                </a:cxn>
                <a:cxn ang="0">
                  <a:pos x="204" y="37"/>
                </a:cxn>
                <a:cxn ang="0">
                  <a:pos x="211" y="46"/>
                </a:cxn>
                <a:cxn ang="0">
                  <a:pos x="207" y="51"/>
                </a:cxn>
                <a:cxn ang="0">
                  <a:pos x="191" y="58"/>
                </a:cxn>
                <a:cxn ang="0">
                  <a:pos x="175" y="41"/>
                </a:cxn>
                <a:cxn ang="0">
                  <a:pos x="179" y="25"/>
                </a:cxn>
                <a:cxn ang="0">
                  <a:pos x="165" y="25"/>
                </a:cxn>
                <a:cxn ang="0">
                  <a:pos x="143" y="22"/>
                </a:cxn>
                <a:cxn ang="0">
                  <a:pos x="137" y="7"/>
                </a:cxn>
                <a:cxn ang="0">
                  <a:pos x="121" y="8"/>
                </a:cxn>
                <a:cxn ang="0">
                  <a:pos x="121" y="13"/>
                </a:cxn>
                <a:cxn ang="0">
                  <a:pos x="110" y="14"/>
                </a:cxn>
                <a:cxn ang="0">
                  <a:pos x="101" y="9"/>
                </a:cxn>
                <a:cxn ang="0">
                  <a:pos x="89" y="5"/>
                </a:cxn>
                <a:cxn ang="0">
                  <a:pos x="89" y="12"/>
                </a:cxn>
                <a:cxn ang="0">
                  <a:pos x="64" y="23"/>
                </a:cxn>
                <a:cxn ang="0">
                  <a:pos x="47" y="37"/>
                </a:cxn>
                <a:cxn ang="0">
                  <a:pos x="30" y="44"/>
                </a:cxn>
                <a:cxn ang="0">
                  <a:pos x="16" y="49"/>
                </a:cxn>
                <a:cxn ang="0">
                  <a:pos x="2" y="52"/>
                </a:cxn>
                <a:cxn ang="0">
                  <a:pos x="7" y="67"/>
                </a:cxn>
                <a:cxn ang="0">
                  <a:pos x="19" y="77"/>
                </a:cxn>
                <a:cxn ang="0">
                  <a:pos x="14" y="88"/>
                </a:cxn>
                <a:cxn ang="0">
                  <a:pos x="23" y="103"/>
                </a:cxn>
                <a:cxn ang="0">
                  <a:pos x="50" y="130"/>
                </a:cxn>
                <a:cxn ang="0">
                  <a:pos x="69" y="141"/>
                </a:cxn>
                <a:cxn ang="0">
                  <a:pos x="81" y="153"/>
                </a:cxn>
                <a:cxn ang="0">
                  <a:pos x="89" y="161"/>
                </a:cxn>
                <a:cxn ang="0">
                  <a:pos x="91" y="165"/>
                </a:cxn>
                <a:cxn ang="0">
                  <a:pos x="106" y="161"/>
                </a:cxn>
                <a:cxn ang="0">
                  <a:pos x="112" y="162"/>
                </a:cxn>
                <a:cxn ang="0">
                  <a:pos x="116" y="156"/>
                </a:cxn>
                <a:cxn ang="0">
                  <a:pos x="128" y="153"/>
                </a:cxn>
                <a:cxn ang="0">
                  <a:pos x="135" y="136"/>
                </a:cxn>
                <a:cxn ang="0">
                  <a:pos x="143" y="136"/>
                </a:cxn>
                <a:cxn ang="0">
                  <a:pos x="161" y="143"/>
                </a:cxn>
                <a:cxn ang="0">
                  <a:pos x="177" y="150"/>
                </a:cxn>
                <a:cxn ang="0">
                  <a:pos x="193" y="144"/>
                </a:cxn>
                <a:cxn ang="0">
                  <a:pos x="206" y="150"/>
                </a:cxn>
                <a:cxn ang="0">
                  <a:pos x="216" y="152"/>
                </a:cxn>
                <a:cxn ang="0">
                  <a:pos x="242" y="141"/>
                </a:cxn>
                <a:cxn ang="0">
                  <a:pos x="256" y="126"/>
                </a:cxn>
                <a:cxn ang="0">
                  <a:pos x="266" y="107"/>
                </a:cxn>
                <a:cxn ang="0">
                  <a:pos x="281" y="92"/>
                </a:cxn>
                <a:cxn ang="0">
                  <a:pos x="295" y="90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Dänemark" descr="© INSCALE GmbH, 05.05.2010&#10;http://www.presentationload.com/">
              <a:extLst>
                <a:ext uri="{FF2B5EF4-FFF2-40B4-BE49-F238E27FC236}">
                  <a16:creationId xmlns:a16="http://schemas.microsoft.com/office/drawing/2014/main" id="{05D72435-A291-41BD-B178-101DE531512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687015" y="2192343"/>
              <a:ext cx="1076803" cy="593314"/>
            </a:xfrm>
            <a:custGeom>
              <a:avLst/>
              <a:gdLst/>
              <a:ahLst/>
              <a:cxnLst>
                <a:cxn ang="0">
                  <a:pos x="148" y="197"/>
                </a:cxn>
                <a:cxn ang="0">
                  <a:pos x="162" y="174"/>
                </a:cxn>
                <a:cxn ang="0">
                  <a:pos x="155" y="185"/>
                </a:cxn>
                <a:cxn ang="0">
                  <a:pos x="81" y="186"/>
                </a:cxn>
                <a:cxn ang="0">
                  <a:pos x="98" y="185"/>
                </a:cxn>
                <a:cxn ang="0">
                  <a:pos x="97" y="176"/>
                </a:cxn>
                <a:cxn ang="0">
                  <a:pos x="84" y="179"/>
                </a:cxn>
                <a:cxn ang="0">
                  <a:pos x="65" y="179"/>
                </a:cxn>
                <a:cxn ang="0">
                  <a:pos x="68" y="176"/>
                </a:cxn>
                <a:cxn ang="0">
                  <a:pos x="99" y="173"/>
                </a:cxn>
                <a:cxn ang="0">
                  <a:pos x="94" y="137"/>
                </a:cxn>
                <a:cxn ang="0">
                  <a:pos x="84" y="138"/>
                </a:cxn>
                <a:cxn ang="0">
                  <a:pos x="63" y="150"/>
                </a:cxn>
                <a:cxn ang="0">
                  <a:pos x="75" y="165"/>
                </a:cxn>
                <a:cxn ang="0">
                  <a:pos x="93" y="113"/>
                </a:cxn>
                <a:cxn ang="0">
                  <a:pos x="127" y="188"/>
                </a:cxn>
                <a:cxn ang="0">
                  <a:pos x="108" y="187"/>
                </a:cxn>
                <a:cxn ang="0">
                  <a:pos x="132" y="200"/>
                </a:cxn>
                <a:cxn ang="0">
                  <a:pos x="17" y="66"/>
                </a:cxn>
                <a:cxn ang="0">
                  <a:pos x="35" y="48"/>
                </a:cxn>
                <a:cxn ang="0">
                  <a:pos x="66" y="43"/>
                </a:cxn>
                <a:cxn ang="0">
                  <a:pos x="89" y="13"/>
                </a:cxn>
                <a:cxn ang="0">
                  <a:pos x="63" y="28"/>
                </a:cxn>
                <a:cxn ang="0">
                  <a:pos x="10" y="63"/>
                </a:cxn>
                <a:cxn ang="0">
                  <a:pos x="20" y="67"/>
                </a:cxn>
                <a:cxn ang="0">
                  <a:pos x="20" y="64"/>
                </a:cxn>
                <a:cxn ang="0">
                  <a:pos x="120" y="123"/>
                </a:cxn>
                <a:cxn ang="0">
                  <a:pos x="107" y="29"/>
                </a:cxn>
                <a:cxn ang="0">
                  <a:pos x="15" y="163"/>
                </a:cxn>
                <a:cxn ang="0">
                  <a:pos x="50" y="175"/>
                </a:cxn>
                <a:cxn ang="0">
                  <a:pos x="59" y="159"/>
                </a:cxn>
                <a:cxn ang="0">
                  <a:pos x="59" y="133"/>
                </a:cxn>
                <a:cxn ang="0">
                  <a:pos x="73" y="120"/>
                </a:cxn>
                <a:cxn ang="0">
                  <a:pos x="89" y="95"/>
                </a:cxn>
                <a:cxn ang="0">
                  <a:pos x="96" y="99"/>
                </a:cxn>
                <a:cxn ang="0">
                  <a:pos x="106" y="86"/>
                </a:cxn>
                <a:cxn ang="0">
                  <a:pos x="82" y="78"/>
                </a:cxn>
                <a:cxn ang="0">
                  <a:pos x="84" y="54"/>
                </a:cxn>
                <a:cxn ang="0">
                  <a:pos x="57" y="48"/>
                </a:cxn>
                <a:cxn ang="0">
                  <a:pos x="48" y="76"/>
                </a:cxn>
                <a:cxn ang="0">
                  <a:pos x="39" y="76"/>
                </a:cxn>
                <a:cxn ang="0">
                  <a:pos x="24" y="75"/>
                </a:cxn>
                <a:cxn ang="0">
                  <a:pos x="5" y="70"/>
                </a:cxn>
                <a:cxn ang="0">
                  <a:pos x="5" y="95"/>
                </a:cxn>
                <a:cxn ang="0">
                  <a:pos x="8" y="107"/>
                </a:cxn>
                <a:cxn ang="0">
                  <a:pos x="2" y="132"/>
                </a:cxn>
                <a:cxn ang="0">
                  <a:pos x="17" y="147"/>
                </a:cxn>
                <a:cxn ang="0">
                  <a:pos x="39" y="185"/>
                </a:cxn>
                <a:cxn ang="0">
                  <a:pos x="61" y="188"/>
                </a:cxn>
                <a:cxn ang="0">
                  <a:pos x="157" y="104"/>
                </a:cxn>
                <a:cxn ang="0">
                  <a:pos x="151" y="133"/>
                </a:cxn>
                <a:cxn ang="0">
                  <a:pos x="145" y="122"/>
                </a:cxn>
                <a:cxn ang="0">
                  <a:pos x="133" y="125"/>
                </a:cxn>
                <a:cxn ang="0">
                  <a:pos x="130" y="117"/>
                </a:cxn>
                <a:cxn ang="0">
                  <a:pos x="108" y="131"/>
                </a:cxn>
                <a:cxn ang="0">
                  <a:pos x="114" y="144"/>
                </a:cxn>
                <a:cxn ang="0">
                  <a:pos x="137" y="166"/>
                </a:cxn>
                <a:cxn ang="0">
                  <a:pos x="142" y="177"/>
                </a:cxn>
                <a:cxn ang="0">
                  <a:pos x="165" y="158"/>
                </a:cxn>
                <a:cxn ang="0">
                  <a:pos x="169" y="142"/>
                </a:cxn>
                <a:cxn ang="0">
                  <a:pos x="12" y="151"/>
                </a:cxn>
                <a:cxn ang="0">
                  <a:pos x="249" y="169"/>
                </a:cxn>
                <a:cxn ang="0">
                  <a:pos x="174" y="134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7" name="Slowenien" descr="© INSCALE GmbH, 05.05.2010&#10;http://www.presentationload.com/">
              <a:extLst>
                <a:ext uri="{FF2B5EF4-FFF2-40B4-BE49-F238E27FC236}">
                  <a16:creationId xmlns:a16="http://schemas.microsoft.com/office/drawing/2014/main" id="{36641629-2627-4C34-B26D-DF329555F4F2}"/>
                </a:ext>
              </a:extLst>
            </p:cNvPr>
            <p:cNvSpPr>
              <a:spLocks/>
            </p:cNvSpPr>
            <p:nvPr/>
          </p:nvSpPr>
          <p:spPr bwMode="gray">
            <a:xfrm>
              <a:off x="7562354" y="4229664"/>
              <a:ext cx="583559" cy="294150"/>
            </a:xfrm>
            <a:custGeom>
              <a:avLst/>
              <a:gdLst/>
              <a:ahLst/>
              <a:cxnLst>
                <a:cxn ang="0">
                  <a:pos x="119" y="13"/>
                </a:cxn>
                <a:cxn ang="0">
                  <a:pos x="108" y="13"/>
                </a:cxn>
                <a:cxn ang="0">
                  <a:pos x="96" y="20"/>
                </a:cxn>
                <a:cxn ang="0">
                  <a:pos x="83" y="20"/>
                </a:cxn>
                <a:cxn ang="0">
                  <a:pos x="68" y="22"/>
                </a:cxn>
                <a:cxn ang="0">
                  <a:pos x="59" y="30"/>
                </a:cxn>
                <a:cxn ang="0">
                  <a:pos x="46" y="34"/>
                </a:cxn>
                <a:cxn ang="0">
                  <a:pos x="33" y="33"/>
                </a:cxn>
                <a:cxn ang="0">
                  <a:pos x="18" y="31"/>
                </a:cxn>
                <a:cxn ang="0">
                  <a:pos x="15" y="36"/>
                </a:cxn>
                <a:cxn ang="0">
                  <a:pos x="0" y="45"/>
                </a:cxn>
                <a:cxn ang="0">
                  <a:pos x="14" y="53"/>
                </a:cxn>
                <a:cxn ang="0">
                  <a:pos x="5" y="68"/>
                </a:cxn>
                <a:cxn ang="0">
                  <a:pos x="11" y="78"/>
                </a:cxn>
                <a:cxn ang="0">
                  <a:pos x="18" y="91"/>
                </a:cxn>
                <a:cxn ang="0">
                  <a:pos x="7" y="99"/>
                </a:cxn>
                <a:cxn ang="0">
                  <a:pos x="19" y="98"/>
                </a:cxn>
                <a:cxn ang="0">
                  <a:pos x="32" y="97"/>
                </a:cxn>
                <a:cxn ang="0">
                  <a:pos x="52" y="93"/>
                </a:cxn>
                <a:cxn ang="0">
                  <a:pos x="55" y="88"/>
                </a:cxn>
                <a:cxn ang="0">
                  <a:pos x="58" y="88"/>
                </a:cxn>
                <a:cxn ang="0">
                  <a:pos x="72" y="97"/>
                </a:cxn>
                <a:cxn ang="0">
                  <a:pos x="80" y="96"/>
                </a:cxn>
                <a:cxn ang="0">
                  <a:pos x="94" y="94"/>
                </a:cxn>
                <a:cxn ang="0">
                  <a:pos x="95" y="83"/>
                </a:cxn>
                <a:cxn ang="0">
                  <a:pos x="85" y="80"/>
                </a:cxn>
                <a:cxn ang="0">
                  <a:pos x="107" y="71"/>
                </a:cxn>
                <a:cxn ang="0">
                  <a:pos x="102" y="50"/>
                </a:cxn>
                <a:cxn ang="0">
                  <a:pos x="124" y="31"/>
                </a:cxn>
                <a:cxn ang="0">
                  <a:pos x="132" y="23"/>
                </a:cxn>
                <a:cxn ang="0">
                  <a:pos x="145" y="20"/>
                </a:cxn>
                <a:cxn ang="0">
                  <a:pos x="137" y="11"/>
                </a:cxn>
                <a:cxn ang="0">
                  <a:pos x="133" y="3"/>
                </a:cxn>
                <a:cxn ang="0">
                  <a:pos x="121" y="3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8" name="Monaco" descr="© INSCALE GmbH, 05.05.2010&#10;http://www.presentationload.com/">
              <a:extLst>
                <a:ext uri="{FF2B5EF4-FFF2-40B4-BE49-F238E27FC236}">
                  <a16:creationId xmlns:a16="http://schemas.microsoft.com/office/drawing/2014/main" id="{A9F96758-8BA3-4A03-A6C8-24CC07969A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06814" y="4831333"/>
              <a:ext cx="34735" cy="15042"/>
            </a:xfrm>
            <a:custGeom>
              <a:avLst/>
              <a:gdLst/>
              <a:ahLst/>
              <a:cxnLst>
                <a:cxn ang="0">
                  <a:pos x="4" y="1"/>
                </a:cxn>
                <a:cxn ang="0">
                  <a:pos x="4" y="5"/>
                </a:cxn>
                <a:cxn ang="0">
                  <a:pos x="6" y="5"/>
                </a:cxn>
                <a:cxn ang="0">
                  <a:pos x="9" y="3"/>
                </a:cxn>
                <a:cxn ang="0">
                  <a:pos x="4" y="1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0" name="Schweiz" descr="© INSCALE GmbH, 05.05.2010&#10;http://www.presentationload.com/">
              <a:extLst>
                <a:ext uri="{FF2B5EF4-FFF2-40B4-BE49-F238E27FC236}">
                  <a16:creationId xmlns:a16="http://schemas.microsoft.com/office/drawing/2014/main" id="{74B1919C-ACF6-4B7C-94F9-8070548A5998}"/>
                </a:ext>
              </a:extLst>
            </p:cNvPr>
            <p:cNvSpPr>
              <a:spLocks/>
            </p:cNvSpPr>
            <p:nvPr/>
          </p:nvSpPr>
          <p:spPr bwMode="gray">
            <a:xfrm>
              <a:off x="6193769" y="4075904"/>
              <a:ext cx="835971" cy="372700"/>
            </a:xfrm>
            <a:custGeom>
              <a:avLst/>
              <a:gdLst/>
              <a:ahLst/>
              <a:cxnLst>
                <a:cxn ang="0">
                  <a:pos x="208" y="59"/>
                </a:cxn>
                <a:cxn ang="0">
                  <a:pos x="194" y="63"/>
                </a:cxn>
                <a:cxn ang="0">
                  <a:pos x="179" y="59"/>
                </a:cxn>
                <a:cxn ang="0">
                  <a:pos x="164" y="49"/>
                </a:cxn>
                <a:cxn ang="0">
                  <a:pos x="162" y="39"/>
                </a:cxn>
                <a:cxn ang="0">
                  <a:pos x="172" y="18"/>
                </a:cxn>
                <a:cxn ang="0">
                  <a:pos x="148" y="9"/>
                </a:cxn>
                <a:cxn ang="0">
                  <a:pos x="135" y="4"/>
                </a:cxn>
                <a:cxn ang="0">
                  <a:pos x="128" y="2"/>
                </a:cxn>
                <a:cxn ang="0">
                  <a:pos x="118" y="8"/>
                </a:cxn>
                <a:cxn ang="0">
                  <a:pos x="125" y="14"/>
                </a:cxn>
                <a:cxn ang="0">
                  <a:pos x="112" y="13"/>
                </a:cxn>
                <a:cxn ang="0">
                  <a:pos x="83" y="15"/>
                </a:cxn>
                <a:cxn ang="0">
                  <a:pos x="81" y="13"/>
                </a:cxn>
                <a:cxn ang="0">
                  <a:pos x="73" y="16"/>
                </a:cxn>
                <a:cxn ang="0">
                  <a:pos x="61" y="24"/>
                </a:cxn>
                <a:cxn ang="0">
                  <a:pos x="46" y="27"/>
                </a:cxn>
                <a:cxn ang="0">
                  <a:pos x="35" y="47"/>
                </a:cxn>
                <a:cxn ang="0">
                  <a:pos x="24" y="64"/>
                </a:cxn>
                <a:cxn ang="0">
                  <a:pos x="9" y="90"/>
                </a:cxn>
                <a:cxn ang="0">
                  <a:pos x="0" y="97"/>
                </a:cxn>
                <a:cxn ang="0">
                  <a:pos x="8" y="103"/>
                </a:cxn>
                <a:cxn ang="0">
                  <a:pos x="12" y="93"/>
                </a:cxn>
                <a:cxn ang="0">
                  <a:pos x="40" y="87"/>
                </a:cxn>
                <a:cxn ang="0">
                  <a:pos x="41" y="98"/>
                </a:cxn>
                <a:cxn ang="0">
                  <a:pos x="41" y="107"/>
                </a:cxn>
                <a:cxn ang="0">
                  <a:pos x="48" y="120"/>
                </a:cxn>
                <a:cxn ang="0">
                  <a:pos x="52" y="124"/>
                </a:cxn>
                <a:cxn ang="0">
                  <a:pos x="64" y="121"/>
                </a:cxn>
                <a:cxn ang="0">
                  <a:pos x="82" y="122"/>
                </a:cxn>
                <a:cxn ang="0">
                  <a:pos x="92" y="116"/>
                </a:cxn>
                <a:cxn ang="0">
                  <a:pos x="100" y="107"/>
                </a:cxn>
                <a:cxn ang="0">
                  <a:pos x="99" y="96"/>
                </a:cxn>
                <a:cxn ang="0">
                  <a:pos x="107" y="93"/>
                </a:cxn>
                <a:cxn ang="0">
                  <a:pos x="112" y="88"/>
                </a:cxn>
                <a:cxn ang="0">
                  <a:pos x="112" y="99"/>
                </a:cxn>
                <a:cxn ang="0">
                  <a:pos x="121" y="110"/>
                </a:cxn>
                <a:cxn ang="0">
                  <a:pos x="132" y="114"/>
                </a:cxn>
                <a:cxn ang="0">
                  <a:pos x="131" y="119"/>
                </a:cxn>
                <a:cxn ang="0">
                  <a:pos x="139" y="129"/>
                </a:cxn>
                <a:cxn ang="0">
                  <a:pos x="138" y="122"/>
                </a:cxn>
                <a:cxn ang="0">
                  <a:pos x="141" y="114"/>
                </a:cxn>
                <a:cxn ang="0">
                  <a:pos x="150" y="102"/>
                </a:cxn>
                <a:cxn ang="0">
                  <a:pos x="150" y="91"/>
                </a:cxn>
                <a:cxn ang="0">
                  <a:pos x="157" y="88"/>
                </a:cxn>
                <a:cxn ang="0">
                  <a:pos x="164" y="99"/>
                </a:cxn>
                <a:cxn ang="0">
                  <a:pos x="182" y="95"/>
                </a:cxn>
                <a:cxn ang="0">
                  <a:pos x="187" y="103"/>
                </a:cxn>
                <a:cxn ang="0">
                  <a:pos x="190" y="105"/>
                </a:cxn>
                <a:cxn ang="0">
                  <a:pos x="193" y="93"/>
                </a:cxn>
                <a:cxn ang="0">
                  <a:pos x="188" y="92"/>
                </a:cxn>
                <a:cxn ang="0">
                  <a:pos x="196" y="77"/>
                </a:cxn>
                <a:cxn ang="0">
                  <a:pos x="207" y="86"/>
                </a:cxn>
                <a:cxn ang="0">
                  <a:pos x="204" y="79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1" name="Liechtenstein" descr="© INSCALE GmbH, 05.05.2010&#10;http://www.presentationload.com/">
              <a:extLst>
                <a:ext uri="{FF2B5EF4-FFF2-40B4-BE49-F238E27FC236}">
                  <a16:creationId xmlns:a16="http://schemas.microsoft.com/office/drawing/2014/main" id="{8799FB18-01C5-4AE2-A359-A14F1CEF007A}"/>
                </a:ext>
              </a:extLst>
            </p:cNvPr>
            <p:cNvSpPr>
              <a:spLocks/>
            </p:cNvSpPr>
            <p:nvPr/>
          </p:nvSpPr>
          <p:spPr bwMode="gray">
            <a:xfrm>
              <a:off x="6828273" y="4187881"/>
              <a:ext cx="34735" cy="3008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4" y="0"/>
                </a:cxn>
                <a:cxn ang="0">
                  <a:pos x="2" y="7"/>
                </a:cxn>
                <a:cxn ang="0">
                  <a:pos x="6" y="10"/>
                </a:cxn>
                <a:cxn ang="0">
                  <a:pos x="9" y="9"/>
                </a:cxn>
                <a:cxn ang="0">
                  <a:pos x="7" y="0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2" name="Öster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EFBF1580-09FC-4D9C-8B98-AE576752C588}"/>
                </a:ext>
              </a:extLst>
            </p:cNvPr>
            <p:cNvSpPr>
              <a:spLocks/>
            </p:cNvSpPr>
            <p:nvPr/>
          </p:nvSpPr>
          <p:spPr bwMode="gray">
            <a:xfrm>
              <a:off x="6844484" y="3840250"/>
              <a:ext cx="1377845" cy="496377"/>
            </a:xfrm>
            <a:custGeom>
              <a:avLst/>
              <a:gdLst/>
              <a:ahLst/>
              <a:cxnLst>
                <a:cxn ang="0">
                  <a:pos x="335" y="43"/>
                </a:cxn>
                <a:cxn ang="0">
                  <a:pos x="332" y="17"/>
                </a:cxn>
                <a:cxn ang="0">
                  <a:pos x="320" y="11"/>
                </a:cxn>
                <a:cxn ang="0">
                  <a:pos x="293" y="14"/>
                </a:cxn>
                <a:cxn ang="0">
                  <a:pos x="267" y="2"/>
                </a:cxn>
                <a:cxn ang="0">
                  <a:pos x="251" y="0"/>
                </a:cxn>
                <a:cxn ang="0">
                  <a:pos x="237" y="14"/>
                </a:cxn>
                <a:cxn ang="0">
                  <a:pos x="228" y="26"/>
                </a:cxn>
                <a:cxn ang="0">
                  <a:pos x="217" y="31"/>
                </a:cxn>
                <a:cxn ang="0">
                  <a:pos x="205" y="25"/>
                </a:cxn>
                <a:cxn ang="0">
                  <a:pos x="193" y="18"/>
                </a:cxn>
                <a:cxn ang="0">
                  <a:pos x="177" y="31"/>
                </a:cxn>
                <a:cxn ang="0">
                  <a:pos x="149" y="60"/>
                </a:cxn>
                <a:cxn ang="0">
                  <a:pos x="156" y="88"/>
                </a:cxn>
                <a:cxn ang="0">
                  <a:pos x="150" y="98"/>
                </a:cxn>
                <a:cxn ang="0">
                  <a:pos x="126" y="91"/>
                </a:cxn>
                <a:cxn ang="0">
                  <a:pos x="110" y="95"/>
                </a:cxn>
                <a:cxn ang="0">
                  <a:pos x="90" y="107"/>
                </a:cxn>
                <a:cxn ang="0">
                  <a:pos x="69" y="110"/>
                </a:cxn>
                <a:cxn ang="0">
                  <a:pos x="51" y="99"/>
                </a:cxn>
                <a:cxn ang="0">
                  <a:pos x="34" y="117"/>
                </a:cxn>
                <a:cxn ang="0">
                  <a:pos x="27" y="104"/>
                </a:cxn>
                <a:cxn ang="0">
                  <a:pos x="10" y="99"/>
                </a:cxn>
                <a:cxn ang="0">
                  <a:pos x="3" y="120"/>
                </a:cxn>
                <a:cxn ang="0">
                  <a:pos x="18" y="133"/>
                </a:cxn>
                <a:cxn ang="0">
                  <a:pos x="32" y="144"/>
                </a:cxn>
                <a:cxn ang="0">
                  <a:pos x="45" y="146"/>
                </a:cxn>
                <a:cxn ang="0">
                  <a:pos x="57" y="149"/>
                </a:cxn>
                <a:cxn ang="0">
                  <a:pos x="76" y="138"/>
                </a:cxn>
                <a:cxn ang="0">
                  <a:pos x="104" y="139"/>
                </a:cxn>
                <a:cxn ang="0">
                  <a:pos x="125" y="128"/>
                </a:cxn>
                <a:cxn ang="0">
                  <a:pos x="127" y="142"/>
                </a:cxn>
                <a:cxn ang="0">
                  <a:pos x="134" y="156"/>
                </a:cxn>
                <a:cxn ang="0">
                  <a:pos x="169" y="160"/>
                </a:cxn>
                <a:cxn ang="0">
                  <a:pos x="197" y="165"/>
                </a:cxn>
                <a:cxn ang="0">
                  <a:pos x="214" y="170"/>
                </a:cxn>
                <a:cxn ang="0">
                  <a:pos x="238" y="164"/>
                </a:cxn>
                <a:cxn ang="0">
                  <a:pos x="256" y="153"/>
                </a:cxn>
                <a:cxn ang="0">
                  <a:pos x="275" y="154"/>
                </a:cxn>
                <a:cxn ang="0">
                  <a:pos x="295" y="149"/>
                </a:cxn>
                <a:cxn ang="0">
                  <a:pos x="300" y="137"/>
                </a:cxn>
                <a:cxn ang="0">
                  <a:pos x="320" y="118"/>
                </a:cxn>
                <a:cxn ang="0">
                  <a:pos x="313" y="104"/>
                </a:cxn>
                <a:cxn ang="0">
                  <a:pos x="317" y="86"/>
                </a:cxn>
                <a:cxn ang="0">
                  <a:pos x="328" y="82"/>
                </a:cxn>
                <a:cxn ang="0">
                  <a:pos x="339" y="69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3" name="Malta" descr="© INSCALE GmbH, 05.05.2010&#10;http://www.presentationload.com/">
              <a:extLst>
                <a:ext uri="{FF2B5EF4-FFF2-40B4-BE49-F238E27FC236}">
                  <a16:creationId xmlns:a16="http://schemas.microsoft.com/office/drawing/2014/main" id="{BEDC9011-7E54-4814-A0A3-3D03784C513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807817" y="6265314"/>
              <a:ext cx="92628" cy="58495"/>
            </a:xfrm>
            <a:custGeom>
              <a:avLst/>
              <a:gdLst/>
              <a:ahLst/>
              <a:cxnLst>
                <a:cxn ang="0">
                  <a:pos x="7" y="3"/>
                </a:cxn>
                <a:cxn ang="0">
                  <a:pos x="2" y="4"/>
                </a:cxn>
                <a:cxn ang="0">
                  <a:pos x="5" y="8"/>
                </a:cxn>
                <a:cxn ang="0">
                  <a:pos x="7" y="3"/>
                </a:cxn>
                <a:cxn ang="0">
                  <a:pos x="16" y="11"/>
                </a:cxn>
                <a:cxn ang="0">
                  <a:pos x="14" y="12"/>
                </a:cxn>
                <a:cxn ang="0">
                  <a:pos x="11" y="9"/>
                </a:cxn>
                <a:cxn ang="0">
                  <a:pos x="9" y="11"/>
                </a:cxn>
                <a:cxn ang="0">
                  <a:pos x="10" y="15"/>
                </a:cxn>
                <a:cxn ang="0">
                  <a:pos x="19" y="20"/>
                </a:cxn>
                <a:cxn ang="0">
                  <a:pos x="23" y="15"/>
                </a:cxn>
                <a:cxn ang="0">
                  <a:pos x="16" y="11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4" name="Großbritannien" descr="© INSCALE GmbH, 05.05.2010&#10;http://www.presentationload.com/">
              <a:extLst>
                <a:ext uri="{FF2B5EF4-FFF2-40B4-BE49-F238E27FC236}">
                  <a16:creationId xmlns:a16="http://schemas.microsoft.com/office/drawing/2014/main" id="{D38AD9E4-8984-4ECA-8876-F207D084A63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199945" y="1522150"/>
              <a:ext cx="1433422" cy="1942057"/>
            </a:xfrm>
            <a:custGeom>
              <a:avLst/>
              <a:gdLst/>
              <a:ahLst/>
              <a:cxnLst>
                <a:cxn ang="0">
                  <a:pos x="281" y="467"/>
                </a:cxn>
                <a:cxn ang="0">
                  <a:pos x="290" y="431"/>
                </a:cxn>
                <a:cxn ang="0">
                  <a:pos x="245" y="321"/>
                </a:cxn>
                <a:cxn ang="0">
                  <a:pos x="210" y="295"/>
                </a:cxn>
                <a:cxn ang="0">
                  <a:pos x="257" y="247"/>
                </a:cxn>
                <a:cxn ang="0">
                  <a:pos x="197" y="186"/>
                </a:cxn>
                <a:cxn ang="0">
                  <a:pos x="248" y="141"/>
                </a:cxn>
                <a:cxn ang="0">
                  <a:pos x="191" y="133"/>
                </a:cxn>
                <a:cxn ang="0">
                  <a:pos x="164" y="140"/>
                </a:cxn>
                <a:cxn ang="0">
                  <a:pos x="143" y="161"/>
                </a:cxn>
                <a:cxn ang="0">
                  <a:pos x="146" y="202"/>
                </a:cxn>
                <a:cxn ang="0">
                  <a:pos x="111" y="230"/>
                </a:cxn>
                <a:cxn ang="0">
                  <a:pos x="127" y="247"/>
                </a:cxn>
                <a:cxn ang="0">
                  <a:pos x="131" y="260"/>
                </a:cxn>
                <a:cxn ang="0">
                  <a:pos x="101" y="317"/>
                </a:cxn>
                <a:cxn ang="0">
                  <a:pos x="142" y="276"/>
                </a:cxn>
                <a:cxn ang="0">
                  <a:pos x="148" y="287"/>
                </a:cxn>
                <a:cxn ang="0">
                  <a:pos x="127" y="344"/>
                </a:cxn>
                <a:cxn ang="0">
                  <a:pos x="145" y="363"/>
                </a:cxn>
                <a:cxn ang="0">
                  <a:pos x="188" y="366"/>
                </a:cxn>
                <a:cxn ang="0">
                  <a:pos x="180" y="416"/>
                </a:cxn>
                <a:cxn ang="0">
                  <a:pos x="186" y="472"/>
                </a:cxn>
                <a:cxn ang="0">
                  <a:pos x="109" y="492"/>
                </a:cxn>
                <a:cxn ang="0">
                  <a:pos x="102" y="536"/>
                </a:cxn>
                <a:cxn ang="0">
                  <a:pos x="74" y="560"/>
                </a:cxn>
                <a:cxn ang="0">
                  <a:pos x="109" y="569"/>
                </a:cxn>
                <a:cxn ang="0">
                  <a:pos x="171" y="582"/>
                </a:cxn>
                <a:cxn ang="0">
                  <a:pos x="55" y="640"/>
                </a:cxn>
                <a:cxn ang="0">
                  <a:pos x="62" y="657"/>
                </a:cxn>
                <a:cxn ang="0">
                  <a:pos x="122" y="645"/>
                </a:cxn>
                <a:cxn ang="0">
                  <a:pos x="201" y="649"/>
                </a:cxn>
                <a:cxn ang="0">
                  <a:pos x="310" y="653"/>
                </a:cxn>
                <a:cxn ang="0">
                  <a:pos x="295" y="614"/>
                </a:cxn>
                <a:cxn ang="0">
                  <a:pos x="319" y="598"/>
                </a:cxn>
                <a:cxn ang="0">
                  <a:pos x="209" y="650"/>
                </a:cxn>
                <a:cxn ang="0">
                  <a:pos x="121" y="471"/>
                </a:cxn>
                <a:cxn ang="0">
                  <a:pos x="139" y="396"/>
                </a:cxn>
                <a:cxn ang="0">
                  <a:pos x="138" y="302"/>
                </a:cxn>
                <a:cxn ang="0">
                  <a:pos x="89" y="291"/>
                </a:cxn>
                <a:cxn ang="0">
                  <a:pos x="109" y="281"/>
                </a:cxn>
                <a:cxn ang="0">
                  <a:pos x="88" y="238"/>
                </a:cxn>
                <a:cxn ang="0">
                  <a:pos x="112" y="235"/>
                </a:cxn>
                <a:cxn ang="0">
                  <a:pos x="103" y="260"/>
                </a:cxn>
                <a:cxn ang="0">
                  <a:pos x="117" y="217"/>
                </a:cxn>
                <a:cxn ang="0">
                  <a:pos x="82" y="197"/>
                </a:cxn>
                <a:cxn ang="0">
                  <a:pos x="88" y="177"/>
                </a:cxn>
                <a:cxn ang="0">
                  <a:pos x="114" y="176"/>
                </a:cxn>
                <a:cxn ang="0">
                  <a:pos x="127" y="203"/>
                </a:cxn>
                <a:cxn ang="0">
                  <a:pos x="135" y="173"/>
                </a:cxn>
                <a:cxn ang="0">
                  <a:pos x="81" y="165"/>
                </a:cxn>
                <a:cxn ang="0">
                  <a:pos x="141" y="134"/>
                </a:cxn>
                <a:cxn ang="0">
                  <a:pos x="104" y="132"/>
                </a:cxn>
                <a:cxn ang="0">
                  <a:pos x="242" y="113"/>
                </a:cxn>
                <a:cxn ang="0">
                  <a:pos x="256" y="107"/>
                </a:cxn>
                <a:cxn ang="0">
                  <a:pos x="259" y="94"/>
                </a:cxn>
                <a:cxn ang="0">
                  <a:pos x="310" y="82"/>
                </a:cxn>
                <a:cxn ang="0">
                  <a:pos x="282" y="93"/>
                </a:cxn>
                <a:cxn ang="0">
                  <a:pos x="339" y="23"/>
                </a:cxn>
                <a:cxn ang="0">
                  <a:pos x="357" y="3"/>
                </a:cxn>
                <a:cxn ang="0">
                  <a:pos x="49" y="396"/>
                </a:cxn>
                <a:cxn ang="0">
                  <a:pos x="96" y="386"/>
                </a:cxn>
                <a:cxn ang="0">
                  <a:pos x="34" y="332"/>
                </a:cxn>
                <a:cxn ang="0">
                  <a:pos x="13" y="377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6" name="Ir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F7BA270-FF9C-4AB0-9C62-7DDF643E98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648810" y="2397914"/>
              <a:ext cx="819760" cy="671865"/>
            </a:xfrm>
            <a:custGeom>
              <a:avLst/>
              <a:gdLst/>
              <a:ahLst/>
              <a:cxnLst>
                <a:cxn ang="0">
                  <a:pos x="55" y="68"/>
                </a:cxn>
                <a:cxn ang="0">
                  <a:pos x="52" y="60"/>
                </a:cxn>
                <a:cxn ang="0">
                  <a:pos x="57" y="74"/>
                </a:cxn>
                <a:cxn ang="0">
                  <a:pos x="45" y="85"/>
                </a:cxn>
                <a:cxn ang="0">
                  <a:pos x="56" y="117"/>
                </a:cxn>
                <a:cxn ang="0">
                  <a:pos x="49" y="119"/>
                </a:cxn>
                <a:cxn ang="0">
                  <a:pos x="201" y="95"/>
                </a:cxn>
                <a:cxn ang="0">
                  <a:pos x="183" y="84"/>
                </a:cxn>
                <a:cxn ang="0">
                  <a:pos x="159" y="82"/>
                </a:cxn>
                <a:cxn ang="0">
                  <a:pos x="142" y="53"/>
                </a:cxn>
                <a:cxn ang="0">
                  <a:pos x="149" y="43"/>
                </a:cxn>
                <a:cxn ang="0">
                  <a:pos x="170" y="36"/>
                </a:cxn>
                <a:cxn ang="0">
                  <a:pos x="186" y="20"/>
                </a:cxn>
                <a:cxn ang="0">
                  <a:pos x="184" y="9"/>
                </a:cxn>
                <a:cxn ang="0">
                  <a:pos x="174" y="22"/>
                </a:cxn>
                <a:cxn ang="0">
                  <a:pos x="172" y="17"/>
                </a:cxn>
                <a:cxn ang="0">
                  <a:pos x="168" y="13"/>
                </a:cxn>
                <a:cxn ang="0">
                  <a:pos x="161" y="13"/>
                </a:cxn>
                <a:cxn ang="0">
                  <a:pos x="145" y="8"/>
                </a:cxn>
                <a:cxn ang="0">
                  <a:pos x="131" y="26"/>
                </a:cxn>
                <a:cxn ang="0">
                  <a:pos x="126" y="44"/>
                </a:cxn>
                <a:cxn ang="0">
                  <a:pos x="125" y="52"/>
                </a:cxn>
                <a:cxn ang="0">
                  <a:pos x="103" y="56"/>
                </a:cxn>
                <a:cxn ang="0">
                  <a:pos x="84" y="51"/>
                </a:cxn>
                <a:cxn ang="0">
                  <a:pos x="67" y="47"/>
                </a:cxn>
                <a:cxn ang="0">
                  <a:pos x="63" y="57"/>
                </a:cxn>
                <a:cxn ang="0">
                  <a:pos x="64" y="70"/>
                </a:cxn>
                <a:cxn ang="0">
                  <a:pos x="58" y="79"/>
                </a:cxn>
                <a:cxn ang="0">
                  <a:pos x="44" y="90"/>
                </a:cxn>
                <a:cxn ang="0">
                  <a:pos x="55" y="104"/>
                </a:cxn>
                <a:cxn ang="0">
                  <a:pos x="62" y="107"/>
                </a:cxn>
                <a:cxn ang="0">
                  <a:pos x="84" y="121"/>
                </a:cxn>
                <a:cxn ang="0">
                  <a:pos x="60" y="135"/>
                </a:cxn>
                <a:cxn ang="0">
                  <a:pos x="47" y="150"/>
                </a:cxn>
                <a:cxn ang="0">
                  <a:pos x="71" y="152"/>
                </a:cxn>
                <a:cxn ang="0">
                  <a:pos x="75" y="159"/>
                </a:cxn>
                <a:cxn ang="0">
                  <a:pos x="34" y="164"/>
                </a:cxn>
                <a:cxn ang="0">
                  <a:pos x="21" y="172"/>
                </a:cxn>
                <a:cxn ang="0">
                  <a:pos x="19" y="181"/>
                </a:cxn>
                <a:cxn ang="0">
                  <a:pos x="2" y="199"/>
                </a:cxn>
                <a:cxn ang="0">
                  <a:pos x="14" y="210"/>
                </a:cxn>
                <a:cxn ang="0">
                  <a:pos x="33" y="211"/>
                </a:cxn>
                <a:cxn ang="0">
                  <a:pos x="22" y="224"/>
                </a:cxn>
                <a:cxn ang="0">
                  <a:pos x="35" y="230"/>
                </a:cxn>
                <a:cxn ang="0">
                  <a:pos x="61" y="230"/>
                </a:cxn>
                <a:cxn ang="0">
                  <a:pos x="87" y="215"/>
                </a:cxn>
                <a:cxn ang="0">
                  <a:pos x="112" y="218"/>
                </a:cxn>
                <a:cxn ang="0">
                  <a:pos x="141" y="204"/>
                </a:cxn>
                <a:cxn ang="0">
                  <a:pos x="150" y="210"/>
                </a:cxn>
                <a:cxn ang="0">
                  <a:pos x="164" y="201"/>
                </a:cxn>
                <a:cxn ang="0">
                  <a:pos x="184" y="177"/>
                </a:cxn>
                <a:cxn ang="0">
                  <a:pos x="195" y="135"/>
                </a:cxn>
                <a:cxn ang="0">
                  <a:pos x="204" y="102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7" name="Frankreich" descr="© INSCALE GmbH, 05.05.2010&#10;http://www.presentationload.com/">
              <a:extLst>
                <a:ext uri="{FF2B5EF4-FFF2-40B4-BE49-F238E27FC236}">
                  <a16:creationId xmlns:a16="http://schemas.microsoft.com/office/drawing/2014/main" id="{FFC97F58-CBE2-469F-BE9D-CF4B9A91490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31941" y="3400697"/>
              <a:ext cx="2514857" cy="1888576"/>
            </a:xfrm>
            <a:custGeom>
              <a:avLst/>
              <a:gdLst/>
              <a:ahLst/>
              <a:cxnLst>
                <a:cxn ang="0">
                  <a:pos x="540" y="142"/>
                </a:cxn>
                <a:cxn ang="0">
                  <a:pos x="511" y="136"/>
                </a:cxn>
                <a:cxn ang="0">
                  <a:pos x="481" y="122"/>
                </a:cxn>
                <a:cxn ang="0">
                  <a:pos x="450" y="105"/>
                </a:cxn>
                <a:cxn ang="0">
                  <a:pos x="432" y="71"/>
                </a:cxn>
                <a:cxn ang="0">
                  <a:pos x="405" y="74"/>
                </a:cxn>
                <a:cxn ang="0">
                  <a:pos x="378" y="42"/>
                </a:cxn>
                <a:cxn ang="0">
                  <a:pos x="355" y="28"/>
                </a:cxn>
                <a:cxn ang="0">
                  <a:pos x="345" y="8"/>
                </a:cxn>
                <a:cxn ang="0">
                  <a:pos x="295" y="48"/>
                </a:cxn>
                <a:cxn ang="0">
                  <a:pos x="236" y="78"/>
                </a:cxn>
                <a:cxn ang="0">
                  <a:pos x="211" y="105"/>
                </a:cxn>
                <a:cxn ang="0">
                  <a:pos x="167" y="79"/>
                </a:cxn>
                <a:cxn ang="0">
                  <a:pos x="144" y="74"/>
                </a:cxn>
                <a:cxn ang="0">
                  <a:pos x="149" y="114"/>
                </a:cxn>
                <a:cxn ang="0">
                  <a:pos x="130" y="130"/>
                </a:cxn>
                <a:cxn ang="0">
                  <a:pos x="112" y="127"/>
                </a:cxn>
                <a:cxn ang="0">
                  <a:pos x="50" y="114"/>
                </a:cxn>
                <a:cxn ang="0">
                  <a:pos x="4" y="130"/>
                </a:cxn>
                <a:cxn ang="0">
                  <a:pos x="8" y="138"/>
                </a:cxn>
                <a:cxn ang="0">
                  <a:pos x="1" y="153"/>
                </a:cxn>
                <a:cxn ang="0">
                  <a:pos x="35" y="169"/>
                </a:cxn>
                <a:cxn ang="0">
                  <a:pos x="66" y="181"/>
                </a:cxn>
                <a:cxn ang="0">
                  <a:pos x="73" y="194"/>
                </a:cxn>
                <a:cxn ang="0">
                  <a:pos x="97" y="220"/>
                </a:cxn>
                <a:cxn ang="0">
                  <a:pos x="97" y="226"/>
                </a:cxn>
                <a:cxn ang="0">
                  <a:pos x="109" y="273"/>
                </a:cxn>
                <a:cxn ang="0">
                  <a:pos x="138" y="306"/>
                </a:cxn>
                <a:cxn ang="0">
                  <a:pos x="151" y="375"/>
                </a:cxn>
                <a:cxn ang="0">
                  <a:pos x="129" y="338"/>
                </a:cxn>
                <a:cxn ang="0">
                  <a:pos x="113" y="406"/>
                </a:cxn>
                <a:cxn ang="0">
                  <a:pos x="83" y="479"/>
                </a:cxn>
                <a:cxn ang="0">
                  <a:pos x="94" y="501"/>
                </a:cxn>
                <a:cxn ang="0">
                  <a:pos x="125" y="515"/>
                </a:cxn>
                <a:cxn ang="0">
                  <a:pos x="167" y="530"/>
                </a:cxn>
                <a:cxn ang="0">
                  <a:pos x="207" y="532"/>
                </a:cxn>
                <a:cxn ang="0">
                  <a:pos x="237" y="545"/>
                </a:cxn>
                <a:cxn ang="0">
                  <a:pos x="254" y="567"/>
                </a:cxn>
                <a:cxn ang="0">
                  <a:pos x="309" y="567"/>
                </a:cxn>
                <a:cxn ang="0">
                  <a:pos x="307" y="530"/>
                </a:cxn>
                <a:cxn ang="0">
                  <a:pos x="332" y="506"/>
                </a:cxn>
                <a:cxn ang="0">
                  <a:pos x="355" y="498"/>
                </a:cxn>
                <a:cxn ang="0">
                  <a:pos x="406" y="517"/>
                </a:cxn>
                <a:cxn ang="0">
                  <a:pos x="448" y="534"/>
                </a:cxn>
                <a:cxn ang="0">
                  <a:pos x="469" y="533"/>
                </a:cxn>
                <a:cxn ang="0">
                  <a:pos x="497" y="509"/>
                </a:cxn>
                <a:cxn ang="0">
                  <a:pos x="528" y="496"/>
                </a:cxn>
                <a:cxn ang="0">
                  <a:pos x="502" y="437"/>
                </a:cxn>
                <a:cxn ang="0">
                  <a:pos x="494" y="403"/>
                </a:cxn>
                <a:cxn ang="0">
                  <a:pos x="499" y="362"/>
                </a:cxn>
                <a:cxn ang="0">
                  <a:pos x="502" y="325"/>
                </a:cxn>
                <a:cxn ang="0">
                  <a:pos x="464" y="336"/>
                </a:cxn>
                <a:cxn ang="0">
                  <a:pos x="488" y="284"/>
                </a:cxn>
                <a:cxn ang="0">
                  <a:pos x="536" y="252"/>
                </a:cxn>
                <a:cxn ang="0">
                  <a:pos x="557" y="179"/>
                </a:cxn>
                <a:cxn ang="0">
                  <a:pos x="619" y="558"/>
                </a:cxn>
                <a:cxn ang="0">
                  <a:pos x="583" y="572"/>
                </a:cxn>
                <a:cxn ang="0">
                  <a:pos x="573" y="596"/>
                </a:cxn>
                <a:cxn ang="0">
                  <a:pos x="577" y="627"/>
                </a:cxn>
                <a:cxn ang="0">
                  <a:pos x="597" y="646"/>
                </a:cxn>
                <a:cxn ang="0">
                  <a:pos x="621" y="571"/>
                </a:cxn>
                <a:cxn ang="0">
                  <a:pos x="126" y="100"/>
                </a:cxn>
                <a:cxn ang="0">
                  <a:pos x="113" y="7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9" name="Portugal" descr="© INSCALE GmbH, 05.05.2010&#10;http://www.presentationload.com/">
              <a:extLst>
                <a:ext uri="{FF2B5EF4-FFF2-40B4-BE49-F238E27FC236}">
                  <a16:creationId xmlns:a16="http://schemas.microsoft.com/office/drawing/2014/main" id="{EC554984-83D9-4FCA-9F5F-31E7E512380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4625" y="4819635"/>
              <a:ext cx="817442" cy="974371"/>
            </a:xfrm>
            <a:custGeom>
              <a:avLst/>
              <a:gdLst/>
              <a:ahLst/>
              <a:cxnLst>
                <a:cxn ang="0">
                  <a:pos x="89" y="295"/>
                </a:cxn>
                <a:cxn ang="0">
                  <a:pos x="102" y="279"/>
                </a:cxn>
                <a:cxn ang="0">
                  <a:pos x="120" y="271"/>
                </a:cxn>
                <a:cxn ang="0">
                  <a:pos x="113" y="267"/>
                </a:cxn>
                <a:cxn ang="0">
                  <a:pos x="113" y="231"/>
                </a:cxn>
                <a:cxn ang="0">
                  <a:pos x="133" y="213"/>
                </a:cxn>
                <a:cxn ang="0">
                  <a:pos x="118" y="190"/>
                </a:cxn>
                <a:cxn ang="0">
                  <a:pos x="117" y="183"/>
                </a:cxn>
                <a:cxn ang="0">
                  <a:pos x="138" y="173"/>
                </a:cxn>
                <a:cxn ang="0">
                  <a:pos x="145" y="165"/>
                </a:cxn>
                <a:cxn ang="0">
                  <a:pos x="146" y="142"/>
                </a:cxn>
                <a:cxn ang="0">
                  <a:pos x="159" y="133"/>
                </a:cxn>
                <a:cxn ang="0">
                  <a:pos x="165" y="100"/>
                </a:cxn>
                <a:cxn ang="0">
                  <a:pos x="169" y="88"/>
                </a:cxn>
                <a:cxn ang="0">
                  <a:pos x="183" y="78"/>
                </a:cxn>
                <a:cxn ang="0">
                  <a:pos x="203" y="57"/>
                </a:cxn>
                <a:cxn ang="0">
                  <a:pos x="190" y="44"/>
                </a:cxn>
                <a:cxn ang="0">
                  <a:pos x="183" y="30"/>
                </a:cxn>
                <a:cxn ang="0">
                  <a:pos x="179" y="31"/>
                </a:cxn>
                <a:cxn ang="0">
                  <a:pos x="164" y="24"/>
                </a:cxn>
                <a:cxn ang="0">
                  <a:pos x="147" y="27"/>
                </a:cxn>
                <a:cxn ang="0">
                  <a:pos x="135" y="23"/>
                </a:cxn>
                <a:cxn ang="0">
                  <a:pos x="125" y="21"/>
                </a:cxn>
                <a:cxn ang="0">
                  <a:pos x="120" y="10"/>
                </a:cxn>
                <a:cxn ang="0">
                  <a:pos x="116" y="6"/>
                </a:cxn>
                <a:cxn ang="0">
                  <a:pos x="109" y="4"/>
                </a:cxn>
                <a:cxn ang="0">
                  <a:pos x="90" y="6"/>
                </a:cxn>
                <a:cxn ang="0">
                  <a:pos x="78" y="14"/>
                </a:cxn>
                <a:cxn ang="0">
                  <a:pos x="82" y="21"/>
                </a:cxn>
                <a:cxn ang="0">
                  <a:pos x="79" y="30"/>
                </a:cxn>
                <a:cxn ang="0">
                  <a:pos x="79" y="67"/>
                </a:cxn>
                <a:cxn ang="0">
                  <a:pos x="70" y="89"/>
                </a:cxn>
                <a:cxn ang="0">
                  <a:pos x="77" y="81"/>
                </a:cxn>
                <a:cxn ang="0">
                  <a:pos x="77" y="90"/>
                </a:cxn>
                <a:cxn ang="0">
                  <a:pos x="53" y="115"/>
                </a:cxn>
                <a:cxn ang="0">
                  <a:pos x="39" y="147"/>
                </a:cxn>
                <a:cxn ang="0">
                  <a:pos x="35" y="155"/>
                </a:cxn>
                <a:cxn ang="0">
                  <a:pos x="28" y="164"/>
                </a:cxn>
                <a:cxn ang="0">
                  <a:pos x="17" y="165"/>
                </a:cxn>
                <a:cxn ang="0">
                  <a:pos x="10" y="181"/>
                </a:cxn>
                <a:cxn ang="0">
                  <a:pos x="2" y="197"/>
                </a:cxn>
                <a:cxn ang="0">
                  <a:pos x="17" y="209"/>
                </a:cxn>
                <a:cxn ang="0">
                  <a:pos x="30" y="207"/>
                </a:cxn>
                <a:cxn ang="0">
                  <a:pos x="20" y="216"/>
                </a:cxn>
                <a:cxn ang="0">
                  <a:pos x="12" y="213"/>
                </a:cxn>
                <a:cxn ang="0">
                  <a:pos x="11" y="226"/>
                </a:cxn>
                <a:cxn ang="0">
                  <a:pos x="29" y="225"/>
                </a:cxn>
                <a:cxn ang="0">
                  <a:pos x="36" y="224"/>
                </a:cxn>
                <a:cxn ang="0">
                  <a:pos x="40" y="233"/>
                </a:cxn>
                <a:cxn ang="0">
                  <a:pos x="30" y="228"/>
                </a:cxn>
                <a:cxn ang="0">
                  <a:pos x="19" y="260"/>
                </a:cxn>
                <a:cxn ang="0">
                  <a:pos x="21" y="275"/>
                </a:cxn>
                <a:cxn ang="0">
                  <a:pos x="16" y="297"/>
                </a:cxn>
                <a:cxn ang="0">
                  <a:pos x="10" y="308"/>
                </a:cxn>
                <a:cxn ang="0">
                  <a:pos x="0" y="322"/>
                </a:cxn>
                <a:cxn ang="0">
                  <a:pos x="51" y="334"/>
                </a:cxn>
                <a:cxn ang="0">
                  <a:pos x="73" y="328"/>
                </a:cxn>
                <a:cxn ang="0">
                  <a:pos x="85" y="311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0" name="Zypern" descr="© INSCALE GmbH, 05.05.2010&#10;http://www.presentationload.com/">
              <a:extLst>
                <a:ext uri="{FF2B5EF4-FFF2-40B4-BE49-F238E27FC236}">
                  <a16:creationId xmlns:a16="http://schemas.microsoft.com/office/drawing/2014/main" id="{A2308D57-B978-48D3-8645-53CAFC7C78CB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14119" y="5809048"/>
              <a:ext cx="453876" cy="305850"/>
            </a:xfrm>
            <a:custGeom>
              <a:avLst/>
              <a:gdLst/>
              <a:ahLst/>
              <a:cxnLst>
                <a:cxn ang="0">
                  <a:pos x="0" y="75"/>
                </a:cxn>
                <a:cxn ang="0">
                  <a:pos x="8" y="81"/>
                </a:cxn>
                <a:cxn ang="0">
                  <a:pos x="11" y="67"/>
                </a:cxn>
                <a:cxn ang="0">
                  <a:pos x="30" y="65"/>
                </a:cxn>
                <a:cxn ang="0">
                  <a:pos x="28" y="47"/>
                </a:cxn>
                <a:cxn ang="0">
                  <a:pos x="36" y="48"/>
                </a:cxn>
                <a:cxn ang="0">
                  <a:pos x="37" y="46"/>
                </a:cxn>
                <a:cxn ang="0">
                  <a:pos x="52" y="46"/>
                </a:cxn>
                <a:cxn ang="0">
                  <a:pos x="57" y="44"/>
                </a:cxn>
                <a:cxn ang="0">
                  <a:pos x="68" y="40"/>
                </a:cxn>
                <a:cxn ang="0">
                  <a:pos x="75" y="29"/>
                </a:cxn>
                <a:cxn ang="0">
                  <a:pos x="86" y="22"/>
                </a:cxn>
                <a:cxn ang="0">
                  <a:pos x="91" y="14"/>
                </a:cxn>
                <a:cxn ang="0">
                  <a:pos x="95" y="13"/>
                </a:cxn>
                <a:cxn ang="0">
                  <a:pos x="113" y="0"/>
                </a:cxn>
                <a:cxn ang="0">
                  <a:pos x="105" y="9"/>
                </a:cxn>
                <a:cxn ang="0">
                  <a:pos x="103" y="16"/>
                </a:cxn>
                <a:cxn ang="0">
                  <a:pos x="91" y="28"/>
                </a:cxn>
                <a:cxn ang="0">
                  <a:pos x="91" y="33"/>
                </a:cxn>
                <a:cxn ang="0">
                  <a:pos x="83" y="41"/>
                </a:cxn>
                <a:cxn ang="0">
                  <a:pos x="101" y="53"/>
                </a:cxn>
                <a:cxn ang="0">
                  <a:pos x="98" y="57"/>
                </a:cxn>
                <a:cxn ang="0">
                  <a:pos x="93" y="56"/>
                </a:cxn>
                <a:cxn ang="0">
                  <a:pos x="90" y="60"/>
                </a:cxn>
                <a:cxn ang="0">
                  <a:pos x="78" y="62"/>
                </a:cxn>
                <a:cxn ang="0">
                  <a:pos x="77" y="74"/>
                </a:cxn>
                <a:cxn ang="0">
                  <a:pos x="74" y="74"/>
                </a:cxn>
                <a:cxn ang="0">
                  <a:pos x="72" y="77"/>
                </a:cxn>
                <a:cxn ang="0">
                  <a:pos x="50" y="92"/>
                </a:cxn>
                <a:cxn ang="0">
                  <a:pos x="50" y="101"/>
                </a:cxn>
                <a:cxn ang="0">
                  <a:pos x="41" y="95"/>
                </a:cxn>
                <a:cxn ang="0">
                  <a:pos x="17" y="101"/>
                </a:cxn>
                <a:cxn ang="0">
                  <a:pos x="0" y="75"/>
                </a:cxn>
              </a:cxnLst>
              <a:rect l="0" t="0" r="r" b="b"/>
              <a:pathLst>
                <a:path w="113" h="106">
                  <a:moveTo>
                    <a:pt x="0" y="75"/>
                  </a:moveTo>
                  <a:cubicBezTo>
                    <a:pt x="0" y="75"/>
                    <a:pt x="4" y="83"/>
                    <a:pt x="8" y="81"/>
                  </a:cubicBezTo>
                  <a:cubicBezTo>
                    <a:pt x="11" y="79"/>
                    <a:pt x="7" y="72"/>
                    <a:pt x="11" y="67"/>
                  </a:cubicBezTo>
                  <a:cubicBezTo>
                    <a:pt x="16" y="64"/>
                    <a:pt x="26" y="72"/>
                    <a:pt x="30" y="65"/>
                  </a:cubicBezTo>
                  <a:cubicBezTo>
                    <a:pt x="34" y="59"/>
                    <a:pt x="28" y="47"/>
                    <a:pt x="28" y="47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7" y="44"/>
                    <a:pt x="57" y="44"/>
                    <a:pt x="57" y="44"/>
                  </a:cubicBezTo>
                  <a:cubicBezTo>
                    <a:pt x="57" y="44"/>
                    <a:pt x="64" y="43"/>
                    <a:pt x="68" y="40"/>
                  </a:cubicBezTo>
                  <a:cubicBezTo>
                    <a:pt x="72" y="36"/>
                    <a:pt x="70" y="31"/>
                    <a:pt x="75" y="29"/>
                  </a:cubicBezTo>
                  <a:cubicBezTo>
                    <a:pt x="80" y="28"/>
                    <a:pt x="82" y="25"/>
                    <a:pt x="86" y="22"/>
                  </a:cubicBezTo>
                  <a:cubicBezTo>
                    <a:pt x="90" y="19"/>
                    <a:pt x="91" y="14"/>
                    <a:pt x="91" y="14"/>
                  </a:cubicBezTo>
                  <a:cubicBezTo>
                    <a:pt x="95" y="13"/>
                    <a:pt x="95" y="13"/>
                    <a:pt x="95" y="13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3" y="16"/>
                    <a:pt x="103" y="16"/>
                    <a:pt x="103" y="16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80" y="34"/>
                    <a:pt x="83" y="41"/>
                  </a:cubicBezTo>
                  <a:cubicBezTo>
                    <a:pt x="88" y="48"/>
                    <a:pt x="101" y="53"/>
                    <a:pt x="101" y="53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81" y="59"/>
                    <a:pt x="78" y="62"/>
                  </a:cubicBezTo>
                  <a:cubicBezTo>
                    <a:pt x="75" y="64"/>
                    <a:pt x="77" y="74"/>
                    <a:pt x="77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7"/>
                    <a:pt x="72" y="77"/>
                    <a:pt x="72" y="77"/>
                  </a:cubicBezTo>
                  <a:cubicBezTo>
                    <a:pt x="72" y="77"/>
                    <a:pt x="52" y="87"/>
                    <a:pt x="50" y="92"/>
                  </a:cubicBezTo>
                  <a:cubicBezTo>
                    <a:pt x="49" y="96"/>
                    <a:pt x="54" y="101"/>
                    <a:pt x="50" y="101"/>
                  </a:cubicBezTo>
                  <a:cubicBezTo>
                    <a:pt x="45" y="103"/>
                    <a:pt x="41" y="95"/>
                    <a:pt x="41" y="95"/>
                  </a:cubicBezTo>
                  <a:cubicBezTo>
                    <a:pt x="41" y="95"/>
                    <a:pt x="27" y="106"/>
                    <a:pt x="17" y="101"/>
                  </a:cubicBezTo>
                  <a:cubicBezTo>
                    <a:pt x="8" y="96"/>
                    <a:pt x="2" y="92"/>
                    <a:pt x="0" y="75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1" name="Serbien" descr="© INSCALE GmbH, 05.05.2010&#10;http://www.presentationload.com/">
              <a:extLst>
                <a:ext uri="{FF2B5EF4-FFF2-40B4-BE49-F238E27FC236}">
                  <a16:creationId xmlns:a16="http://schemas.microsoft.com/office/drawing/2014/main" id="{E0410530-7FF7-41C5-8276-787D096F1C53}"/>
                </a:ext>
              </a:extLst>
            </p:cNvPr>
            <p:cNvSpPr>
              <a:spLocks/>
            </p:cNvSpPr>
            <p:nvPr/>
          </p:nvSpPr>
          <p:spPr bwMode="gray">
            <a:xfrm>
              <a:off x="7993075" y="4527158"/>
              <a:ext cx="796601" cy="493034"/>
            </a:xfrm>
            <a:custGeom>
              <a:avLst/>
              <a:gdLst/>
              <a:ahLst/>
              <a:cxnLst>
                <a:cxn ang="0">
                  <a:pos x="195" y="66"/>
                </a:cxn>
                <a:cxn ang="0">
                  <a:pos x="180" y="54"/>
                </a:cxn>
                <a:cxn ang="0">
                  <a:pos x="168" y="53"/>
                </a:cxn>
                <a:cxn ang="0">
                  <a:pos x="169" y="45"/>
                </a:cxn>
                <a:cxn ang="0">
                  <a:pos x="168" y="41"/>
                </a:cxn>
                <a:cxn ang="0">
                  <a:pos x="174" y="31"/>
                </a:cxn>
                <a:cxn ang="0">
                  <a:pos x="177" y="18"/>
                </a:cxn>
                <a:cxn ang="0">
                  <a:pos x="180" y="15"/>
                </a:cxn>
                <a:cxn ang="0">
                  <a:pos x="165" y="13"/>
                </a:cxn>
                <a:cxn ang="0">
                  <a:pos x="154" y="18"/>
                </a:cxn>
                <a:cxn ang="0">
                  <a:pos x="145" y="6"/>
                </a:cxn>
                <a:cxn ang="0">
                  <a:pos x="137" y="9"/>
                </a:cxn>
                <a:cxn ang="0">
                  <a:pos x="131" y="4"/>
                </a:cxn>
                <a:cxn ang="0">
                  <a:pos x="123" y="3"/>
                </a:cxn>
                <a:cxn ang="0">
                  <a:pos x="120" y="9"/>
                </a:cxn>
                <a:cxn ang="0">
                  <a:pos x="112" y="3"/>
                </a:cxn>
                <a:cxn ang="0">
                  <a:pos x="104" y="11"/>
                </a:cxn>
                <a:cxn ang="0">
                  <a:pos x="96" y="7"/>
                </a:cxn>
                <a:cxn ang="0">
                  <a:pos x="74" y="7"/>
                </a:cxn>
                <a:cxn ang="0">
                  <a:pos x="62" y="0"/>
                </a:cxn>
                <a:cxn ang="0">
                  <a:pos x="57" y="6"/>
                </a:cxn>
                <a:cxn ang="0">
                  <a:pos x="42" y="4"/>
                </a:cxn>
                <a:cxn ang="0">
                  <a:pos x="34" y="19"/>
                </a:cxn>
                <a:cxn ang="0">
                  <a:pos x="21" y="12"/>
                </a:cxn>
                <a:cxn ang="0">
                  <a:pos x="7" y="9"/>
                </a:cxn>
                <a:cxn ang="0">
                  <a:pos x="8" y="36"/>
                </a:cxn>
                <a:cxn ang="0">
                  <a:pos x="18" y="37"/>
                </a:cxn>
                <a:cxn ang="0">
                  <a:pos x="23" y="44"/>
                </a:cxn>
                <a:cxn ang="0">
                  <a:pos x="21" y="48"/>
                </a:cxn>
                <a:cxn ang="0">
                  <a:pos x="29" y="58"/>
                </a:cxn>
                <a:cxn ang="0">
                  <a:pos x="38" y="76"/>
                </a:cxn>
                <a:cxn ang="0">
                  <a:pos x="57" y="92"/>
                </a:cxn>
                <a:cxn ang="0">
                  <a:pos x="59" y="95"/>
                </a:cxn>
                <a:cxn ang="0">
                  <a:pos x="76" y="110"/>
                </a:cxn>
                <a:cxn ang="0">
                  <a:pos x="88" y="116"/>
                </a:cxn>
                <a:cxn ang="0">
                  <a:pos x="88" y="125"/>
                </a:cxn>
                <a:cxn ang="0">
                  <a:pos x="108" y="140"/>
                </a:cxn>
                <a:cxn ang="0">
                  <a:pos x="110" y="151"/>
                </a:cxn>
                <a:cxn ang="0">
                  <a:pos x="118" y="149"/>
                </a:cxn>
                <a:cxn ang="0">
                  <a:pos x="140" y="168"/>
                </a:cxn>
                <a:cxn ang="0">
                  <a:pos x="146" y="167"/>
                </a:cxn>
                <a:cxn ang="0">
                  <a:pos x="149" y="170"/>
                </a:cxn>
                <a:cxn ang="0">
                  <a:pos x="154" y="167"/>
                </a:cxn>
                <a:cxn ang="0">
                  <a:pos x="154" y="157"/>
                </a:cxn>
                <a:cxn ang="0">
                  <a:pos x="151" y="157"/>
                </a:cxn>
                <a:cxn ang="0">
                  <a:pos x="150" y="141"/>
                </a:cxn>
                <a:cxn ang="0">
                  <a:pos x="157" y="137"/>
                </a:cxn>
                <a:cxn ang="0">
                  <a:pos x="156" y="123"/>
                </a:cxn>
                <a:cxn ang="0">
                  <a:pos x="165" y="117"/>
                </a:cxn>
                <a:cxn ang="0">
                  <a:pos x="175" y="119"/>
                </a:cxn>
                <a:cxn ang="0">
                  <a:pos x="166" y="107"/>
                </a:cxn>
                <a:cxn ang="0">
                  <a:pos x="167" y="101"/>
                </a:cxn>
                <a:cxn ang="0">
                  <a:pos x="172" y="105"/>
                </a:cxn>
                <a:cxn ang="0">
                  <a:pos x="180" y="105"/>
                </a:cxn>
                <a:cxn ang="0">
                  <a:pos x="181" y="99"/>
                </a:cxn>
                <a:cxn ang="0">
                  <a:pos x="191" y="99"/>
                </a:cxn>
                <a:cxn ang="0">
                  <a:pos x="185" y="84"/>
                </a:cxn>
                <a:cxn ang="0">
                  <a:pos x="177" y="73"/>
                </a:cxn>
                <a:cxn ang="0">
                  <a:pos x="190" y="74"/>
                </a:cxn>
                <a:cxn ang="0">
                  <a:pos x="195" y="66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2" name="Kroatien" descr="© INSCALE GmbH, 05.05.2010&#10;http://www.presentationload.com/">
              <a:extLst>
                <a:ext uri="{FF2B5EF4-FFF2-40B4-BE49-F238E27FC236}">
                  <a16:creationId xmlns:a16="http://schemas.microsoft.com/office/drawing/2014/main" id="{EF478B30-76FF-4B4A-9A6A-304173805D9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583194" y="4293173"/>
              <a:ext cx="1125432" cy="743730"/>
            </a:xfrm>
            <a:custGeom>
              <a:avLst/>
              <a:gdLst/>
              <a:ahLst/>
              <a:cxnLst>
                <a:cxn ang="0">
                  <a:pos x="260" y="53"/>
                </a:cxn>
                <a:cxn ang="0">
                  <a:pos x="248" y="34"/>
                </a:cxn>
                <a:cxn ang="0">
                  <a:pos x="195" y="44"/>
                </a:cxn>
                <a:cxn ang="0">
                  <a:pos x="157" y="12"/>
                </a:cxn>
                <a:cxn ang="0">
                  <a:pos x="127" y="1"/>
                </a:cxn>
                <a:cxn ang="0">
                  <a:pos x="97" y="28"/>
                </a:cxn>
                <a:cxn ang="0">
                  <a:pos x="80" y="58"/>
                </a:cxn>
                <a:cxn ang="0">
                  <a:pos x="89" y="72"/>
                </a:cxn>
                <a:cxn ang="0">
                  <a:pos x="67" y="75"/>
                </a:cxn>
                <a:cxn ang="0">
                  <a:pos x="50" y="66"/>
                </a:cxn>
                <a:cxn ang="0">
                  <a:pos x="27" y="75"/>
                </a:cxn>
                <a:cxn ang="0">
                  <a:pos x="2" y="77"/>
                </a:cxn>
                <a:cxn ang="0">
                  <a:pos x="11" y="98"/>
                </a:cxn>
                <a:cxn ang="0">
                  <a:pos x="26" y="119"/>
                </a:cxn>
                <a:cxn ang="0">
                  <a:pos x="62" y="95"/>
                </a:cxn>
                <a:cxn ang="0">
                  <a:pos x="102" y="151"/>
                </a:cxn>
                <a:cxn ang="0">
                  <a:pos x="99" y="176"/>
                </a:cxn>
                <a:cxn ang="0">
                  <a:pos x="144" y="197"/>
                </a:cxn>
                <a:cxn ang="0">
                  <a:pos x="210" y="235"/>
                </a:cxn>
                <a:cxn ang="0">
                  <a:pos x="182" y="229"/>
                </a:cxn>
                <a:cxn ang="0">
                  <a:pos x="231" y="249"/>
                </a:cxn>
                <a:cxn ang="0">
                  <a:pos x="248" y="248"/>
                </a:cxn>
                <a:cxn ang="0">
                  <a:pos x="210" y="221"/>
                </a:cxn>
                <a:cxn ang="0">
                  <a:pos x="161" y="176"/>
                </a:cxn>
                <a:cxn ang="0">
                  <a:pos x="123" y="129"/>
                </a:cxn>
                <a:cxn ang="0">
                  <a:pos x="109" y="90"/>
                </a:cxn>
                <a:cxn ang="0">
                  <a:pos x="159" y="87"/>
                </a:cxn>
                <a:cxn ang="0">
                  <a:pos x="206" y="92"/>
                </a:cxn>
                <a:cxn ang="0">
                  <a:pos x="233" y="85"/>
                </a:cxn>
                <a:cxn ang="0">
                  <a:pos x="267" y="94"/>
                </a:cxn>
                <a:cxn ang="0">
                  <a:pos x="280" y="74"/>
                </a:cxn>
                <a:cxn ang="0">
                  <a:pos x="60" y="102"/>
                </a:cxn>
                <a:cxn ang="0">
                  <a:pos x="50" y="97"/>
                </a:cxn>
                <a:cxn ang="0">
                  <a:pos x="56" y="107"/>
                </a:cxn>
                <a:cxn ang="0">
                  <a:pos x="47" y="115"/>
                </a:cxn>
                <a:cxn ang="0">
                  <a:pos x="40" y="95"/>
                </a:cxn>
                <a:cxn ang="0">
                  <a:pos x="41" y="111"/>
                </a:cxn>
                <a:cxn ang="0">
                  <a:pos x="51" y="140"/>
                </a:cxn>
                <a:cxn ang="0">
                  <a:pos x="49" y="130"/>
                </a:cxn>
                <a:cxn ang="0">
                  <a:pos x="37" y="130"/>
                </a:cxn>
                <a:cxn ang="0">
                  <a:pos x="70" y="131"/>
                </a:cxn>
                <a:cxn ang="0">
                  <a:pos x="76" y="143"/>
                </a:cxn>
                <a:cxn ang="0">
                  <a:pos x="63" y="121"/>
                </a:cxn>
                <a:cxn ang="0">
                  <a:pos x="59" y="121"/>
                </a:cxn>
                <a:cxn ang="0">
                  <a:pos x="75" y="165"/>
                </a:cxn>
                <a:cxn ang="0">
                  <a:pos x="79" y="169"/>
                </a:cxn>
                <a:cxn ang="0">
                  <a:pos x="169" y="208"/>
                </a:cxn>
                <a:cxn ang="0">
                  <a:pos x="144" y="209"/>
                </a:cxn>
                <a:cxn ang="0">
                  <a:pos x="136" y="206"/>
                </a:cxn>
                <a:cxn ang="0">
                  <a:pos x="163" y="219"/>
                </a:cxn>
                <a:cxn ang="0">
                  <a:pos x="153" y="218"/>
                </a:cxn>
                <a:cxn ang="0">
                  <a:pos x="182" y="222"/>
                </a:cxn>
                <a:cxn ang="0">
                  <a:pos x="135" y="227"/>
                </a:cxn>
                <a:cxn ang="0">
                  <a:pos x="169" y="233"/>
                </a:cxn>
                <a:cxn ang="0">
                  <a:pos x="160" y="235"/>
                </a:cxn>
                <a:cxn ang="0">
                  <a:pos x="186" y="235"/>
                </a:cxn>
                <a:cxn ang="0">
                  <a:pos x="213" y="246"/>
                </a:cxn>
                <a:cxn ang="0">
                  <a:pos x="71" y="155"/>
                </a:cxn>
                <a:cxn ang="0">
                  <a:pos x="63" y="153"/>
                </a:cxn>
                <a:cxn ang="0">
                  <a:pos x="77" y="153"/>
                </a:cxn>
                <a:cxn ang="0">
                  <a:pos x="61" y="143"/>
                </a:cxn>
                <a:cxn ang="0">
                  <a:pos x="91" y="182"/>
                </a:cxn>
                <a:cxn ang="0">
                  <a:pos x="81" y="164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3" name="Alb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7D1BE12D-353D-4086-9FC2-44CC8E5473E2}"/>
                </a:ext>
              </a:extLst>
            </p:cNvPr>
            <p:cNvSpPr>
              <a:spLocks/>
            </p:cNvSpPr>
            <p:nvPr/>
          </p:nvSpPr>
          <p:spPr bwMode="gray">
            <a:xfrm>
              <a:off x="8764206" y="4980080"/>
              <a:ext cx="402932" cy="556544"/>
            </a:xfrm>
            <a:custGeom>
              <a:avLst/>
              <a:gdLst/>
              <a:ahLst/>
              <a:cxnLst>
                <a:cxn ang="0">
                  <a:pos x="95" y="110"/>
                </a:cxn>
                <a:cxn ang="0">
                  <a:pos x="89" y="106"/>
                </a:cxn>
                <a:cxn ang="0">
                  <a:pos x="78" y="98"/>
                </a:cxn>
                <a:cxn ang="0">
                  <a:pos x="66" y="83"/>
                </a:cxn>
                <a:cxn ang="0">
                  <a:pos x="63" y="69"/>
                </a:cxn>
                <a:cxn ang="0">
                  <a:pos x="66" y="53"/>
                </a:cxn>
                <a:cxn ang="0">
                  <a:pos x="61" y="24"/>
                </a:cxn>
                <a:cxn ang="0">
                  <a:pos x="43" y="9"/>
                </a:cxn>
                <a:cxn ang="0">
                  <a:pos x="28" y="12"/>
                </a:cxn>
                <a:cxn ang="0">
                  <a:pos x="21" y="1"/>
                </a:cxn>
                <a:cxn ang="0">
                  <a:pos x="0" y="35"/>
                </a:cxn>
                <a:cxn ang="0">
                  <a:pos x="5" y="46"/>
                </a:cxn>
                <a:cxn ang="0">
                  <a:pos x="14" y="55"/>
                </a:cxn>
                <a:cxn ang="0">
                  <a:pos x="21" y="69"/>
                </a:cxn>
                <a:cxn ang="0">
                  <a:pos x="13" y="71"/>
                </a:cxn>
                <a:cxn ang="0">
                  <a:pos x="11" y="85"/>
                </a:cxn>
                <a:cxn ang="0">
                  <a:pos x="18" y="92"/>
                </a:cxn>
                <a:cxn ang="0">
                  <a:pos x="16" y="108"/>
                </a:cxn>
                <a:cxn ang="0">
                  <a:pos x="14" y="113"/>
                </a:cxn>
                <a:cxn ang="0">
                  <a:pos x="15" y="119"/>
                </a:cxn>
                <a:cxn ang="0">
                  <a:pos x="12" y="130"/>
                </a:cxn>
                <a:cxn ang="0">
                  <a:pos x="19" y="138"/>
                </a:cxn>
                <a:cxn ang="0">
                  <a:pos x="16" y="141"/>
                </a:cxn>
                <a:cxn ang="0">
                  <a:pos x="19" y="153"/>
                </a:cxn>
                <a:cxn ang="0">
                  <a:pos x="16" y="146"/>
                </a:cxn>
                <a:cxn ang="0">
                  <a:pos x="12" y="147"/>
                </a:cxn>
                <a:cxn ang="0">
                  <a:pos x="33" y="164"/>
                </a:cxn>
                <a:cxn ang="0">
                  <a:pos x="41" y="169"/>
                </a:cxn>
                <a:cxn ang="0">
                  <a:pos x="47" y="179"/>
                </a:cxn>
                <a:cxn ang="0">
                  <a:pos x="52" y="190"/>
                </a:cxn>
                <a:cxn ang="0">
                  <a:pos x="67" y="187"/>
                </a:cxn>
                <a:cxn ang="0">
                  <a:pos x="72" y="181"/>
                </a:cxn>
                <a:cxn ang="0">
                  <a:pos x="66" y="171"/>
                </a:cxn>
                <a:cxn ang="0">
                  <a:pos x="73" y="163"/>
                </a:cxn>
                <a:cxn ang="0">
                  <a:pos x="85" y="149"/>
                </a:cxn>
                <a:cxn ang="0">
                  <a:pos x="90" y="135"/>
                </a:cxn>
                <a:cxn ang="0">
                  <a:pos x="100" y="125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5" name="Mazedonien" descr="© INSCALE GmbH, 05.05.2010&#10;http://www.presentationload.com/">
              <a:extLst>
                <a:ext uri="{FF2B5EF4-FFF2-40B4-BE49-F238E27FC236}">
                  <a16:creationId xmlns:a16="http://schemas.microsoft.com/office/drawing/2014/main" id="{9F257F11-9082-4F0B-8293-A499AEC99D01}"/>
                </a:ext>
              </a:extLst>
            </p:cNvPr>
            <p:cNvSpPr>
              <a:spLocks/>
            </p:cNvSpPr>
            <p:nvPr/>
          </p:nvSpPr>
          <p:spPr bwMode="gray">
            <a:xfrm>
              <a:off x="9018932" y="4991780"/>
              <a:ext cx="504824" cy="305848"/>
            </a:xfrm>
            <a:custGeom>
              <a:avLst/>
              <a:gdLst/>
              <a:ahLst/>
              <a:cxnLst>
                <a:cxn ang="0">
                  <a:pos x="122" y="42"/>
                </a:cxn>
                <a:cxn ang="0">
                  <a:pos x="125" y="33"/>
                </a:cxn>
                <a:cxn ang="0">
                  <a:pos x="116" y="29"/>
                </a:cxn>
                <a:cxn ang="0">
                  <a:pos x="115" y="16"/>
                </a:cxn>
                <a:cxn ang="0">
                  <a:pos x="105" y="16"/>
                </a:cxn>
                <a:cxn ang="0">
                  <a:pos x="95" y="9"/>
                </a:cxn>
                <a:cxn ang="0">
                  <a:pos x="86" y="3"/>
                </a:cxn>
                <a:cxn ang="0">
                  <a:pos x="82" y="0"/>
                </a:cxn>
                <a:cxn ang="0">
                  <a:pos x="75" y="7"/>
                </a:cxn>
                <a:cxn ang="0">
                  <a:pos x="65" y="5"/>
                </a:cxn>
                <a:cxn ang="0">
                  <a:pos x="53" y="12"/>
                </a:cxn>
                <a:cxn ang="0">
                  <a:pos x="43" y="12"/>
                </a:cxn>
                <a:cxn ang="0">
                  <a:pos x="35" y="27"/>
                </a:cxn>
                <a:cxn ang="0">
                  <a:pos x="26" y="18"/>
                </a:cxn>
                <a:cxn ang="0">
                  <a:pos x="21" y="24"/>
                </a:cxn>
                <a:cxn ang="0">
                  <a:pos x="11" y="29"/>
                </a:cxn>
                <a:cxn ang="0">
                  <a:pos x="13" y="43"/>
                </a:cxn>
                <a:cxn ang="0">
                  <a:pos x="3" y="49"/>
                </a:cxn>
                <a:cxn ang="0">
                  <a:pos x="5" y="61"/>
                </a:cxn>
                <a:cxn ang="0">
                  <a:pos x="0" y="65"/>
                </a:cxn>
                <a:cxn ang="0">
                  <a:pos x="7" y="74"/>
                </a:cxn>
                <a:cxn ang="0">
                  <a:pos x="3" y="79"/>
                </a:cxn>
                <a:cxn ang="0">
                  <a:pos x="10" y="93"/>
                </a:cxn>
                <a:cxn ang="0">
                  <a:pos x="15" y="94"/>
                </a:cxn>
                <a:cxn ang="0">
                  <a:pos x="19" y="106"/>
                </a:cxn>
                <a:cxn ang="0">
                  <a:pos x="26" y="102"/>
                </a:cxn>
                <a:cxn ang="0">
                  <a:pos x="31" y="103"/>
                </a:cxn>
                <a:cxn ang="0">
                  <a:pos x="32" y="106"/>
                </a:cxn>
                <a:cxn ang="0">
                  <a:pos x="48" y="105"/>
                </a:cxn>
                <a:cxn ang="0">
                  <a:pos x="57" y="99"/>
                </a:cxn>
                <a:cxn ang="0">
                  <a:pos x="63" y="101"/>
                </a:cxn>
                <a:cxn ang="0">
                  <a:pos x="73" y="95"/>
                </a:cxn>
                <a:cxn ang="0">
                  <a:pos x="76" y="83"/>
                </a:cxn>
                <a:cxn ang="0">
                  <a:pos x="82" y="79"/>
                </a:cxn>
                <a:cxn ang="0">
                  <a:pos x="89" y="80"/>
                </a:cxn>
                <a:cxn ang="0">
                  <a:pos x="93" y="77"/>
                </a:cxn>
                <a:cxn ang="0">
                  <a:pos x="112" y="78"/>
                </a:cxn>
                <a:cxn ang="0">
                  <a:pos x="113" y="74"/>
                </a:cxn>
                <a:cxn ang="0">
                  <a:pos x="117" y="77"/>
                </a:cxn>
                <a:cxn ang="0">
                  <a:pos x="117" y="63"/>
                </a:cxn>
                <a:cxn ang="0">
                  <a:pos x="126" y="62"/>
                </a:cxn>
                <a:cxn ang="0">
                  <a:pos x="122" y="42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6" name="Slowakei" descr="© INSCALE GmbH, 05.05.2010&#10;http://www.presentationload.com/">
              <a:extLst>
                <a:ext uri="{FF2B5EF4-FFF2-40B4-BE49-F238E27FC236}">
                  <a16:creationId xmlns:a16="http://schemas.microsoft.com/office/drawing/2014/main" id="{12F83652-E6D3-4E6F-8DB3-31DCB14864B2}"/>
                </a:ext>
              </a:extLst>
            </p:cNvPr>
            <p:cNvSpPr>
              <a:spLocks/>
            </p:cNvSpPr>
            <p:nvPr/>
          </p:nvSpPr>
          <p:spPr bwMode="gray">
            <a:xfrm>
              <a:off x="8162119" y="3678133"/>
              <a:ext cx="988806" cy="377715"/>
            </a:xfrm>
            <a:custGeom>
              <a:avLst/>
              <a:gdLst/>
              <a:ahLst/>
              <a:cxnLst>
                <a:cxn ang="0">
                  <a:pos x="221" y="7"/>
                </a:cxn>
                <a:cxn ang="0">
                  <a:pos x="202" y="1"/>
                </a:cxn>
                <a:cxn ang="0">
                  <a:pos x="179" y="7"/>
                </a:cxn>
                <a:cxn ang="0">
                  <a:pos x="165" y="9"/>
                </a:cxn>
                <a:cxn ang="0">
                  <a:pos x="141" y="16"/>
                </a:cxn>
                <a:cxn ang="0">
                  <a:pos x="130" y="23"/>
                </a:cxn>
                <a:cxn ang="0">
                  <a:pos x="125" y="19"/>
                </a:cxn>
                <a:cxn ang="0">
                  <a:pos x="116" y="14"/>
                </a:cxn>
                <a:cxn ang="0">
                  <a:pos x="113" y="11"/>
                </a:cxn>
                <a:cxn ang="0">
                  <a:pos x="102" y="9"/>
                </a:cxn>
                <a:cxn ang="0">
                  <a:pos x="96" y="16"/>
                </a:cxn>
                <a:cxn ang="0">
                  <a:pos x="86" y="10"/>
                </a:cxn>
                <a:cxn ang="0">
                  <a:pos x="76" y="13"/>
                </a:cxn>
                <a:cxn ang="0">
                  <a:pos x="64" y="23"/>
                </a:cxn>
                <a:cxn ang="0">
                  <a:pos x="51" y="43"/>
                </a:cxn>
                <a:cxn ang="0">
                  <a:pos x="43" y="53"/>
                </a:cxn>
                <a:cxn ang="0">
                  <a:pos x="14" y="59"/>
                </a:cxn>
                <a:cxn ang="0">
                  <a:pos x="4" y="73"/>
                </a:cxn>
                <a:cxn ang="0">
                  <a:pos x="0" y="90"/>
                </a:cxn>
                <a:cxn ang="0">
                  <a:pos x="9" y="105"/>
                </a:cxn>
                <a:cxn ang="0">
                  <a:pos x="14" y="117"/>
                </a:cxn>
                <a:cxn ang="0">
                  <a:pos x="37" y="126"/>
                </a:cxn>
                <a:cxn ang="0">
                  <a:pos x="56" y="129"/>
                </a:cxn>
                <a:cxn ang="0">
                  <a:pos x="76" y="126"/>
                </a:cxn>
                <a:cxn ang="0">
                  <a:pos x="93" y="118"/>
                </a:cxn>
                <a:cxn ang="0">
                  <a:pos x="102" y="104"/>
                </a:cxn>
                <a:cxn ang="0">
                  <a:pos x="123" y="89"/>
                </a:cxn>
                <a:cxn ang="0">
                  <a:pos x="155" y="83"/>
                </a:cxn>
                <a:cxn ang="0">
                  <a:pos x="185" y="63"/>
                </a:cxn>
                <a:cxn ang="0">
                  <a:pos x="210" y="63"/>
                </a:cxn>
                <a:cxn ang="0">
                  <a:pos x="225" y="67"/>
                </a:cxn>
                <a:cxn ang="0">
                  <a:pos x="232" y="55"/>
                </a:cxn>
                <a:cxn ang="0">
                  <a:pos x="241" y="30"/>
                </a:cxn>
                <a:cxn ang="0">
                  <a:pos x="222" y="14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8" name="Ungarn" descr="© INSCALE GmbH, 05.05.2010&#10;http://www.presentationload.com/">
              <a:extLst>
                <a:ext uri="{FF2B5EF4-FFF2-40B4-BE49-F238E27FC236}">
                  <a16:creationId xmlns:a16="http://schemas.microsoft.com/office/drawing/2014/main" id="{DE6FD695-01B6-4C36-AB39-9CF629F1E8D6}"/>
                </a:ext>
              </a:extLst>
            </p:cNvPr>
            <p:cNvSpPr>
              <a:spLocks/>
            </p:cNvSpPr>
            <p:nvPr/>
          </p:nvSpPr>
          <p:spPr bwMode="gray">
            <a:xfrm>
              <a:off x="8062547" y="3846935"/>
              <a:ext cx="1204168" cy="578272"/>
            </a:xfrm>
            <a:custGeom>
              <a:avLst/>
              <a:gdLst/>
              <a:ahLst/>
              <a:cxnLst>
                <a:cxn ang="0">
                  <a:pos x="292" y="23"/>
                </a:cxn>
                <a:cxn ang="0">
                  <a:pos x="276" y="15"/>
                </a:cxn>
                <a:cxn ang="0">
                  <a:pos x="265" y="10"/>
                </a:cxn>
                <a:cxn ang="0">
                  <a:pos x="250" y="9"/>
                </a:cxn>
                <a:cxn ang="0">
                  <a:pos x="235" y="5"/>
                </a:cxn>
                <a:cxn ang="0">
                  <a:pos x="210" y="5"/>
                </a:cxn>
                <a:cxn ang="0">
                  <a:pos x="180" y="25"/>
                </a:cxn>
                <a:cxn ang="0">
                  <a:pos x="148" y="31"/>
                </a:cxn>
                <a:cxn ang="0">
                  <a:pos x="127" y="46"/>
                </a:cxn>
                <a:cxn ang="0">
                  <a:pos x="118" y="60"/>
                </a:cxn>
                <a:cxn ang="0">
                  <a:pos x="101" y="68"/>
                </a:cxn>
                <a:cxn ang="0">
                  <a:pos x="81" y="71"/>
                </a:cxn>
                <a:cxn ang="0">
                  <a:pos x="62" y="68"/>
                </a:cxn>
                <a:cxn ang="0">
                  <a:pos x="39" y="59"/>
                </a:cxn>
                <a:cxn ang="0">
                  <a:pos x="36" y="67"/>
                </a:cxn>
                <a:cxn ang="0">
                  <a:pos x="38" y="76"/>
                </a:cxn>
                <a:cxn ang="0">
                  <a:pos x="19" y="75"/>
                </a:cxn>
                <a:cxn ang="0">
                  <a:pos x="14" y="84"/>
                </a:cxn>
                <a:cxn ang="0">
                  <a:pos x="23" y="90"/>
                </a:cxn>
                <a:cxn ang="0">
                  <a:pos x="14" y="107"/>
                </a:cxn>
                <a:cxn ang="0">
                  <a:pos x="17" y="116"/>
                </a:cxn>
                <a:cxn ang="0">
                  <a:pos x="6" y="126"/>
                </a:cxn>
                <a:cxn ang="0">
                  <a:pos x="9" y="135"/>
                </a:cxn>
                <a:cxn ang="0">
                  <a:pos x="13" y="143"/>
                </a:cxn>
                <a:cxn ang="0">
                  <a:pos x="21" y="152"/>
                </a:cxn>
                <a:cxn ang="0">
                  <a:pos x="27" y="160"/>
                </a:cxn>
                <a:cxn ang="0">
                  <a:pos x="38" y="166"/>
                </a:cxn>
                <a:cxn ang="0">
                  <a:pos x="60" y="189"/>
                </a:cxn>
                <a:cxn ang="0">
                  <a:pos x="76" y="198"/>
                </a:cxn>
                <a:cxn ang="0">
                  <a:pos x="115" y="199"/>
                </a:cxn>
                <a:cxn ang="0">
                  <a:pos x="129" y="188"/>
                </a:cxn>
                <a:cxn ang="0">
                  <a:pos x="140" y="179"/>
                </a:cxn>
                <a:cxn ang="0">
                  <a:pos x="157" y="173"/>
                </a:cxn>
                <a:cxn ang="0">
                  <a:pos x="173" y="168"/>
                </a:cxn>
                <a:cxn ang="0">
                  <a:pos x="202" y="163"/>
                </a:cxn>
                <a:cxn ang="0">
                  <a:pos x="213" y="162"/>
                </a:cxn>
                <a:cxn ang="0">
                  <a:pos x="234" y="152"/>
                </a:cxn>
                <a:cxn ang="0">
                  <a:pos x="239" y="140"/>
                </a:cxn>
                <a:cxn ang="0">
                  <a:pos x="241" y="127"/>
                </a:cxn>
                <a:cxn ang="0">
                  <a:pos x="245" y="114"/>
                </a:cxn>
                <a:cxn ang="0">
                  <a:pos x="250" y="98"/>
                </a:cxn>
                <a:cxn ang="0">
                  <a:pos x="259" y="76"/>
                </a:cxn>
                <a:cxn ang="0">
                  <a:pos x="262" y="66"/>
                </a:cxn>
                <a:cxn ang="0">
                  <a:pos x="276" y="46"/>
                </a:cxn>
                <a:cxn ang="0">
                  <a:pos x="297" y="31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9" name="Es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5717E42-BA5E-4306-B7EE-6167F903DA7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671576" y="1702650"/>
              <a:ext cx="866073" cy="396099"/>
            </a:xfrm>
            <a:custGeom>
              <a:avLst/>
              <a:gdLst/>
              <a:ahLst/>
              <a:cxnLst>
                <a:cxn ang="0">
                  <a:pos x="199" y="82"/>
                </a:cxn>
                <a:cxn ang="0">
                  <a:pos x="192" y="42"/>
                </a:cxn>
                <a:cxn ang="0">
                  <a:pos x="198" y="11"/>
                </a:cxn>
                <a:cxn ang="0">
                  <a:pos x="194" y="5"/>
                </a:cxn>
                <a:cxn ang="0">
                  <a:pos x="150" y="5"/>
                </a:cxn>
                <a:cxn ang="0">
                  <a:pos x="133" y="7"/>
                </a:cxn>
                <a:cxn ang="0">
                  <a:pos x="129" y="8"/>
                </a:cxn>
                <a:cxn ang="0">
                  <a:pos x="124" y="7"/>
                </a:cxn>
                <a:cxn ang="0">
                  <a:pos x="118" y="3"/>
                </a:cxn>
                <a:cxn ang="0">
                  <a:pos x="114" y="8"/>
                </a:cxn>
                <a:cxn ang="0">
                  <a:pos x="103" y="17"/>
                </a:cxn>
                <a:cxn ang="0">
                  <a:pos x="91" y="24"/>
                </a:cxn>
                <a:cxn ang="0">
                  <a:pos x="75" y="30"/>
                </a:cxn>
                <a:cxn ang="0">
                  <a:pos x="66" y="31"/>
                </a:cxn>
                <a:cxn ang="0">
                  <a:pos x="67" y="39"/>
                </a:cxn>
                <a:cxn ang="0">
                  <a:pos x="56" y="44"/>
                </a:cxn>
                <a:cxn ang="0">
                  <a:pos x="51" y="45"/>
                </a:cxn>
                <a:cxn ang="0">
                  <a:pos x="52" y="50"/>
                </a:cxn>
                <a:cxn ang="0">
                  <a:pos x="52" y="61"/>
                </a:cxn>
                <a:cxn ang="0">
                  <a:pos x="51" y="65"/>
                </a:cxn>
                <a:cxn ang="0">
                  <a:pos x="58" y="72"/>
                </a:cxn>
                <a:cxn ang="0">
                  <a:pos x="56" y="77"/>
                </a:cxn>
                <a:cxn ang="0">
                  <a:pos x="57" y="88"/>
                </a:cxn>
                <a:cxn ang="0">
                  <a:pos x="69" y="101"/>
                </a:cxn>
                <a:cxn ang="0">
                  <a:pos x="78" y="99"/>
                </a:cxn>
                <a:cxn ang="0">
                  <a:pos x="87" y="94"/>
                </a:cxn>
                <a:cxn ang="0">
                  <a:pos x="97" y="112"/>
                </a:cxn>
                <a:cxn ang="0">
                  <a:pos x="98" y="126"/>
                </a:cxn>
                <a:cxn ang="0">
                  <a:pos x="105" y="122"/>
                </a:cxn>
                <a:cxn ang="0">
                  <a:pos x="119" y="108"/>
                </a:cxn>
                <a:cxn ang="0">
                  <a:pos x="127" y="108"/>
                </a:cxn>
                <a:cxn ang="0">
                  <a:pos x="140" y="117"/>
                </a:cxn>
                <a:cxn ang="0">
                  <a:pos x="154" y="117"/>
                </a:cxn>
                <a:cxn ang="0">
                  <a:pos x="164" y="131"/>
                </a:cxn>
                <a:cxn ang="0">
                  <a:pos x="188" y="126"/>
                </a:cxn>
                <a:cxn ang="0">
                  <a:pos x="202" y="123"/>
                </a:cxn>
                <a:cxn ang="0">
                  <a:pos x="205" y="108"/>
                </a:cxn>
                <a:cxn ang="0">
                  <a:pos x="28" y="91"/>
                </a:cxn>
                <a:cxn ang="0">
                  <a:pos x="15" y="93"/>
                </a:cxn>
                <a:cxn ang="0">
                  <a:pos x="11" y="104"/>
                </a:cxn>
                <a:cxn ang="0">
                  <a:pos x="0" y="99"/>
                </a:cxn>
                <a:cxn ang="0">
                  <a:pos x="6" y="108"/>
                </a:cxn>
                <a:cxn ang="0">
                  <a:pos x="16" y="119"/>
                </a:cxn>
                <a:cxn ang="0">
                  <a:pos x="13" y="125"/>
                </a:cxn>
                <a:cxn ang="0">
                  <a:pos x="13" y="137"/>
                </a:cxn>
                <a:cxn ang="0">
                  <a:pos x="24" y="114"/>
                </a:cxn>
                <a:cxn ang="0">
                  <a:pos x="44" y="99"/>
                </a:cxn>
                <a:cxn ang="0">
                  <a:pos x="28" y="91"/>
                </a:cxn>
                <a:cxn ang="0">
                  <a:pos x="18" y="77"/>
                </a:cxn>
                <a:cxn ang="0">
                  <a:pos x="26" y="80"/>
                </a:cxn>
                <a:cxn ang="0">
                  <a:pos x="32" y="76"/>
                </a:cxn>
                <a:cxn ang="0">
                  <a:pos x="32" y="65"/>
                </a:cxn>
                <a:cxn ang="0">
                  <a:pos x="19" y="57"/>
                </a:cxn>
                <a:cxn ang="0">
                  <a:pos x="8" y="71"/>
                </a:cxn>
                <a:cxn ang="0">
                  <a:pos x="9" y="75"/>
                </a:cxn>
                <a:cxn ang="0">
                  <a:pos x="45" y="83"/>
                </a:cxn>
                <a:cxn ang="0">
                  <a:pos x="45" y="88"/>
                </a:cxn>
                <a:cxn ang="0">
                  <a:pos x="51" y="83"/>
                </a:cxn>
                <a:cxn ang="0">
                  <a:pos x="45" y="58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0" name="Weiß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A50DBCF7-054C-42BE-BB48-FE2727D1B2D3}"/>
                </a:ext>
              </a:extLst>
            </p:cNvPr>
            <p:cNvSpPr>
              <a:spLocks/>
            </p:cNvSpPr>
            <p:nvPr/>
          </p:nvSpPr>
          <p:spPr bwMode="gray">
            <a:xfrm>
              <a:off x="8760744" y="2302647"/>
              <a:ext cx="1468160" cy="955986"/>
            </a:xfrm>
            <a:custGeom>
              <a:avLst/>
              <a:gdLst/>
              <a:ahLst/>
              <a:cxnLst>
                <a:cxn ang="0">
                  <a:pos x="364" y="131"/>
                </a:cxn>
                <a:cxn ang="0">
                  <a:pos x="349" y="115"/>
                </a:cxn>
                <a:cxn ang="0">
                  <a:pos x="320" y="117"/>
                </a:cxn>
                <a:cxn ang="0">
                  <a:pos x="310" y="96"/>
                </a:cxn>
                <a:cxn ang="0">
                  <a:pos x="288" y="82"/>
                </a:cxn>
                <a:cxn ang="0">
                  <a:pos x="283" y="70"/>
                </a:cxn>
                <a:cxn ang="0">
                  <a:pos x="267" y="46"/>
                </a:cxn>
                <a:cxn ang="0">
                  <a:pos x="256" y="14"/>
                </a:cxn>
                <a:cxn ang="0">
                  <a:pos x="219" y="7"/>
                </a:cxn>
                <a:cxn ang="0">
                  <a:pos x="202" y="20"/>
                </a:cxn>
                <a:cxn ang="0">
                  <a:pos x="177" y="5"/>
                </a:cxn>
                <a:cxn ang="0">
                  <a:pos x="167" y="1"/>
                </a:cxn>
                <a:cxn ang="0">
                  <a:pos x="145" y="3"/>
                </a:cxn>
                <a:cxn ang="0">
                  <a:pos x="132" y="20"/>
                </a:cxn>
                <a:cxn ang="0">
                  <a:pos x="125" y="30"/>
                </a:cxn>
                <a:cxn ang="0">
                  <a:pos x="113" y="28"/>
                </a:cxn>
                <a:cxn ang="0">
                  <a:pos x="106" y="39"/>
                </a:cxn>
                <a:cxn ang="0">
                  <a:pos x="96" y="44"/>
                </a:cxn>
                <a:cxn ang="0">
                  <a:pos x="94" y="56"/>
                </a:cxn>
                <a:cxn ang="0">
                  <a:pos x="107" y="64"/>
                </a:cxn>
                <a:cxn ang="0">
                  <a:pos x="104" y="78"/>
                </a:cxn>
                <a:cxn ang="0">
                  <a:pos x="86" y="94"/>
                </a:cxn>
                <a:cxn ang="0">
                  <a:pos x="77" y="121"/>
                </a:cxn>
                <a:cxn ang="0">
                  <a:pos x="83" y="141"/>
                </a:cxn>
                <a:cxn ang="0">
                  <a:pos x="72" y="142"/>
                </a:cxn>
                <a:cxn ang="0">
                  <a:pos x="57" y="154"/>
                </a:cxn>
                <a:cxn ang="0">
                  <a:pos x="49" y="166"/>
                </a:cxn>
                <a:cxn ang="0">
                  <a:pos x="34" y="174"/>
                </a:cxn>
                <a:cxn ang="0">
                  <a:pos x="20" y="173"/>
                </a:cxn>
                <a:cxn ang="0">
                  <a:pos x="12" y="175"/>
                </a:cxn>
                <a:cxn ang="0">
                  <a:pos x="8" y="189"/>
                </a:cxn>
                <a:cxn ang="0">
                  <a:pos x="27" y="225"/>
                </a:cxn>
                <a:cxn ang="0">
                  <a:pos x="30" y="237"/>
                </a:cxn>
                <a:cxn ang="0">
                  <a:pos x="30" y="257"/>
                </a:cxn>
                <a:cxn ang="0">
                  <a:pos x="5" y="286"/>
                </a:cxn>
                <a:cxn ang="0">
                  <a:pos x="29" y="299"/>
                </a:cxn>
                <a:cxn ang="0">
                  <a:pos x="30" y="313"/>
                </a:cxn>
                <a:cxn ang="0">
                  <a:pos x="28" y="326"/>
                </a:cxn>
                <a:cxn ang="0">
                  <a:pos x="36" y="321"/>
                </a:cxn>
                <a:cxn ang="0">
                  <a:pos x="59" y="302"/>
                </a:cxn>
                <a:cxn ang="0">
                  <a:pos x="98" y="292"/>
                </a:cxn>
                <a:cxn ang="0">
                  <a:pos x="129" y="288"/>
                </a:cxn>
                <a:cxn ang="0">
                  <a:pos x="145" y="292"/>
                </a:cxn>
                <a:cxn ang="0">
                  <a:pos x="163" y="293"/>
                </a:cxn>
                <a:cxn ang="0">
                  <a:pos x="184" y="296"/>
                </a:cxn>
                <a:cxn ang="0">
                  <a:pos x="201" y="301"/>
                </a:cxn>
                <a:cxn ang="0">
                  <a:pos x="209" y="293"/>
                </a:cxn>
                <a:cxn ang="0">
                  <a:pos x="223" y="293"/>
                </a:cxn>
                <a:cxn ang="0">
                  <a:pos x="235" y="286"/>
                </a:cxn>
                <a:cxn ang="0">
                  <a:pos x="242" y="285"/>
                </a:cxn>
                <a:cxn ang="0">
                  <a:pos x="253" y="277"/>
                </a:cxn>
                <a:cxn ang="0">
                  <a:pos x="265" y="292"/>
                </a:cxn>
                <a:cxn ang="0">
                  <a:pos x="279" y="280"/>
                </a:cxn>
                <a:cxn ang="0">
                  <a:pos x="302" y="276"/>
                </a:cxn>
                <a:cxn ang="0">
                  <a:pos x="311" y="265"/>
                </a:cxn>
                <a:cxn ang="0">
                  <a:pos x="337" y="225"/>
                </a:cxn>
                <a:cxn ang="0">
                  <a:pos x="351" y="221"/>
                </a:cxn>
                <a:cxn ang="0">
                  <a:pos x="335" y="196"/>
                </a:cxn>
                <a:cxn ang="0">
                  <a:pos x="326" y="180"/>
                </a:cxn>
                <a:cxn ang="0">
                  <a:pos x="316" y="166"/>
                </a:cxn>
                <a:cxn ang="0">
                  <a:pos x="326" y="155"/>
                </a:cxn>
                <a:cxn ang="0">
                  <a:pos x="356" y="145"/>
                </a:cxn>
                <a:cxn ang="0">
                  <a:pos x="365" y="136"/>
                </a:cxn>
              </a:cxnLst>
              <a:rect l="0" t="0" r="r" b="b"/>
              <a:pathLst>
                <a:path w="365" h="330">
                  <a:moveTo>
                    <a:pt x="365" y="136"/>
                  </a:moveTo>
                  <a:cubicBezTo>
                    <a:pt x="364" y="131"/>
                    <a:pt x="364" y="131"/>
                    <a:pt x="364" y="13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9" y="115"/>
                    <a:pt x="349" y="115"/>
                    <a:pt x="349" y="115"/>
                  </a:cubicBezTo>
                  <a:cubicBezTo>
                    <a:pt x="333" y="113"/>
                    <a:pt x="333" y="113"/>
                    <a:pt x="333" y="113"/>
                  </a:cubicBezTo>
                  <a:cubicBezTo>
                    <a:pt x="320" y="117"/>
                    <a:pt x="320" y="117"/>
                    <a:pt x="320" y="117"/>
                  </a:cubicBezTo>
                  <a:cubicBezTo>
                    <a:pt x="320" y="117"/>
                    <a:pt x="322" y="104"/>
                    <a:pt x="319" y="101"/>
                  </a:cubicBezTo>
                  <a:cubicBezTo>
                    <a:pt x="316" y="97"/>
                    <a:pt x="310" y="96"/>
                    <a:pt x="310" y="96"/>
                  </a:cubicBezTo>
                  <a:cubicBezTo>
                    <a:pt x="310" y="96"/>
                    <a:pt x="292" y="95"/>
                    <a:pt x="291" y="91"/>
                  </a:cubicBezTo>
                  <a:cubicBezTo>
                    <a:pt x="289" y="87"/>
                    <a:pt x="288" y="82"/>
                    <a:pt x="288" y="82"/>
                  </a:cubicBezTo>
                  <a:cubicBezTo>
                    <a:pt x="280" y="80"/>
                    <a:pt x="280" y="80"/>
                    <a:pt x="280" y="80"/>
                  </a:cubicBezTo>
                  <a:cubicBezTo>
                    <a:pt x="280" y="80"/>
                    <a:pt x="289" y="73"/>
                    <a:pt x="283" y="70"/>
                  </a:cubicBezTo>
                  <a:cubicBezTo>
                    <a:pt x="276" y="66"/>
                    <a:pt x="265" y="64"/>
                    <a:pt x="265" y="64"/>
                  </a:cubicBezTo>
                  <a:cubicBezTo>
                    <a:pt x="267" y="46"/>
                    <a:pt x="267" y="46"/>
                    <a:pt x="267" y="46"/>
                  </a:cubicBezTo>
                  <a:cubicBezTo>
                    <a:pt x="255" y="30"/>
                    <a:pt x="255" y="30"/>
                    <a:pt x="255" y="30"/>
                  </a:cubicBezTo>
                  <a:cubicBezTo>
                    <a:pt x="255" y="30"/>
                    <a:pt x="263" y="21"/>
                    <a:pt x="256" y="14"/>
                  </a:cubicBezTo>
                  <a:cubicBezTo>
                    <a:pt x="250" y="8"/>
                    <a:pt x="244" y="11"/>
                    <a:pt x="238" y="8"/>
                  </a:cubicBezTo>
                  <a:cubicBezTo>
                    <a:pt x="233" y="3"/>
                    <a:pt x="225" y="3"/>
                    <a:pt x="219" y="7"/>
                  </a:cubicBezTo>
                  <a:cubicBezTo>
                    <a:pt x="211" y="10"/>
                    <a:pt x="205" y="12"/>
                    <a:pt x="205" y="12"/>
                  </a:cubicBezTo>
                  <a:cubicBezTo>
                    <a:pt x="205" y="12"/>
                    <a:pt x="211" y="20"/>
                    <a:pt x="202" y="20"/>
                  </a:cubicBezTo>
                  <a:cubicBezTo>
                    <a:pt x="191" y="18"/>
                    <a:pt x="203" y="9"/>
                    <a:pt x="197" y="5"/>
                  </a:cubicBezTo>
                  <a:cubicBezTo>
                    <a:pt x="192" y="0"/>
                    <a:pt x="178" y="2"/>
                    <a:pt x="177" y="5"/>
                  </a:cubicBezTo>
                  <a:cubicBezTo>
                    <a:pt x="175" y="6"/>
                    <a:pt x="176" y="12"/>
                    <a:pt x="171" y="11"/>
                  </a:cubicBezTo>
                  <a:cubicBezTo>
                    <a:pt x="164" y="10"/>
                    <a:pt x="172" y="2"/>
                    <a:pt x="167" y="1"/>
                  </a:cubicBezTo>
                  <a:cubicBezTo>
                    <a:pt x="161" y="0"/>
                    <a:pt x="155" y="5"/>
                    <a:pt x="152" y="5"/>
                  </a:cubicBezTo>
                  <a:cubicBezTo>
                    <a:pt x="149" y="5"/>
                    <a:pt x="147" y="3"/>
                    <a:pt x="145" y="3"/>
                  </a:cubicBezTo>
                  <a:cubicBezTo>
                    <a:pt x="143" y="6"/>
                    <a:pt x="141" y="6"/>
                    <a:pt x="141" y="6"/>
                  </a:cubicBezTo>
                  <a:cubicBezTo>
                    <a:pt x="132" y="20"/>
                    <a:pt x="132" y="20"/>
                    <a:pt x="132" y="20"/>
                  </a:cubicBezTo>
                  <a:cubicBezTo>
                    <a:pt x="132" y="20"/>
                    <a:pt x="135" y="26"/>
                    <a:pt x="132" y="29"/>
                  </a:cubicBezTo>
                  <a:cubicBezTo>
                    <a:pt x="129" y="31"/>
                    <a:pt x="125" y="30"/>
                    <a:pt x="125" y="30"/>
                  </a:cubicBezTo>
                  <a:cubicBezTo>
                    <a:pt x="125" y="30"/>
                    <a:pt x="122" y="31"/>
                    <a:pt x="120" y="31"/>
                  </a:cubicBezTo>
                  <a:cubicBezTo>
                    <a:pt x="118" y="31"/>
                    <a:pt x="113" y="28"/>
                    <a:pt x="113" y="28"/>
                  </a:cubicBezTo>
                  <a:cubicBezTo>
                    <a:pt x="109" y="30"/>
                    <a:pt x="109" y="30"/>
                    <a:pt x="109" y="30"/>
                  </a:cubicBezTo>
                  <a:cubicBezTo>
                    <a:pt x="109" y="30"/>
                    <a:pt x="109" y="37"/>
                    <a:pt x="106" y="39"/>
                  </a:cubicBezTo>
                  <a:cubicBezTo>
                    <a:pt x="104" y="42"/>
                    <a:pt x="100" y="41"/>
                    <a:pt x="100" y="41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3" y="66"/>
                    <a:pt x="93" y="66"/>
                    <a:pt x="93" y="66"/>
                  </a:cubicBezTo>
                  <a:cubicBezTo>
                    <a:pt x="93" y="66"/>
                    <a:pt x="106" y="61"/>
                    <a:pt x="107" y="64"/>
                  </a:cubicBezTo>
                  <a:cubicBezTo>
                    <a:pt x="108" y="68"/>
                    <a:pt x="104" y="73"/>
                    <a:pt x="104" y="73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89" y="82"/>
                    <a:pt x="89" y="82"/>
                    <a:pt x="89" y="82"/>
                  </a:cubicBezTo>
                  <a:cubicBezTo>
                    <a:pt x="89" y="82"/>
                    <a:pt x="90" y="92"/>
                    <a:pt x="86" y="94"/>
                  </a:cubicBezTo>
                  <a:cubicBezTo>
                    <a:pt x="81" y="95"/>
                    <a:pt x="74" y="100"/>
                    <a:pt x="74" y="104"/>
                  </a:cubicBezTo>
                  <a:cubicBezTo>
                    <a:pt x="74" y="109"/>
                    <a:pt x="77" y="121"/>
                    <a:pt x="77" y="121"/>
                  </a:cubicBezTo>
                  <a:cubicBezTo>
                    <a:pt x="74" y="137"/>
                    <a:pt x="74" y="137"/>
                    <a:pt x="74" y="137"/>
                  </a:cubicBezTo>
                  <a:cubicBezTo>
                    <a:pt x="74" y="137"/>
                    <a:pt x="83" y="136"/>
                    <a:pt x="83" y="141"/>
                  </a:cubicBezTo>
                  <a:cubicBezTo>
                    <a:pt x="85" y="148"/>
                    <a:pt x="78" y="153"/>
                    <a:pt x="75" y="150"/>
                  </a:cubicBezTo>
                  <a:cubicBezTo>
                    <a:pt x="72" y="147"/>
                    <a:pt x="76" y="141"/>
                    <a:pt x="72" y="142"/>
                  </a:cubicBezTo>
                  <a:cubicBezTo>
                    <a:pt x="67" y="142"/>
                    <a:pt x="61" y="144"/>
                    <a:pt x="61" y="144"/>
                  </a:cubicBezTo>
                  <a:cubicBezTo>
                    <a:pt x="57" y="154"/>
                    <a:pt x="57" y="154"/>
                    <a:pt x="57" y="154"/>
                  </a:cubicBezTo>
                  <a:cubicBezTo>
                    <a:pt x="57" y="154"/>
                    <a:pt x="49" y="151"/>
                    <a:pt x="47" y="154"/>
                  </a:cubicBezTo>
                  <a:cubicBezTo>
                    <a:pt x="46" y="156"/>
                    <a:pt x="53" y="165"/>
                    <a:pt x="49" y="166"/>
                  </a:cubicBezTo>
                  <a:cubicBezTo>
                    <a:pt x="45" y="168"/>
                    <a:pt x="41" y="166"/>
                    <a:pt x="41" y="166"/>
                  </a:cubicBezTo>
                  <a:cubicBezTo>
                    <a:pt x="34" y="174"/>
                    <a:pt x="34" y="174"/>
                    <a:pt x="34" y="174"/>
                  </a:cubicBezTo>
                  <a:cubicBezTo>
                    <a:pt x="27" y="171"/>
                    <a:pt x="27" y="171"/>
                    <a:pt x="27" y="171"/>
                  </a:cubicBezTo>
                  <a:cubicBezTo>
                    <a:pt x="20" y="173"/>
                    <a:pt x="20" y="173"/>
                    <a:pt x="20" y="173"/>
                  </a:cubicBezTo>
                  <a:cubicBezTo>
                    <a:pt x="13" y="171"/>
                    <a:pt x="13" y="171"/>
                    <a:pt x="13" y="171"/>
                  </a:cubicBezTo>
                  <a:cubicBezTo>
                    <a:pt x="12" y="175"/>
                    <a:pt x="12" y="175"/>
                    <a:pt x="12" y="175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9"/>
                    <a:pt x="9" y="195"/>
                    <a:pt x="11" y="201"/>
                  </a:cubicBezTo>
                  <a:cubicBezTo>
                    <a:pt x="12" y="207"/>
                    <a:pt x="27" y="225"/>
                    <a:pt x="27" y="225"/>
                  </a:cubicBezTo>
                  <a:cubicBezTo>
                    <a:pt x="25" y="229"/>
                    <a:pt x="25" y="229"/>
                    <a:pt x="25" y="229"/>
                  </a:cubicBezTo>
                  <a:cubicBezTo>
                    <a:pt x="30" y="237"/>
                    <a:pt x="30" y="237"/>
                    <a:pt x="30" y="237"/>
                  </a:cubicBezTo>
                  <a:cubicBezTo>
                    <a:pt x="28" y="238"/>
                    <a:pt x="28" y="238"/>
                    <a:pt x="28" y="238"/>
                  </a:cubicBezTo>
                  <a:cubicBezTo>
                    <a:pt x="30" y="257"/>
                    <a:pt x="30" y="257"/>
                    <a:pt x="30" y="257"/>
                  </a:cubicBezTo>
                  <a:cubicBezTo>
                    <a:pt x="30" y="257"/>
                    <a:pt x="18" y="260"/>
                    <a:pt x="12" y="265"/>
                  </a:cubicBezTo>
                  <a:cubicBezTo>
                    <a:pt x="6" y="271"/>
                    <a:pt x="5" y="286"/>
                    <a:pt x="5" y="286"/>
                  </a:cubicBezTo>
                  <a:cubicBezTo>
                    <a:pt x="5" y="286"/>
                    <a:pt x="12" y="286"/>
                    <a:pt x="22" y="291"/>
                  </a:cubicBezTo>
                  <a:cubicBezTo>
                    <a:pt x="31" y="294"/>
                    <a:pt x="29" y="299"/>
                    <a:pt x="29" y="299"/>
                  </a:cubicBezTo>
                  <a:cubicBezTo>
                    <a:pt x="27" y="307"/>
                    <a:pt x="27" y="307"/>
                    <a:pt x="27" y="307"/>
                  </a:cubicBezTo>
                  <a:cubicBezTo>
                    <a:pt x="30" y="313"/>
                    <a:pt x="30" y="313"/>
                    <a:pt x="30" y="313"/>
                  </a:cubicBezTo>
                  <a:cubicBezTo>
                    <a:pt x="26" y="317"/>
                    <a:pt x="26" y="317"/>
                    <a:pt x="26" y="317"/>
                  </a:cubicBezTo>
                  <a:cubicBezTo>
                    <a:pt x="26" y="317"/>
                    <a:pt x="26" y="323"/>
                    <a:pt x="28" y="326"/>
                  </a:cubicBezTo>
                  <a:cubicBezTo>
                    <a:pt x="29" y="327"/>
                    <a:pt x="30" y="329"/>
                    <a:pt x="31" y="330"/>
                  </a:cubicBezTo>
                  <a:cubicBezTo>
                    <a:pt x="31" y="328"/>
                    <a:pt x="31" y="321"/>
                    <a:pt x="36" y="321"/>
                  </a:cubicBezTo>
                  <a:cubicBezTo>
                    <a:pt x="41" y="321"/>
                    <a:pt x="42" y="326"/>
                    <a:pt x="50" y="320"/>
                  </a:cubicBezTo>
                  <a:cubicBezTo>
                    <a:pt x="59" y="314"/>
                    <a:pt x="51" y="307"/>
                    <a:pt x="59" y="302"/>
                  </a:cubicBezTo>
                  <a:cubicBezTo>
                    <a:pt x="66" y="297"/>
                    <a:pt x="72" y="300"/>
                    <a:pt x="80" y="296"/>
                  </a:cubicBezTo>
                  <a:cubicBezTo>
                    <a:pt x="89" y="292"/>
                    <a:pt x="90" y="291"/>
                    <a:pt x="98" y="292"/>
                  </a:cubicBezTo>
                  <a:cubicBezTo>
                    <a:pt x="107" y="293"/>
                    <a:pt x="110" y="290"/>
                    <a:pt x="115" y="288"/>
                  </a:cubicBezTo>
                  <a:cubicBezTo>
                    <a:pt x="121" y="286"/>
                    <a:pt x="129" y="288"/>
                    <a:pt x="129" y="288"/>
                  </a:cubicBezTo>
                  <a:cubicBezTo>
                    <a:pt x="139" y="288"/>
                    <a:pt x="139" y="288"/>
                    <a:pt x="139" y="288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52" y="288"/>
                    <a:pt x="152" y="288"/>
                    <a:pt x="152" y="288"/>
                  </a:cubicBezTo>
                  <a:cubicBezTo>
                    <a:pt x="163" y="293"/>
                    <a:pt x="163" y="293"/>
                    <a:pt x="163" y="293"/>
                  </a:cubicBezTo>
                  <a:cubicBezTo>
                    <a:pt x="163" y="293"/>
                    <a:pt x="169" y="281"/>
                    <a:pt x="174" y="288"/>
                  </a:cubicBezTo>
                  <a:cubicBezTo>
                    <a:pt x="179" y="293"/>
                    <a:pt x="176" y="298"/>
                    <a:pt x="184" y="296"/>
                  </a:cubicBezTo>
                  <a:cubicBezTo>
                    <a:pt x="192" y="294"/>
                    <a:pt x="196" y="295"/>
                    <a:pt x="196" y="295"/>
                  </a:cubicBezTo>
                  <a:cubicBezTo>
                    <a:pt x="196" y="295"/>
                    <a:pt x="197" y="301"/>
                    <a:pt x="201" y="301"/>
                  </a:cubicBezTo>
                  <a:cubicBezTo>
                    <a:pt x="204" y="301"/>
                    <a:pt x="201" y="293"/>
                    <a:pt x="201" y="293"/>
                  </a:cubicBezTo>
                  <a:cubicBezTo>
                    <a:pt x="209" y="293"/>
                    <a:pt x="209" y="293"/>
                    <a:pt x="209" y="293"/>
                  </a:cubicBezTo>
                  <a:cubicBezTo>
                    <a:pt x="218" y="285"/>
                    <a:pt x="218" y="285"/>
                    <a:pt x="218" y="285"/>
                  </a:cubicBezTo>
                  <a:cubicBezTo>
                    <a:pt x="223" y="293"/>
                    <a:pt x="223" y="293"/>
                    <a:pt x="223" y="293"/>
                  </a:cubicBezTo>
                  <a:cubicBezTo>
                    <a:pt x="226" y="288"/>
                    <a:pt x="226" y="288"/>
                    <a:pt x="226" y="288"/>
                  </a:cubicBezTo>
                  <a:cubicBezTo>
                    <a:pt x="235" y="286"/>
                    <a:pt x="235" y="286"/>
                    <a:pt x="235" y="286"/>
                  </a:cubicBezTo>
                  <a:cubicBezTo>
                    <a:pt x="235" y="286"/>
                    <a:pt x="233" y="295"/>
                    <a:pt x="238" y="294"/>
                  </a:cubicBezTo>
                  <a:cubicBezTo>
                    <a:pt x="243" y="293"/>
                    <a:pt x="242" y="285"/>
                    <a:pt x="242" y="285"/>
                  </a:cubicBezTo>
                  <a:cubicBezTo>
                    <a:pt x="251" y="283"/>
                    <a:pt x="251" y="283"/>
                    <a:pt x="251" y="283"/>
                  </a:cubicBezTo>
                  <a:cubicBezTo>
                    <a:pt x="253" y="277"/>
                    <a:pt x="253" y="277"/>
                    <a:pt x="253" y="277"/>
                  </a:cubicBezTo>
                  <a:cubicBezTo>
                    <a:pt x="259" y="280"/>
                    <a:pt x="259" y="280"/>
                    <a:pt x="259" y="280"/>
                  </a:cubicBezTo>
                  <a:cubicBezTo>
                    <a:pt x="259" y="280"/>
                    <a:pt x="259" y="293"/>
                    <a:pt x="265" y="292"/>
                  </a:cubicBezTo>
                  <a:cubicBezTo>
                    <a:pt x="270" y="292"/>
                    <a:pt x="270" y="284"/>
                    <a:pt x="270" y="284"/>
                  </a:cubicBezTo>
                  <a:cubicBezTo>
                    <a:pt x="279" y="280"/>
                    <a:pt x="279" y="280"/>
                    <a:pt x="279" y="280"/>
                  </a:cubicBezTo>
                  <a:cubicBezTo>
                    <a:pt x="282" y="283"/>
                    <a:pt x="282" y="283"/>
                    <a:pt x="282" y="283"/>
                  </a:cubicBezTo>
                  <a:cubicBezTo>
                    <a:pt x="282" y="283"/>
                    <a:pt x="295" y="269"/>
                    <a:pt x="302" y="276"/>
                  </a:cubicBezTo>
                  <a:cubicBezTo>
                    <a:pt x="307" y="281"/>
                    <a:pt x="313" y="291"/>
                    <a:pt x="317" y="286"/>
                  </a:cubicBezTo>
                  <a:cubicBezTo>
                    <a:pt x="320" y="281"/>
                    <a:pt x="310" y="279"/>
                    <a:pt x="311" y="265"/>
                  </a:cubicBezTo>
                  <a:cubicBezTo>
                    <a:pt x="312" y="252"/>
                    <a:pt x="313" y="233"/>
                    <a:pt x="324" y="232"/>
                  </a:cubicBezTo>
                  <a:cubicBezTo>
                    <a:pt x="335" y="231"/>
                    <a:pt x="337" y="225"/>
                    <a:pt x="337" y="225"/>
                  </a:cubicBezTo>
                  <a:cubicBezTo>
                    <a:pt x="347" y="225"/>
                    <a:pt x="347" y="225"/>
                    <a:pt x="347" y="225"/>
                  </a:cubicBezTo>
                  <a:cubicBezTo>
                    <a:pt x="351" y="221"/>
                    <a:pt x="351" y="221"/>
                    <a:pt x="351" y="221"/>
                  </a:cubicBezTo>
                  <a:cubicBezTo>
                    <a:pt x="339" y="212"/>
                    <a:pt x="339" y="212"/>
                    <a:pt x="339" y="212"/>
                  </a:cubicBezTo>
                  <a:cubicBezTo>
                    <a:pt x="339" y="212"/>
                    <a:pt x="338" y="200"/>
                    <a:pt x="335" y="196"/>
                  </a:cubicBezTo>
                  <a:cubicBezTo>
                    <a:pt x="333" y="192"/>
                    <a:pt x="331" y="191"/>
                    <a:pt x="331" y="191"/>
                  </a:cubicBezTo>
                  <a:cubicBezTo>
                    <a:pt x="331" y="191"/>
                    <a:pt x="333" y="185"/>
                    <a:pt x="326" y="180"/>
                  </a:cubicBezTo>
                  <a:cubicBezTo>
                    <a:pt x="321" y="175"/>
                    <a:pt x="313" y="173"/>
                    <a:pt x="313" y="173"/>
                  </a:cubicBezTo>
                  <a:cubicBezTo>
                    <a:pt x="316" y="166"/>
                    <a:pt x="316" y="166"/>
                    <a:pt x="316" y="166"/>
                  </a:cubicBezTo>
                  <a:cubicBezTo>
                    <a:pt x="315" y="158"/>
                    <a:pt x="315" y="158"/>
                    <a:pt x="315" y="158"/>
                  </a:cubicBezTo>
                  <a:cubicBezTo>
                    <a:pt x="326" y="155"/>
                    <a:pt x="326" y="155"/>
                    <a:pt x="326" y="155"/>
                  </a:cubicBezTo>
                  <a:cubicBezTo>
                    <a:pt x="326" y="155"/>
                    <a:pt x="335" y="163"/>
                    <a:pt x="344" y="157"/>
                  </a:cubicBezTo>
                  <a:cubicBezTo>
                    <a:pt x="353" y="153"/>
                    <a:pt x="356" y="145"/>
                    <a:pt x="356" y="145"/>
                  </a:cubicBezTo>
                  <a:cubicBezTo>
                    <a:pt x="354" y="140"/>
                    <a:pt x="354" y="140"/>
                    <a:pt x="354" y="140"/>
                  </a:cubicBezTo>
                  <a:lnTo>
                    <a:pt x="365" y="136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1" name="Lettland" descr="© INSCALE GmbH, 05.05.2010&#10;http://www.presentationload.com/">
              <a:extLst>
                <a:ext uri="{FF2B5EF4-FFF2-40B4-BE49-F238E27FC236}">
                  <a16:creationId xmlns:a16="http://schemas.microsoft.com/office/drawing/2014/main" id="{8DDFD410-898B-499C-859E-D7A5E21B1FDD}"/>
                </a:ext>
              </a:extLst>
            </p:cNvPr>
            <p:cNvSpPr>
              <a:spLocks/>
            </p:cNvSpPr>
            <p:nvPr/>
          </p:nvSpPr>
          <p:spPr bwMode="gray">
            <a:xfrm>
              <a:off x="8620630" y="2015184"/>
              <a:ext cx="1072174" cy="437881"/>
            </a:xfrm>
            <a:custGeom>
              <a:avLst/>
              <a:gdLst/>
              <a:ahLst/>
              <a:cxnLst>
                <a:cxn ang="0">
                  <a:pos x="264" y="89"/>
                </a:cxn>
                <a:cxn ang="0">
                  <a:pos x="259" y="74"/>
                </a:cxn>
                <a:cxn ang="0">
                  <a:pos x="255" y="68"/>
                </a:cxn>
                <a:cxn ang="0">
                  <a:pos x="249" y="61"/>
                </a:cxn>
                <a:cxn ang="0">
                  <a:pos x="237" y="61"/>
                </a:cxn>
                <a:cxn ang="0">
                  <a:pos x="237" y="46"/>
                </a:cxn>
                <a:cxn ang="0">
                  <a:pos x="240" y="31"/>
                </a:cxn>
                <a:cxn ang="0">
                  <a:pos x="225" y="25"/>
                </a:cxn>
                <a:cxn ang="0">
                  <a:pos x="212" y="20"/>
                </a:cxn>
                <a:cxn ang="0">
                  <a:pos x="190" y="26"/>
                </a:cxn>
                <a:cxn ang="0">
                  <a:pos x="177" y="23"/>
                </a:cxn>
                <a:cxn ang="0">
                  <a:pos x="167" y="13"/>
                </a:cxn>
                <a:cxn ang="0">
                  <a:pos x="161" y="11"/>
                </a:cxn>
                <a:cxn ang="0">
                  <a:pos x="153" y="9"/>
                </a:cxn>
                <a:cxn ang="0">
                  <a:pos x="146" y="4"/>
                </a:cxn>
                <a:cxn ang="0">
                  <a:pos x="139" y="5"/>
                </a:cxn>
                <a:cxn ang="0">
                  <a:pos x="132" y="0"/>
                </a:cxn>
                <a:cxn ang="0">
                  <a:pos x="121" y="7"/>
                </a:cxn>
                <a:cxn ang="0">
                  <a:pos x="115" y="11"/>
                </a:cxn>
                <a:cxn ang="0">
                  <a:pos x="111" y="18"/>
                </a:cxn>
                <a:cxn ang="0">
                  <a:pos x="109" y="23"/>
                </a:cxn>
                <a:cxn ang="0">
                  <a:pos x="117" y="60"/>
                </a:cxn>
                <a:cxn ang="0">
                  <a:pos x="95" y="79"/>
                </a:cxn>
                <a:cxn ang="0">
                  <a:pos x="78" y="75"/>
                </a:cxn>
                <a:cxn ang="0">
                  <a:pos x="73" y="62"/>
                </a:cxn>
                <a:cxn ang="0">
                  <a:pos x="65" y="56"/>
                </a:cxn>
                <a:cxn ang="0">
                  <a:pos x="51" y="46"/>
                </a:cxn>
                <a:cxn ang="0">
                  <a:pos x="18" y="54"/>
                </a:cxn>
                <a:cxn ang="0">
                  <a:pos x="12" y="88"/>
                </a:cxn>
                <a:cxn ang="0">
                  <a:pos x="2" y="116"/>
                </a:cxn>
                <a:cxn ang="0">
                  <a:pos x="2" y="127"/>
                </a:cxn>
                <a:cxn ang="0">
                  <a:pos x="4" y="123"/>
                </a:cxn>
                <a:cxn ang="0">
                  <a:pos x="3" y="132"/>
                </a:cxn>
                <a:cxn ang="0">
                  <a:pos x="0" y="135"/>
                </a:cxn>
                <a:cxn ang="0">
                  <a:pos x="5" y="151"/>
                </a:cxn>
                <a:cxn ang="0">
                  <a:pos x="10" y="149"/>
                </a:cxn>
                <a:cxn ang="0">
                  <a:pos x="21" y="133"/>
                </a:cxn>
                <a:cxn ang="0">
                  <a:pos x="33" y="127"/>
                </a:cxn>
                <a:cxn ang="0">
                  <a:pos x="41" y="123"/>
                </a:cxn>
                <a:cxn ang="0">
                  <a:pos x="63" y="125"/>
                </a:cxn>
                <a:cxn ang="0">
                  <a:pos x="75" y="119"/>
                </a:cxn>
                <a:cxn ang="0">
                  <a:pos x="80" y="125"/>
                </a:cxn>
                <a:cxn ang="0">
                  <a:pos x="88" y="119"/>
                </a:cxn>
                <a:cxn ang="0">
                  <a:pos x="99" y="117"/>
                </a:cxn>
                <a:cxn ang="0">
                  <a:pos x="118" y="122"/>
                </a:cxn>
                <a:cxn ang="0">
                  <a:pos x="129" y="120"/>
                </a:cxn>
                <a:cxn ang="0">
                  <a:pos x="135" y="112"/>
                </a:cxn>
                <a:cxn ang="0">
                  <a:pos x="147" y="109"/>
                </a:cxn>
                <a:cxn ang="0">
                  <a:pos x="174" y="119"/>
                </a:cxn>
                <a:cxn ang="0">
                  <a:pos x="191" y="126"/>
                </a:cxn>
                <a:cxn ang="0">
                  <a:pos x="201" y="136"/>
                </a:cxn>
                <a:cxn ang="0">
                  <a:pos x="215" y="143"/>
                </a:cxn>
                <a:cxn ang="0">
                  <a:pos x="225" y="138"/>
                </a:cxn>
                <a:cxn ang="0">
                  <a:pos x="232" y="127"/>
                </a:cxn>
                <a:cxn ang="0">
                  <a:pos x="244" y="129"/>
                </a:cxn>
                <a:cxn ang="0">
                  <a:pos x="251" y="119"/>
                </a:cxn>
                <a:cxn ang="0">
                  <a:pos x="265" y="101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3" name="Moldawien" descr="© INSCALE GmbH, 05.05.2010&#10;http://www.presentationload.com/">
              <a:extLst>
                <a:ext uri="{FF2B5EF4-FFF2-40B4-BE49-F238E27FC236}">
                  <a16:creationId xmlns:a16="http://schemas.microsoft.com/office/drawing/2014/main" id="{B627D1C0-8E2D-4A15-A71D-7839F6C79419}"/>
                </a:ext>
              </a:extLst>
            </p:cNvPr>
            <p:cNvSpPr>
              <a:spLocks/>
            </p:cNvSpPr>
            <p:nvPr/>
          </p:nvSpPr>
          <p:spPr bwMode="gray">
            <a:xfrm>
              <a:off x="9552715" y="3718245"/>
              <a:ext cx="724817" cy="544845"/>
            </a:xfrm>
            <a:custGeom>
              <a:avLst/>
              <a:gdLst/>
              <a:ahLst/>
              <a:cxnLst>
                <a:cxn ang="0">
                  <a:pos x="7" y="22"/>
                </a:cxn>
                <a:cxn ang="0">
                  <a:pos x="4" y="22"/>
                </a:cxn>
                <a:cxn ang="0">
                  <a:pos x="4" y="25"/>
                </a:cxn>
                <a:cxn ang="0">
                  <a:pos x="7" y="25"/>
                </a:cxn>
                <a:cxn ang="0">
                  <a:pos x="28" y="41"/>
                </a:cxn>
                <a:cxn ang="0">
                  <a:pos x="47" y="63"/>
                </a:cxn>
                <a:cxn ang="0">
                  <a:pos x="69" y="88"/>
                </a:cxn>
                <a:cxn ang="0">
                  <a:pos x="83" y="94"/>
                </a:cxn>
                <a:cxn ang="0">
                  <a:pos x="87" y="106"/>
                </a:cxn>
                <a:cxn ang="0">
                  <a:pos x="97" y="117"/>
                </a:cxn>
                <a:cxn ang="0">
                  <a:pos x="98" y="139"/>
                </a:cxn>
                <a:cxn ang="0">
                  <a:pos x="94" y="142"/>
                </a:cxn>
                <a:cxn ang="0">
                  <a:pos x="98" y="159"/>
                </a:cxn>
                <a:cxn ang="0">
                  <a:pos x="105" y="179"/>
                </a:cxn>
                <a:cxn ang="0">
                  <a:pos x="102" y="185"/>
                </a:cxn>
                <a:cxn ang="0">
                  <a:pos x="109" y="188"/>
                </a:cxn>
                <a:cxn ang="0">
                  <a:pos x="112" y="185"/>
                </a:cxn>
                <a:cxn ang="0">
                  <a:pos x="124" y="183"/>
                </a:cxn>
                <a:cxn ang="0">
                  <a:pos x="119" y="171"/>
                </a:cxn>
                <a:cxn ang="0">
                  <a:pos x="130" y="159"/>
                </a:cxn>
                <a:cxn ang="0">
                  <a:pos x="127" y="154"/>
                </a:cxn>
                <a:cxn ang="0">
                  <a:pos x="136" y="148"/>
                </a:cxn>
                <a:cxn ang="0">
                  <a:pos x="136" y="134"/>
                </a:cxn>
                <a:cxn ang="0">
                  <a:pos x="128" y="116"/>
                </a:cxn>
                <a:cxn ang="0">
                  <a:pos x="142" y="121"/>
                </a:cxn>
                <a:cxn ang="0">
                  <a:pos x="148" y="112"/>
                </a:cxn>
                <a:cxn ang="0">
                  <a:pos x="160" y="118"/>
                </a:cxn>
                <a:cxn ang="0">
                  <a:pos x="164" y="110"/>
                </a:cxn>
                <a:cxn ang="0">
                  <a:pos x="169" y="116"/>
                </a:cxn>
                <a:cxn ang="0">
                  <a:pos x="180" y="110"/>
                </a:cxn>
                <a:cxn ang="0">
                  <a:pos x="169" y="106"/>
                </a:cxn>
                <a:cxn ang="0">
                  <a:pos x="164" y="84"/>
                </a:cxn>
                <a:cxn ang="0">
                  <a:pos x="151" y="80"/>
                </a:cxn>
                <a:cxn ang="0">
                  <a:pos x="145" y="63"/>
                </a:cxn>
                <a:cxn ang="0">
                  <a:pos x="141" y="55"/>
                </a:cxn>
                <a:cxn ang="0">
                  <a:pos x="138" y="60"/>
                </a:cxn>
                <a:cxn ang="0">
                  <a:pos x="129" y="54"/>
                </a:cxn>
                <a:cxn ang="0">
                  <a:pos x="124" y="54"/>
                </a:cxn>
                <a:cxn ang="0">
                  <a:pos x="120" y="47"/>
                </a:cxn>
                <a:cxn ang="0">
                  <a:pos x="122" y="34"/>
                </a:cxn>
                <a:cxn ang="0">
                  <a:pos x="113" y="18"/>
                </a:cxn>
                <a:cxn ang="0">
                  <a:pos x="110" y="23"/>
                </a:cxn>
                <a:cxn ang="0">
                  <a:pos x="103" y="24"/>
                </a:cxn>
                <a:cxn ang="0">
                  <a:pos x="97" y="15"/>
                </a:cxn>
                <a:cxn ang="0">
                  <a:pos x="83" y="14"/>
                </a:cxn>
                <a:cxn ang="0">
                  <a:pos x="83" y="21"/>
                </a:cxn>
                <a:cxn ang="0">
                  <a:pos x="78" y="16"/>
                </a:cxn>
                <a:cxn ang="0">
                  <a:pos x="74" y="17"/>
                </a:cxn>
                <a:cxn ang="0">
                  <a:pos x="75" y="11"/>
                </a:cxn>
                <a:cxn ang="0">
                  <a:pos x="63" y="15"/>
                </a:cxn>
                <a:cxn ang="0">
                  <a:pos x="61" y="10"/>
                </a:cxn>
                <a:cxn ang="0">
                  <a:pos x="55" y="10"/>
                </a:cxn>
                <a:cxn ang="0">
                  <a:pos x="42" y="4"/>
                </a:cxn>
                <a:cxn ang="0">
                  <a:pos x="36" y="9"/>
                </a:cxn>
                <a:cxn ang="0">
                  <a:pos x="28" y="8"/>
                </a:cxn>
                <a:cxn ang="0">
                  <a:pos x="24" y="13"/>
                </a:cxn>
                <a:cxn ang="0">
                  <a:pos x="17" y="10"/>
                </a:cxn>
                <a:cxn ang="0">
                  <a:pos x="16" y="16"/>
                </a:cxn>
                <a:cxn ang="0">
                  <a:pos x="6" y="14"/>
                </a:cxn>
                <a:cxn ang="0">
                  <a:pos x="7" y="22"/>
                </a:cxn>
              </a:cxnLst>
              <a:rect l="0" t="0" r="r" b="b"/>
              <a:pathLst>
                <a:path w="180" h="188">
                  <a:moveTo>
                    <a:pt x="7" y="22"/>
                  </a:moveTo>
                  <a:cubicBezTo>
                    <a:pt x="4" y="22"/>
                    <a:pt x="4" y="22"/>
                    <a:pt x="4" y="22"/>
                  </a:cubicBezTo>
                  <a:cubicBezTo>
                    <a:pt x="4" y="25"/>
                    <a:pt x="4" y="25"/>
                    <a:pt x="4" y="25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25"/>
                    <a:pt x="22" y="27"/>
                    <a:pt x="28" y="41"/>
                  </a:cubicBezTo>
                  <a:cubicBezTo>
                    <a:pt x="36" y="56"/>
                    <a:pt x="41" y="59"/>
                    <a:pt x="47" y="63"/>
                  </a:cubicBezTo>
                  <a:cubicBezTo>
                    <a:pt x="53" y="69"/>
                    <a:pt x="69" y="88"/>
                    <a:pt x="69" y="88"/>
                  </a:cubicBezTo>
                  <a:cubicBezTo>
                    <a:pt x="69" y="88"/>
                    <a:pt x="82" y="90"/>
                    <a:pt x="83" y="94"/>
                  </a:cubicBezTo>
                  <a:cubicBezTo>
                    <a:pt x="86" y="99"/>
                    <a:pt x="87" y="106"/>
                    <a:pt x="87" y="106"/>
                  </a:cubicBezTo>
                  <a:cubicBezTo>
                    <a:pt x="87" y="106"/>
                    <a:pt x="95" y="108"/>
                    <a:pt x="97" y="117"/>
                  </a:cubicBezTo>
                  <a:cubicBezTo>
                    <a:pt x="98" y="125"/>
                    <a:pt x="98" y="139"/>
                    <a:pt x="98" y="139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105" y="179"/>
                    <a:pt x="105" y="179"/>
                    <a:pt x="105" y="179"/>
                  </a:cubicBezTo>
                  <a:cubicBezTo>
                    <a:pt x="102" y="185"/>
                    <a:pt x="102" y="185"/>
                    <a:pt x="102" y="185"/>
                  </a:cubicBezTo>
                  <a:cubicBezTo>
                    <a:pt x="109" y="188"/>
                    <a:pt x="109" y="188"/>
                    <a:pt x="109" y="188"/>
                  </a:cubicBezTo>
                  <a:cubicBezTo>
                    <a:pt x="112" y="185"/>
                    <a:pt x="112" y="185"/>
                    <a:pt x="112" y="185"/>
                  </a:cubicBezTo>
                  <a:cubicBezTo>
                    <a:pt x="112" y="185"/>
                    <a:pt x="121" y="187"/>
                    <a:pt x="124" y="183"/>
                  </a:cubicBezTo>
                  <a:cubicBezTo>
                    <a:pt x="127" y="180"/>
                    <a:pt x="119" y="171"/>
                    <a:pt x="119" y="171"/>
                  </a:cubicBezTo>
                  <a:cubicBezTo>
                    <a:pt x="130" y="159"/>
                    <a:pt x="130" y="159"/>
                    <a:pt x="130" y="159"/>
                  </a:cubicBezTo>
                  <a:cubicBezTo>
                    <a:pt x="127" y="154"/>
                    <a:pt x="127" y="154"/>
                    <a:pt x="127" y="154"/>
                  </a:cubicBezTo>
                  <a:cubicBezTo>
                    <a:pt x="136" y="148"/>
                    <a:pt x="136" y="148"/>
                    <a:pt x="136" y="148"/>
                  </a:cubicBezTo>
                  <a:cubicBezTo>
                    <a:pt x="136" y="134"/>
                    <a:pt x="136" y="134"/>
                    <a:pt x="136" y="134"/>
                  </a:cubicBezTo>
                  <a:cubicBezTo>
                    <a:pt x="136" y="134"/>
                    <a:pt x="123" y="121"/>
                    <a:pt x="128" y="116"/>
                  </a:cubicBezTo>
                  <a:cubicBezTo>
                    <a:pt x="144" y="103"/>
                    <a:pt x="139" y="121"/>
                    <a:pt x="142" y="121"/>
                  </a:cubicBezTo>
                  <a:cubicBezTo>
                    <a:pt x="145" y="121"/>
                    <a:pt x="148" y="112"/>
                    <a:pt x="148" y="112"/>
                  </a:cubicBezTo>
                  <a:cubicBezTo>
                    <a:pt x="148" y="112"/>
                    <a:pt x="156" y="119"/>
                    <a:pt x="160" y="118"/>
                  </a:cubicBezTo>
                  <a:cubicBezTo>
                    <a:pt x="164" y="117"/>
                    <a:pt x="162" y="110"/>
                    <a:pt x="164" y="110"/>
                  </a:cubicBezTo>
                  <a:cubicBezTo>
                    <a:pt x="167" y="110"/>
                    <a:pt x="169" y="116"/>
                    <a:pt x="169" y="116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0" y="110"/>
                    <a:pt x="173" y="107"/>
                    <a:pt x="169" y="106"/>
                  </a:cubicBezTo>
                  <a:cubicBezTo>
                    <a:pt x="164" y="105"/>
                    <a:pt x="169" y="89"/>
                    <a:pt x="164" y="84"/>
                  </a:cubicBezTo>
                  <a:cubicBezTo>
                    <a:pt x="161" y="77"/>
                    <a:pt x="157" y="81"/>
                    <a:pt x="151" y="80"/>
                  </a:cubicBezTo>
                  <a:cubicBezTo>
                    <a:pt x="143" y="79"/>
                    <a:pt x="145" y="63"/>
                    <a:pt x="145" y="63"/>
                  </a:cubicBezTo>
                  <a:cubicBezTo>
                    <a:pt x="141" y="55"/>
                    <a:pt x="141" y="55"/>
                    <a:pt x="141" y="55"/>
                  </a:cubicBezTo>
                  <a:cubicBezTo>
                    <a:pt x="138" y="60"/>
                    <a:pt x="138" y="60"/>
                    <a:pt x="138" y="60"/>
                  </a:cubicBezTo>
                  <a:cubicBezTo>
                    <a:pt x="138" y="60"/>
                    <a:pt x="130" y="55"/>
                    <a:pt x="129" y="54"/>
                  </a:cubicBezTo>
                  <a:cubicBezTo>
                    <a:pt x="128" y="53"/>
                    <a:pt x="124" y="54"/>
                    <a:pt x="124" y="54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20" y="47"/>
                    <a:pt x="122" y="41"/>
                    <a:pt x="122" y="34"/>
                  </a:cubicBezTo>
                  <a:cubicBezTo>
                    <a:pt x="122" y="29"/>
                    <a:pt x="113" y="18"/>
                    <a:pt x="113" y="18"/>
                  </a:cubicBezTo>
                  <a:cubicBezTo>
                    <a:pt x="110" y="23"/>
                    <a:pt x="110" y="23"/>
                    <a:pt x="110" y="23"/>
                  </a:cubicBezTo>
                  <a:cubicBezTo>
                    <a:pt x="103" y="24"/>
                    <a:pt x="103" y="24"/>
                    <a:pt x="103" y="24"/>
                  </a:cubicBezTo>
                  <a:cubicBezTo>
                    <a:pt x="97" y="15"/>
                    <a:pt x="97" y="15"/>
                    <a:pt x="97" y="15"/>
                  </a:cubicBezTo>
                  <a:cubicBezTo>
                    <a:pt x="97" y="15"/>
                    <a:pt x="87" y="14"/>
                    <a:pt x="83" y="14"/>
                  </a:cubicBezTo>
                  <a:cubicBezTo>
                    <a:pt x="80" y="14"/>
                    <a:pt x="83" y="21"/>
                    <a:pt x="83" y="21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63" y="15"/>
                    <a:pt x="63" y="15"/>
                    <a:pt x="63" y="15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5" y="10"/>
                    <a:pt x="49" y="6"/>
                    <a:pt x="42" y="4"/>
                  </a:cubicBezTo>
                  <a:cubicBezTo>
                    <a:pt x="33" y="0"/>
                    <a:pt x="36" y="9"/>
                    <a:pt x="36" y="9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9" y="16"/>
                    <a:pt x="16" y="16"/>
                  </a:cubicBezTo>
                  <a:cubicBezTo>
                    <a:pt x="13" y="16"/>
                    <a:pt x="12" y="12"/>
                    <a:pt x="6" y="14"/>
                  </a:cubicBezTo>
                  <a:cubicBezTo>
                    <a:pt x="0" y="15"/>
                    <a:pt x="7" y="22"/>
                    <a:pt x="7" y="22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4" name="Bulgarien" descr="© INSCALE GmbH, 05.05.2010&#10;http://www.presentationload.com/">
              <a:extLst>
                <a:ext uri="{FF2B5EF4-FFF2-40B4-BE49-F238E27FC236}">
                  <a16:creationId xmlns:a16="http://schemas.microsoft.com/office/drawing/2014/main" id="{82B59C31-98D3-4F01-BA76-2D225A334D66}"/>
                </a:ext>
              </a:extLst>
            </p:cNvPr>
            <p:cNvSpPr>
              <a:spLocks/>
            </p:cNvSpPr>
            <p:nvPr/>
          </p:nvSpPr>
          <p:spPr bwMode="gray">
            <a:xfrm>
              <a:off x="8973792" y="4535513"/>
              <a:ext cx="1206483" cy="635097"/>
            </a:xfrm>
            <a:custGeom>
              <a:avLst/>
              <a:gdLst/>
              <a:ahLst/>
              <a:cxnLst>
                <a:cxn ang="0">
                  <a:pos x="278" y="15"/>
                </a:cxn>
                <a:cxn ang="0">
                  <a:pos x="262" y="3"/>
                </a:cxn>
                <a:cxn ang="0">
                  <a:pos x="248" y="3"/>
                </a:cxn>
                <a:cxn ang="0">
                  <a:pos x="218" y="3"/>
                </a:cxn>
                <a:cxn ang="0">
                  <a:pos x="171" y="33"/>
                </a:cxn>
                <a:cxn ang="0">
                  <a:pos x="137" y="48"/>
                </a:cxn>
                <a:cxn ang="0">
                  <a:pos x="124" y="48"/>
                </a:cxn>
                <a:cxn ang="0">
                  <a:pos x="102" y="50"/>
                </a:cxn>
                <a:cxn ang="0">
                  <a:pos x="68" y="55"/>
                </a:cxn>
                <a:cxn ang="0">
                  <a:pos x="51" y="51"/>
                </a:cxn>
                <a:cxn ang="0">
                  <a:pos x="22" y="53"/>
                </a:cxn>
                <a:cxn ang="0">
                  <a:pos x="22" y="40"/>
                </a:cxn>
                <a:cxn ang="0">
                  <a:pos x="8" y="39"/>
                </a:cxn>
                <a:cxn ang="0">
                  <a:pos x="2" y="50"/>
                </a:cxn>
                <a:cxn ang="0">
                  <a:pos x="8" y="74"/>
                </a:cxn>
                <a:cxn ang="0">
                  <a:pos x="27" y="89"/>
                </a:cxn>
                <a:cxn ang="0">
                  <a:pos x="29" y="116"/>
                </a:cxn>
                <a:cxn ang="0">
                  <a:pos x="16" y="123"/>
                </a:cxn>
                <a:cxn ang="0">
                  <a:pos x="17" y="132"/>
                </a:cxn>
                <a:cxn ang="0">
                  <a:pos x="21" y="149"/>
                </a:cxn>
                <a:cxn ang="0">
                  <a:pos x="22" y="166"/>
                </a:cxn>
                <a:cxn ang="0">
                  <a:pos x="42" y="173"/>
                </a:cxn>
                <a:cxn ang="0">
                  <a:pos x="52" y="190"/>
                </a:cxn>
                <a:cxn ang="0">
                  <a:pos x="53" y="219"/>
                </a:cxn>
                <a:cxn ang="0">
                  <a:pos x="68" y="213"/>
                </a:cxn>
                <a:cxn ang="0">
                  <a:pos x="75" y="211"/>
                </a:cxn>
                <a:cxn ang="0">
                  <a:pos x="89" y="208"/>
                </a:cxn>
                <a:cxn ang="0">
                  <a:pos x="99" y="202"/>
                </a:cxn>
                <a:cxn ang="0">
                  <a:pos x="106" y="201"/>
                </a:cxn>
                <a:cxn ang="0">
                  <a:pos x="111" y="196"/>
                </a:cxn>
                <a:cxn ang="0">
                  <a:pos x="119" y="197"/>
                </a:cxn>
                <a:cxn ang="0">
                  <a:pos x="134" y="198"/>
                </a:cxn>
                <a:cxn ang="0">
                  <a:pos x="143" y="203"/>
                </a:cxn>
                <a:cxn ang="0">
                  <a:pos x="163" y="202"/>
                </a:cxn>
                <a:cxn ang="0">
                  <a:pos x="192" y="195"/>
                </a:cxn>
                <a:cxn ang="0">
                  <a:pos x="209" y="185"/>
                </a:cxn>
                <a:cxn ang="0">
                  <a:pos x="215" y="165"/>
                </a:cxn>
                <a:cxn ang="0">
                  <a:pos x="225" y="156"/>
                </a:cxn>
                <a:cxn ang="0">
                  <a:pos x="239" y="143"/>
                </a:cxn>
                <a:cxn ang="0">
                  <a:pos x="250" y="136"/>
                </a:cxn>
                <a:cxn ang="0">
                  <a:pos x="268" y="139"/>
                </a:cxn>
                <a:cxn ang="0">
                  <a:pos x="285" y="138"/>
                </a:cxn>
                <a:cxn ang="0">
                  <a:pos x="288" y="133"/>
                </a:cxn>
                <a:cxn ang="0">
                  <a:pos x="284" y="121"/>
                </a:cxn>
                <a:cxn ang="0">
                  <a:pos x="276" y="111"/>
                </a:cxn>
                <a:cxn ang="0">
                  <a:pos x="264" y="108"/>
                </a:cxn>
                <a:cxn ang="0">
                  <a:pos x="260" y="98"/>
                </a:cxn>
                <a:cxn ang="0">
                  <a:pos x="268" y="88"/>
                </a:cxn>
                <a:cxn ang="0">
                  <a:pos x="273" y="73"/>
                </a:cxn>
                <a:cxn ang="0">
                  <a:pos x="264" y="56"/>
                </a:cxn>
                <a:cxn ang="0">
                  <a:pos x="279" y="40"/>
                </a:cxn>
                <a:cxn ang="0">
                  <a:pos x="300" y="26"/>
                </a:cxn>
                <a:cxn ang="0">
                  <a:pos x="294" y="14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5" name="Grieche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756B1BC7-01EF-46CE-BB3F-FC489DB1E55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63911" y="5013506"/>
              <a:ext cx="1938247" cy="1310302"/>
            </a:xfrm>
            <a:custGeom>
              <a:avLst/>
              <a:gdLst/>
              <a:ahLst/>
              <a:cxnLst>
                <a:cxn ang="0">
                  <a:pos x="168" y="214"/>
                </a:cxn>
                <a:cxn ang="0">
                  <a:pos x="269" y="244"/>
                </a:cxn>
                <a:cxn ang="0">
                  <a:pos x="168" y="189"/>
                </a:cxn>
                <a:cxn ang="0">
                  <a:pos x="156" y="148"/>
                </a:cxn>
                <a:cxn ang="0">
                  <a:pos x="161" y="113"/>
                </a:cxn>
                <a:cxn ang="0">
                  <a:pos x="194" y="117"/>
                </a:cxn>
                <a:cxn ang="0">
                  <a:pos x="236" y="119"/>
                </a:cxn>
                <a:cxn ang="0">
                  <a:pos x="228" y="73"/>
                </a:cxn>
                <a:cxn ang="0">
                  <a:pos x="279" y="58"/>
                </a:cxn>
                <a:cxn ang="0">
                  <a:pos x="317" y="0"/>
                </a:cxn>
                <a:cxn ang="0">
                  <a:pos x="230" y="26"/>
                </a:cxn>
                <a:cxn ang="0">
                  <a:pos x="177" y="46"/>
                </a:cxn>
                <a:cxn ang="0">
                  <a:pos x="111" y="71"/>
                </a:cxn>
                <a:cxn ang="0">
                  <a:pos x="55" y="132"/>
                </a:cxn>
                <a:cxn ang="0">
                  <a:pos x="29" y="182"/>
                </a:cxn>
                <a:cxn ang="0">
                  <a:pos x="59" y="230"/>
                </a:cxn>
                <a:cxn ang="0">
                  <a:pos x="113" y="255"/>
                </a:cxn>
                <a:cxn ang="0">
                  <a:pos x="171" y="245"/>
                </a:cxn>
                <a:cxn ang="0">
                  <a:pos x="116" y="267"/>
                </a:cxn>
                <a:cxn ang="0">
                  <a:pos x="144" y="353"/>
                </a:cxn>
                <a:cxn ang="0">
                  <a:pos x="205" y="353"/>
                </a:cxn>
                <a:cxn ang="0">
                  <a:pos x="216" y="296"/>
                </a:cxn>
                <a:cxn ang="0">
                  <a:pos x="253" y="275"/>
                </a:cxn>
                <a:cxn ang="0">
                  <a:pos x="285" y="129"/>
                </a:cxn>
                <a:cxn ang="0">
                  <a:pos x="337" y="172"/>
                </a:cxn>
                <a:cxn ang="0">
                  <a:pos x="214" y="193"/>
                </a:cxn>
                <a:cxn ang="0">
                  <a:pos x="228" y="180"/>
                </a:cxn>
                <a:cxn ang="0">
                  <a:pos x="268" y="198"/>
                </a:cxn>
                <a:cxn ang="0">
                  <a:pos x="317" y="213"/>
                </a:cxn>
                <a:cxn ang="0">
                  <a:pos x="286" y="255"/>
                </a:cxn>
                <a:cxn ang="0">
                  <a:pos x="295" y="273"/>
                </a:cxn>
                <a:cxn ang="0">
                  <a:pos x="311" y="283"/>
                </a:cxn>
                <a:cxn ang="0">
                  <a:pos x="310" y="303"/>
                </a:cxn>
                <a:cxn ang="0">
                  <a:pos x="283" y="316"/>
                </a:cxn>
                <a:cxn ang="0">
                  <a:pos x="266" y="290"/>
                </a:cxn>
                <a:cxn ang="0">
                  <a:pos x="352" y="262"/>
                </a:cxn>
                <a:cxn ang="0">
                  <a:pos x="398" y="246"/>
                </a:cxn>
                <a:cxn ang="0">
                  <a:pos x="382" y="274"/>
                </a:cxn>
                <a:cxn ang="0">
                  <a:pos x="393" y="285"/>
                </a:cxn>
                <a:cxn ang="0">
                  <a:pos x="421" y="296"/>
                </a:cxn>
                <a:cxn ang="0">
                  <a:pos x="328" y="330"/>
                </a:cxn>
                <a:cxn ang="0">
                  <a:pos x="378" y="333"/>
                </a:cxn>
                <a:cxn ang="0">
                  <a:pos x="213" y="278"/>
                </a:cxn>
                <a:cxn ang="0">
                  <a:pos x="273" y="334"/>
                </a:cxn>
                <a:cxn ang="0">
                  <a:pos x="316" y="332"/>
                </a:cxn>
                <a:cxn ang="0">
                  <a:pos x="304" y="339"/>
                </a:cxn>
                <a:cxn ang="0">
                  <a:pos x="63" y="291"/>
                </a:cxn>
                <a:cxn ang="0">
                  <a:pos x="55" y="260"/>
                </a:cxn>
                <a:cxn ang="0">
                  <a:pos x="18" y="190"/>
                </a:cxn>
                <a:cxn ang="0">
                  <a:pos x="392" y="415"/>
                </a:cxn>
                <a:cxn ang="0">
                  <a:pos x="324" y="420"/>
                </a:cxn>
                <a:cxn ang="0">
                  <a:pos x="276" y="414"/>
                </a:cxn>
                <a:cxn ang="0">
                  <a:pos x="273" y="440"/>
                </a:cxn>
                <a:cxn ang="0">
                  <a:pos x="389" y="429"/>
                </a:cxn>
                <a:cxn ang="0">
                  <a:pos x="459" y="352"/>
                </a:cxn>
                <a:cxn ang="0">
                  <a:pos x="448" y="337"/>
                </a:cxn>
                <a:cxn ang="0">
                  <a:pos x="422" y="322"/>
                </a:cxn>
                <a:cxn ang="0">
                  <a:pos x="437" y="390"/>
                </a:cxn>
                <a:cxn ang="0">
                  <a:pos x="420" y="398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6" name="Ukraine" descr="© INSCALE GmbH, 05.05.2010&#10;http://www.presentationload.com/">
              <a:extLst>
                <a:ext uri="{FF2B5EF4-FFF2-40B4-BE49-F238E27FC236}">
                  <a16:creationId xmlns:a16="http://schemas.microsoft.com/office/drawing/2014/main" id="{148E8FC7-AACC-48AA-9F2C-E5879083A6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758428" y="2809056"/>
              <a:ext cx="3038207" cy="1492476"/>
            </a:xfrm>
            <a:custGeom>
              <a:avLst/>
              <a:gdLst/>
              <a:ahLst/>
              <a:cxnLst>
                <a:cxn ang="0">
                  <a:pos x="377" y="481"/>
                </a:cxn>
                <a:cxn ang="0">
                  <a:pos x="283" y="108"/>
                </a:cxn>
                <a:cxn ang="0">
                  <a:pos x="252" y="108"/>
                </a:cxn>
                <a:cxn ang="0">
                  <a:pos x="219" y="110"/>
                </a:cxn>
                <a:cxn ang="0">
                  <a:pos x="175" y="113"/>
                </a:cxn>
                <a:cxn ang="0">
                  <a:pos x="116" y="113"/>
                </a:cxn>
                <a:cxn ang="0">
                  <a:pos x="32" y="155"/>
                </a:cxn>
                <a:cxn ang="0">
                  <a:pos x="55" y="201"/>
                </a:cxn>
                <a:cxn ang="0">
                  <a:pos x="12" y="288"/>
                </a:cxn>
                <a:cxn ang="0">
                  <a:pos x="9" y="330"/>
                </a:cxn>
                <a:cxn ang="0">
                  <a:pos x="19" y="373"/>
                </a:cxn>
                <a:cxn ang="0">
                  <a:pos x="46" y="385"/>
                </a:cxn>
                <a:cxn ang="0">
                  <a:pos x="150" y="374"/>
                </a:cxn>
                <a:cxn ang="0">
                  <a:pos x="214" y="330"/>
                </a:cxn>
                <a:cxn ang="0">
                  <a:pos x="253" y="324"/>
                </a:cxn>
                <a:cxn ang="0">
                  <a:pos x="281" y="335"/>
                </a:cxn>
                <a:cxn ang="0">
                  <a:pos x="320" y="348"/>
                </a:cxn>
                <a:cxn ang="0">
                  <a:pos x="343" y="377"/>
                </a:cxn>
                <a:cxn ang="0">
                  <a:pos x="362" y="424"/>
                </a:cxn>
                <a:cxn ang="0">
                  <a:pos x="334" y="462"/>
                </a:cxn>
                <a:cxn ang="0">
                  <a:pos x="307" y="502"/>
                </a:cxn>
                <a:cxn ang="0">
                  <a:pos x="363" y="493"/>
                </a:cxn>
                <a:cxn ang="0">
                  <a:pos x="374" y="485"/>
                </a:cxn>
                <a:cxn ang="0">
                  <a:pos x="375" y="481"/>
                </a:cxn>
                <a:cxn ang="0">
                  <a:pos x="387" y="460"/>
                </a:cxn>
                <a:cxn ang="0">
                  <a:pos x="400" y="441"/>
                </a:cxn>
                <a:cxn ang="0">
                  <a:pos x="435" y="387"/>
                </a:cxn>
                <a:cxn ang="0">
                  <a:pos x="456" y="390"/>
                </a:cxn>
                <a:cxn ang="0">
                  <a:pos x="445" y="405"/>
                </a:cxn>
                <a:cxn ang="0">
                  <a:pos x="530" y="390"/>
                </a:cxn>
                <a:cxn ang="0">
                  <a:pos x="509" y="431"/>
                </a:cxn>
                <a:cxn ang="0">
                  <a:pos x="521" y="450"/>
                </a:cxn>
                <a:cxn ang="0">
                  <a:pos x="554" y="488"/>
                </a:cxn>
                <a:cxn ang="0">
                  <a:pos x="629" y="441"/>
                </a:cxn>
                <a:cxn ang="0">
                  <a:pos x="672" y="403"/>
                </a:cxn>
                <a:cxn ang="0">
                  <a:pos x="608" y="419"/>
                </a:cxn>
                <a:cxn ang="0">
                  <a:pos x="587" y="386"/>
                </a:cxn>
                <a:cxn ang="0">
                  <a:pos x="554" y="388"/>
                </a:cxn>
                <a:cxn ang="0">
                  <a:pos x="562" y="378"/>
                </a:cxn>
                <a:cxn ang="0">
                  <a:pos x="588" y="379"/>
                </a:cxn>
                <a:cxn ang="0">
                  <a:pos x="592" y="336"/>
                </a:cxn>
                <a:cxn ang="0">
                  <a:pos x="657" y="308"/>
                </a:cxn>
                <a:cxn ang="0">
                  <a:pos x="690" y="271"/>
                </a:cxn>
                <a:cxn ang="0">
                  <a:pos x="755" y="190"/>
                </a:cxn>
                <a:cxn ang="0">
                  <a:pos x="731" y="147"/>
                </a:cxn>
                <a:cxn ang="0">
                  <a:pos x="734" y="101"/>
                </a:cxn>
                <a:cxn ang="0">
                  <a:pos x="700" y="79"/>
                </a:cxn>
                <a:cxn ang="0">
                  <a:pos x="674" y="84"/>
                </a:cxn>
                <a:cxn ang="0">
                  <a:pos x="634" y="92"/>
                </a:cxn>
                <a:cxn ang="0">
                  <a:pos x="599" y="69"/>
                </a:cxn>
                <a:cxn ang="0">
                  <a:pos x="559" y="91"/>
                </a:cxn>
                <a:cxn ang="0">
                  <a:pos x="503" y="68"/>
                </a:cxn>
                <a:cxn ang="0">
                  <a:pos x="468" y="60"/>
                </a:cxn>
                <a:cxn ang="0">
                  <a:pos x="454" y="30"/>
                </a:cxn>
                <a:cxn ang="0">
                  <a:pos x="394" y="7"/>
                </a:cxn>
                <a:cxn ang="0">
                  <a:pos x="348" y="50"/>
                </a:cxn>
              </a:cxnLst>
              <a:rect l="0" t="0" r="r" b="b"/>
              <a:pathLst>
                <a:path w="756" h="515">
                  <a:moveTo>
                    <a:pt x="377" y="481"/>
                  </a:moveTo>
                  <a:cubicBezTo>
                    <a:pt x="381" y="480"/>
                    <a:pt x="381" y="480"/>
                    <a:pt x="381" y="480"/>
                  </a:cubicBezTo>
                  <a:cubicBezTo>
                    <a:pt x="386" y="473"/>
                    <a:pt x="386" y="473"/>
                    <a:pt x="386" y="473"/>
                  </a:cubicBezTo>
                  <a:cubicBezTo>
                    <a:pt x="390" y="466"/>
                    <a:pt x="390" y="466"/>
                    <a:pt x="390" y="466"/>
                  </a:cubicBezTo>
                  <a:cubicBezTo>
                    <a:pt x="384" y="471"/>
                    <a:pt x="384" y="471"/>
                    <a:pt x="384" y="471"/>
                  </a:cubicBezTo>
                  <a:lnTo>
                    <a:pt x="377" y="481"/>
                  </a:lnTo>
                  <a:close/>
                  <a:moveTo>
                    <a:pt x="338" y="50"/>
                  </a:moveTo>
                  <a:cubicBezTo>
                    <a:pt x="338" y="50"/>
                    <a:pt x="336" y="56"/>
                    <a:pt x="325" y="57"/>
                  </a:cubicBezTo>
                  <a:cubicBezTo>
                    <a:pt x="314" y="58"/>
                    <a:pt x="313" y="77"/>
                    <a:pt x="312" y="90"/>
                  </a:cubicBezTo>
                  <a:cubicBezTo>
                    <a:pt x="311" y="104"/>
                    <a:pt x="321" y="106"/>
                    <a:pt x="318" y="111"/>
                  </a:cubicBezTo>
                  <a:cubicBezTo>
                    <a:pt x="314" y="116"/>
                    <a:pt x="308" y="106"/>
                    <a:pt x="303" y="101"/>
                  </a:cubicBezTo>
                  <a:cubicBezTo>
                    <a:pt x="296" y="94"/>
                    <a:pt x="283" y="108"/>
                    <a:pt x="283" y="108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09"/>
                    <a:pt x="271" y="117"/>
                    <a:pt x="266" y="117"/>
                  </a:cubicBezTo>
                  <a:cubicBezTo>
                    <a:pt x="260" y="118"/>
                    <a:pt x="260" y="105"/>
                    <a:pt x="260" y="105"/>
                  </a:cubicBezTo>
                  <a:cubicBezTo>
                    <a:pt x="254" y="102"/>
                    <a:pt x="254" y="102"/>
                    <a:pt x="254" y="102"/>
                  </a:cubicBezTo>
                  <a:cubicBezTo>
                    <a:pt x="252" y="108"/>
                    <a:pt x="252" y="108"/>
                    <a:pt x="252" y="108"/>
                  </a:cubicBezTo>
                  <a:cubicBezTo>
                    <a:pt x="243" y="110"/>
                    <a:pt x="243" y="110"/>
                    <a:pt x="243" y="110"/>
                  </a:cubicBezTo>
                  <a:cubicBezTo>
                    <a:pt x="243" y="110"/>
                    <a:pt x="244" y="118"/>
                    <a:pt x="239" y="119"/>
                  </a:cubicBezTo>
                  <a:cubicBezTo>
                    <a:pt x="234" y="120"/>
                    <a:pt x="236" y="111"/>
                    <a:pt x="236" y="111"/>
                  </a:cubicBezTo>
                  <a:cubicBezTo>
                    <a:pt x="227" y="113"/>
                    <a:pt x="227" y="113"/>
                    <a:pt x="227" y="113"/>
                  </a:cubicBezTo>
                  <a:cubicBezTo>
                    <a:pt x="224" y="118"/>
                    <a:pt x="224" y="118"/>
                    <a:pt x="224" y="118"/>
                  </a:cubicBezTo>
                  <a:cubicBezTo>
                    <a:pt x="219" y="110"/>
                    <a:pt x="219" y="110"/>
                    <a:pt x="219" y="110"/>
                  </a:cubicBezTo>
                  <a:cubicBezTo>
                    <a:pt x="210" y="118"/>
                    <a:pt x="210" y="118"/>
                    <a:pt x="210" y="118"/>
                  </a:cubicBezTo>
                  <a:cubicBezTo>
                    <a:pt x="202" y="118"/>
                    <a:pt x="202" y="118"/>
                    <a:pt x="202" y="118"/>
                  </a:cubicBezTo>
                  <a:cubicBezTo>
                    <a:pt x="202" y="118"/>
                    <a:pt x="205" y="126"/>
                    <a:pt x="202" y="126"/>
                  </a:cubicBezTo>
                  <a:cubicBezTo>
                    <a:pt x="198" y="126"/>
                    <a:pt x="197" y="120"/>
                    <a:pt x="197" y="120"/>
                  </a:cubicBezTo>
                  <a:cubicBezTo>
                    <a:pt x="197" y="120"/>
                    <a:pt x="193" y="119"/>
                    <a:pt x="185" y="121"/>
                  </a:cubicBezTo>
                  <a:cubicBezTo>
                    <a:pt x="177" y="123"/>
                    <a:pt x="180" y="118"/>
                    <a:pt x="175" y="113"/>
                  </a:cubicBezTo>
                  <a:cubicBezTo>
                    <a:pt x="170" y="106"/>
                    <a:pt x="164" y="118"/>
                    <a:pt x="164" y="118"/>
                  </a:cubicBezTo>
                  <a:cubicBezTo>
                    <a:pt x="153" y="113"/>
                    <a:pt x="153" y="113"/>
                    <a:pt x="153" y="113"/>
                  </a:cubicBezTo>
                  <a:cubicBezTo>
                    <a:pt x="146" y="117"/>
                    <a:pt x="146" y="117"/>
                    <a:pt x="146" y="117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30" y="113"/>
                    <a:pt x="130" y="113"/>
                    <a:pt x="130" y="113"/>
                  </a:cubicBezTo>
                  <a:cubicBezTo>
                    <a:pt x="130" y="113"/>
                    <a:pt x="122" y="111"/>
                    <a:pt x="116" y="113"/>
                  </a:cubicBezTo>
                  <a:cubicBezTo>
                    <a:pt x="111" y="115"/>
                    <a:pt x="108" y="118"/>
                    <a:pt x="99" y="117"/>
                  </a:cubicBezTo>
                  <a:cubicBezTo>
                    <a:pt x="91" y="116"/>
                    <a:pt x="90" y="117"/>
                    <a:pt x="81" y="121"/>
                  </a:cubicBezTo>
                  <a:cubicBezTo>
                    <a:pt x="73" y="125"/>
                    <a:pt x="67" y="122"/>
                    <a:pt x="60" y="127"/>
                  </a:cubicBezTo>
                  <a:cubicBezTo>
                    <a:pt x="52" y="132"/>
                    <a:pt x="60" y="139"/>
                    <a:pt x="51" y="145"/>
                  </a:cubicBezTo>
                  <a:cubicBezTo>
                    <a:pt x="43" y="151"/>
                    <a:pt x="42" y="146"/>
                    <a:pt x="37" y="146"/>
                  </a:cubicBezTo>
                  <a:cubicBezTo>
                    <a:pt x="32" y="146"/>
                    <a:pt x="32" y="153"/>
                    <a:pt x="32" y="155"/>
                  </a:cubicBezTo>
                  <a:cubicBezTo>
                    <a:pt x="33" y="158"/>
                    <a:pt x="35" y="162"/>
                    <a:pt x="35" y="166"/>
                  </a:cubicBezTo>
                  <a:cubicBezTo>
                    <a:pt x="35" y="172"/>
                    <a:pt x="40" y="173"/>
                    <a:pt x="44" y="177"/>
                  </a:cubicBezTo>
                  <a:cubicBezTo>
                    <a:pt x="48" y="180"/>
                    <a:pt x="50" y="185"/>
                    <a:pt x="52" y="188"/>
                  </a:cubicBezTo>
                  <a:cubicBezTo>
                    <a:pt x="55" y="192"/>
                    <a:pt x="63" y="195"/>
                    <a:pt x="63" y="195"/>
                  </a:cubicBezTo>
                  <a:cubicBezTo>
                    <a:pt x="60" y="198"/>
                    <a:pt x="60" y="198"/>
                    <a:pt x="60" y="198"/>
                  </a:cubicBezTo>
                  <a:cubicBezTo>
                    <a:pt x="60" y="198"/>
                    <a:pt x="56" y="199"/>
                    <a:pt x="55" y="201"/>
                  </a:cubicBezTo>
                  <a:cubicBezTo>
                    <a:pt x="54" y="203"/>
                    <a:pt x="58" y="204"/>
                    <a:pt x="61" y="205"/>
                  </a:cubicBezTo>
                  <a:cubicBezTo>
                    <a:pt x="64" y="208"/>
                    <a:pt x="64" y="216"/>
                    <a:pt x="61" y="224"/>
                  </a:cubicBezTo>
                  <a:cubicBezTo>
                    <a:pt x="58" y="231"/>
                    <a:pt x="47" y="228"/>
                    <a:pt x="47" y="228"/>
                  </a:cubicBezTo>
                  <a:cubicBezTo>
                    <a:pt x="47" y="228"/>
                    <a:pt x="37" y="246"/>
                    <a:pt x="33" y="249"/>
                  </a:cubicBezTo>
                  <a:cubicBezTo>
                    <a:pt x="30" y="253"/>
                    <a:pt x="29" y="264"/>
                    <a:pt x="25" y="271"/>
                  </a:cubicBezTo>
                  <a:cubicBezTo>
                    <a:pt x="22" y="278"/>
                    <a:pt x="12" y="288"/>
                    <a:pt x="12" y="288"/>
                  </a:cubicBezTo>
                  <a:cubicBezTo>
                    <a:pt x="12" y="288"/>
                    <a:pt x="18" y="295"/>
                    <a:pt x="18" y="300"/>
                  </a:cubicBezTo>
                  <a:cubicBezTo>
                    <a:pt x="19" y="305"/>
                    <a:pt x="18" y="308"/>
                    <a:pt x="19" y="311"/>
                  </a:cubicBezTo>
                  <a:cubicBezTo>
                    <a:pt x="21" y="314"/>
                    <a:pt x="29" y="316"/>
                    <a:pt x="29" y="316"/>
                  </a:cubicBezTo>
                  <a:cubicBezTo>
                    <a:pt x="28" y="322"/>
                    <a:pt x="28" y="322"/>
                    <a:pt x="28" y="322"/>
                  </a:cubicBezTo>
                  <a:cubicBezTo>
                    <a:pt x="14" y="318"/>
                    <a:pt x="14" y="318"/>
                    <a:pt x="14" y="318"/>
                  </a:cubicBezTo>
                  <a:cubicBezTo>
                    <a:pt x="9" y="330"/>
                    <a:pt x="9" y="330"/>
                    <a:pt x="9" y="330"/>
                  </a:cubicBezTo>
                  <a:cubicBezTo>
                    <a:pt x="8" y="343"/>
                    <a:pt x="8" y="343"/>
                    <a:pt x="8" y="343"/>
                  </a:cubicBezTo>
                  <a:cubicBezTo>
                    <a:pt x="8" y="343"/>
                    <a:pt x="0" y="351"/>
                    <a:pt x="0" y="355"/>
                  </a:cubicBezTo>
                  <a:cubicBezTo>
                    <a:pt x="0" y="359"/>
                    <a:pt x="2" y="366"/>
                    <a:pt x="2" y="366"/>
                  </a:cubicBezTo>
                  <a:cubicBezTo>
                    <a:pt x="2" y="366"/>
                    <a:pt x="6" y="366"/>
                    <a:pt x="8" y="368"/>
                  </a:cubicBezTo>
                  <a:cubicBezTo>
                    <a:pt x="10" y="369"/>
                    <a:pt x="13" y="374"/>
                    <a:pt x="13" y="374"/>
                  </a:cubicBezTo>
                  <a:cubicBezTo>
                    <a:pt x="13" y="374"/>
                    <a:pt x="16" y="373"/>
                    <a:pt x="19" y="373"/>
                  </a:cubicBezTo>
                  <a:cubicBezTo>
                    <a:pt x="22" y="374"/>
                    <a:pt x="22" y="377"/>
                    <a:pt x="24" y="379"/>
                  </a:cubicBezTo>
                  <a:cubicBezTo>
                    <a:pt x="26" y="383"/>
                    <a:pt x="28" y="379"/>
                    <a:pt x="35" y="381"/>
                  </a:cubicBezTo>
                  <a:cubicBezTo>
                    <a:pt x="43" y="383"/>
                    <a:pt x="37" y="388"/>
                    <a:pt x="37" y="388"/>
                  </a:cubicBezTo>
                  <a:cubicBezTo>
                    <a:pt x="40" y="389"/>
                    <a:pt x="40" y="389"/>
                    <a:pt x="40" y="389"/>
                  </a:cubicBezTo>
                  <a:cubicBezTo>
                    <a:pt x="42" y="384"/>
                    <a:pt x="42" y="384"/>
                    <a:pt x="42" y="384"/>
                  </a:cubicBezTo>
                  <a:cubicBezTo>
                    <a:pt x="46" y="385"/>
                    <a:pt x="46" y="385"/>
                    <a:pt x="46" y="385"/>
                  </a:cubicBezTo>
                  <a:cubicBezTo>
                    <a:pt x="46" y="385"/>
                    <a:pt x="45" y="374"/>
                    <a:pt x="50" y="374"/>
                  </a:cubicBezTo>
                  <a:cubicBezTo>
                    <a:pt x="57" y="374"/>
                    <a:pt x="51" y="384"/>
                    <a:pt x="64" y="383"/>
                  </a:cubicBezTo>
                  <a:cubicBezTo>
                    <a:pt x="76" y="382"/>
                    <a:pt x="99" y="381"/>
                    <a:pt x="99" y="381"/>
                  </a:cubicBezTo>
                  <a:cubicBezTo>
                    <a:pt x="99" y="381"/>
                    <a:pt x="108" y="374"/>
                    <a:pt x="113" y="376"/>
                  </a:cubicBezTo>
                  <a:cubicBezTo>
                    <a:pt x="117" y="377"/>
                    <a:pt x="127" y="390"/>
                    <a:pt x="137" y="388"/>
                  </a:cubicBezTo>
                  <a:cubicBezTo>
                    <a:pt x="146" y="385"/>
                    <a:pt x="134" y="378"/>
                    <a:pt x="150" y="374"/>
                  </a:cubicBezTo>
                  <a:cubicBezTo>
                    <a:pt x="165" y="370"/>
                    <a:pt x="182" y="361"/>
                    <a:pt x="182" y="361"/>
                  </a:cubicBezTo>
                  <a:cubicBezTo>
                    <a:pt x="182" y="361"/>
                    <a:pt x="186" y="340"/>
                    <a:pt x="202" y="339"/>
                  </a:cubicBezTo>
                  <a:cubicBezTo>
                    <a:pt x="202" y="336"/>
                    <a:pt x="202" y="336"/>
                    <a:pt x="202" y="336"/>
                  </a:cubicBezTo>
                  <a:cubicBezTo>
                    <a:pt x="205" y="336"/>
                    <a:pt x="205" y="336"/>
                    <a:pt x="205" y="336"/>
                  </a:cubicBezTo>
                  <a:cubicBezTo>
                    <a:pt x="205" y="336"/>
                    <a:pt x="198" y="329"/>
                    <a:pt x="204" y="328"/>
                  </a:cubicBezTo>
                  <a:cubicBezTo>
                    <a:pt x="210" y="326"/>
                    <a:pt x="211" y="330"/>
                    <a:pt x="214" y="330"/>
                  </a:cubicBezTo>
                  <a:cubicBezTo>
                    <a:pt x="217" y="330"/>
                    <a:pt x="215" y="324"/>
                    <a:pt x="215" y="324"/>
                  </a:cubicBezTo>
                  <a:cubicBezTo>
                    <a:pt x="222" y="327"/>
                    <a:pt x="222" y="327"/>
                    <a:pt x="222" y="327"/>
                  </a:cubicBezTo>
                  <a:cubicBezTo>
                    <a:pt x="226" y="322"/>
                    <a:pt x="226" y="322"/>
                    <a:pt x="226" y="322"/>
                  </a:cubicBezTo>
                  <a:cubicBezTo>
                    <a:pt x="234" y="323"/>
                    <a:pt x="234" y="323"/>
                    <a:pt x="234" y="323"/>
                  </a:cubicBezTo>
                  <a:cubicBezTo>
                    <a:pt x="234" y="323"/>
                    <a:pt x="231" y="314"/>
                    <a:pt x="240" y="318"/>
                  </a:cubicBezTo>
                  <a:cubicBezTo>
                    <a:pt x="247" y="320"/>
                    <a:pt x="253" y="324"/>
                    <a:pt x="253" y="324"/>
                  </a:cubicBezTo>
                  <a:cubicBezTo>
                    <a:pt x="259" y="324"/>
                    <a:pt x="259" y="324"/>
                    <a:pt x="259" y="324"/>
                  </a:cubicBezTo>
                  <a:cubicBezTo>
                    <a:pt x="261" y="329"/>
                    <a:pt x="261" y="329"/>
                    <a:pt x="261" y="329"/>
                  </a:cubicBezTo>
                  <a:cubicBezTo>
                    <a:pt x="273" y="325"/>
                    <a:pt x="273" y="325"/>
                    <a:pt x="273" y="325"/>
                  </a:cubicBezTo>
                  <a:cubicBezTo>
                    <a:pt x="272" y="331"/>
                    <a:pt x="272" y="331"/>
                    <a:pt x="272" y="331"/>
                  </a:cubicBezTo>
                  <a:cubicBezTo>
                    <a:pt x="276" y="330"/>
                    <a:pt x="276" y="330"/>
                    <a:pt x="276" y="330"/>
                  </a:cubicBezTo>
                  <a:cubicBezTo>
                    <a:pt x="281" y="335"/>
                    <a:pt x="281" y="335"/>
                    <a:pt x="281" y="335"/>
                  </a:cubicBezTo>
                  <a:cubicBezTo>
                    <a:pt x="281" y="335"/>
                    <a:pt x="278" y="328"/>
                    <a:pt x="281" y="328"/>
                  </a:cubicBezTo>
                  <a:cubicBezTo>
                    <a:pt x="285" y="328"/>
                    <a:pt x="295" y="329"/>
                    <a:pt x="295" y="329"/>
                  </a:cubicBezTo>
                  <a:cubicBezTo>
                    <a:pt x="301" y="338"/>
                    <a:pt x="301" y="338"/>
                    <a:pt x="301" y="338"/>
                  </a:cubicBezTo>
                  <a:cubicBezTo>
                    <a:pt x="308" y="337"/>
                    <a:pt x="308" y="337"/>
                    <a:pt x="308" y="337"/>
                  </a:cubicBezTo>
                  <a:cubicBezTo>
                    <a:pt x="311" y="332"/>
                    <a:pt x="311" y="332"/>
                    <a:pt x="311" y="332"/>
                  </a:cubicBezTo>
                  <a:cubicBezTo>
                    <a:pt x="311" y="332"/>
                    <a:pt x="320" y="343"/>
                    <a:pt x="320" y="348"/>
                  </a:cubicBezTo>
                  <a:cubicBezTo>
                    <a:pt x="320" y="355"/>
                    <a:pt x="318" y="361"/>
                    <a:pt x="318" y="361"/>
                  </a:cubicBezTo>
                  <a:cubicBezTo>
                    <a:pt x="322" y="368"/>
                    <a:pt x="322" y="368"/>
                    <a:pt x="322" y="368"/>
                  </a:cubicBezTo>
                  <a:cubicBezTo>
                    <a:pt x="322" y="368"/>
                    <a:pt x="326" y="367"/>
                    <a:pt x="327" y="368"/>
                  </a:cubicBezTo>
                  <a:cubicBezTo>
                    <a:pt x="328" y="369"/>
                    <a:pt x="336" y="374"/>
                    <a:pt x="336" y="374"/>
                  </a:cubicBezTo>
                  <a:cubicBezTo>
                    <a:pt x="339" y="369"/>
                    <a:pt x="339" y="369"/>
                    <a:pt x="339" y="369"/>
                  </a:cubicBezTo>
                  <a:cubicBezTo>
                    <a:pt x="343" y="377"/>
                    <a:pt x="343" y="377"/>
                    <a:pt x="343" y="377"/>
                  </a:cubicBezTo>
                  <a:cubicBezTo>
                    <a:pt x="343" y="377"/>
                    <a:pt x="341" y="393"/>
                    <a:pt x="349" y="394"/>
                  </a:cubicBezTo>
                  <a:cubicBezTo>
                    <a:pt x="355" y="395"/>
                    <a:pt x="359" y="391"/>
                    <a:pt x="362" y="398"/>
                  </a:cubicBezTo>
                  <a:cubicBezTo>
                    <a:pt x="367" y="403"/>
                    <a:pt x="362" y="419"/>
                    <a:pt x="367" y="420"/>
                  </a:cubicBezTo>
                  <a:cubicBezTo>
                    <a:pt x="371" y="421"/>
                    <a:pt x="378" y="424"/>
                    <a:pt x="378" y="424"/>
                  </a:cubicBezTo>
                  <a:cubicBezTo>
                    <a:pt x="367" y="430"/>
                    <a:pt x="367" y="430"/>
                    <a:pt x="367" y="430"/>
                  </a:cubicBezTo>
                  <a:cubicBezTo>
                    <a:pt x="367" y="430"/>
                    <a:pt x="365" y="424"/>
                    <a:pt x="362" y="424"/>
                  </a:cubicBezTo>
                  <a:cubicBezTo>
                    <a:pt x="360" y="424"/>
                    <a:pt x="362" y="431"/>
                    <a:pt x="358" y="432"/>
                  </a:cubicBezTo>
                  <a:cubicBezTo>
                    <a:pt x="354" y="433"/>
                    <a:pt x="346" y="426"/>
                    <a:pt x="346" y="426"/>
                  </a:cubicBezTo>
                  <a:cubicBezTo>
                    <a:pt x="346" y="426"/>
                    <a:pt x="343" y="435"/>
                    <a:pt x="340" y="435"/>
                  </a:cubicBezTo>
                  <a:cubicBezTo>
                    <a:pt x="337" y="435"/>
                    <a:pt x="342" y="417"/>
                    <a:pt x="326" y="430"/>
                  </a:cubicBezTo>
                  <a:cubicBezTo>
                    <a:pt x="321" y="435"/>
                    <a:pt x="334" y="448"/>
                    <a:pt x="334" y="448"/>
                  </a:cubicBezTo>
                  <a:cubicBezTo>
                    <a:pt x="334" y="462"/>
                    <a:pt x="334" y="462"/>
                    <a:pt x="334" y="462"/>
                  </a:cubicBezTo>
                  <a:cubicBezTo>
                    <a:pt x="325" y="468"/>
                    <a:pt x="325" y="468"/>
                    <a:pt x="325" y="468"/>
                  </a:cubicBezTo>
                  <a:cubicBezTo>
                    <a:pt x="328" y="473"/>
                    <a:pt x="328" y="473"/>
                    <a:pt x="328" y="473"/>
                  </a:cubicBezTo>
                  <a:cubicBezTo>
                    <a:pt x="317" y="485"/>
                    <a:pt x="317" y="485"/>
                    <a:pt x="317" y="485"/>
                  </a:cubicBezTo>
                  <a:cubicBezTo>
                    <a:pt x="317" y="485"/>
                    <a:pt x="325" y="494"/>
                    <a:pt x="322" y="497"/>
                  </a:cubicBezTo>
                  <a:cubicBezTo>
                    <a:pt x="319" y="501"/>
                    <a:pt x="310" y="499"/>
                    <a:pt x="310" y="499"/>
                  </a:cubicBezTo>
                  <a:cubicBezTo>
                    <a:pt x="307" y="502"/>
                    <a:pt x="307" y="502"/>
                    <a:pt x="307" y="502"/>
                  </a:cubicBezTo>
                  <a:cubicBezTo>
                    <a:pt x="312" y="504"/>
                    <a:pt x="312" y="504"/>
                    <a:pt x="312" y="504"/>
                  </a:cubicBezTo>
                  <a:cubicBezTo>
                    <a:pt x="312" y="504"/>
                    <a:pt x="311" y="510"/>
                    <a:pt x="322" y="512"/>
                  </a:cubicBezTo>
                  <a:cubicBezTo>
                    <a:pt x="334" y="515"/>
                    <a:pt x="337" y="514"/>
                    <a:pt x="337" y="514"/>
                  </a:cubicBezTo>
                  <a:cubicBezTo>
                    <a:pt x="337" y="507"/>
                    <a:pt x="337" y="507"/>
                    <a:pt x="337" y="507"/>
                  </a:cubicBezTo>
                  <a:cubicBezTo>
                    <a:pt x="342" y="507"/>
                    <a:pt x="342" y="507"/>
                    <a:pt x="342" y="507"/>
                  </a:cubicBezTo>
                  <a:cubicBezTo>
                    <a:pt x="342" y="507"/>
                    <a:pt x="354" y="492"/>
                    <a:pt x="363" y="493"/>
                  </a:cubicBezTo>
                  <a:cubicBezTo>
                    <a:pt x="374" y="495"/>
                    <a:pt x="378" y="504"/>
                    <a:pt x="378" y="504"/>
                  </a:cubicBezTo>
                  <a:cubicBezTo>
                    <a:pt x="378" y="505"/>
                    <a:pt x="378" y="505"/>
                    <a:pt x="378" y="505"/>
                  </a:cubicBezTo>
                  <a:cubicBezTo>
                    <a:pt x="379" y="503"/>
                    <a:pt x="382" y="500"/>
                    <a:pt x="381" y="497"/>
                  </a:cubicBezTo>
                  <a:cubicBezTo>
                    <a:pt x="379" y="494"/>
                    <a:pt x="376" y="490"/>
                    <a:pt x="376" y="490"/>
                  </a:cubicBezTo>
                  <a:cubicBezTo>
                    <a:pt x="371" y="489"/>
                    <a:pt x="371" y="489"/>
                    <a:pt x="371" y="489"/>
                  </a:cubicBezTo>
                  <a:cubicBezTo>
                    <a:pt x="374" y="485"/>
                    <a:pt x="374" y="485"/>
                    <a:pt x="374" y="485"/>
                  </a:cubicBezTo>
                  <a:cubicBezTo>
                    <a:pt x="373" y="484"/>
                    <a:pt x="373" y="484"/>
                    <a:pt x="373" y="484"/>
                  </a:cubicBezTo>
                  <a:cubicBezTo>
                    <a:pt x="369" y="484"/>
                    <a:pt x="369" y="484"/>
                    <a:pt x="369" y="484"/>
                  </a:cubicBezTo>
                  <a:cubicBezTo>
                    <a:pt x="366" y="468"/>
                    <a:pt x="366" y="468"/>
                    <a:pt x="366" y="468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1" y="474"/>
                    <a:pt x="371" y="474"/>
                    <a:pt x="371" y="474"/>
                  </a:cubicBezTo>
                  <a:cubicBezTo>
                    <a:pt x="375" y="481"/>
                    <a:pt x="375" y="481"/>
                    <a:pt x="375" y="481"/>
                  </a:cubicBezTo>
                  <a:cubicBezTo>
                    <a:pt x="378" y="477"/>
                    <a:pt x="378" y="477"/>
                    <a:pt x="378" y="477"/>
                  </a:cubicBezTo>
                  <a:cubicBezTo>
                    <a:pt x="377" y="472"/>
                    <a:pt x="377" y="472"/>
                    <a:pt x="377" y="472"/>
                  </a:cubicBezTo>
                  <a:cubicBezTo>
                    <a:pt x="383" y="471"/>
                    <a:pt x="383" y="471"/>
                    <a:pt x="383" y="471"/>
                  </a:cubicBezTo>
                  <a:cubicBezTo>
                    <a:pt x="379" y="463"/>
                    <a:pt x="379" y="463"/>
                    <a:pt x="379" y="463"/>
                  </a:cubicBezTo>
                  <a:cubicBezTo>
                    <a:pt x="387" y="464"/>
                    <a:pt x="387" y="464"/>
                    <a:pt x="387" y="464"/>
                  </a:cubicBezTo>
                  <a:cubicBezTo>
                    <a:pt x="387" y="460"/>
                    <a:pt x="387" y="460"/>
                    <a:pt x="387" y="460"/>
                  </a:cubicBezTo>
                  <a:cubicBezTo>
                    <a:pt x="390" y="463"/>
                    <a:pt x="390" y="463"/>
                    <a:pt x="390" y="463"/>
                  </a:cubicBezTo>
                  <a:cubicBezTo>
                    <a:pt x="402" y="449"/>
                    <a:pt x="402" y="449"/>
                    <a:pt x="402" y="449"/>
                  </a:cubicBezTo>
                  <a:cubicBezTo>
                    <a:pt x="394" y="439"/>
                    <a:pt x="394" y="439"/>
                    <a:pt x="394" y="439"/>
                  </a:cubicBezTo>
                  <a:cubicBezTo>
                    <a:pt x="394" y="439"/>
                    <a:pt x="378" y="437"/>
                    <a:pt x="381" y="432"/>
                  </a:cubicBezTo>
                  <a:cubicBezTo>
                    <a:pt x="382" y="427"/>
                    <a:pt x="388" y="429"/>
                    <a:pt x="388" y="429"/>
                  </a:cubicBezTo>
                  <a:cubicBezTo>
                    <a:pt x="400" y="441"/>
                    <a:pt x="400" y="441"/>
                    <a:pt x="400" y="441"/>
                  </a:cubicBezTo>
                  <a:cubicBezTo>
                    <a:pt x="407" y="419"/>
                    <a:pt x="407" y="419"/>
                    <a:pt x="407" y="419"/>
                  </a:cubicBezTo>
                  <a:cubicBezTo>
                    <a:pt x="407" y="410"/>
                    <a:pt x="407" y="410"/>
                    <a:pt x="407" y="410"/>
                  </a:cubicBezTo>
                  <a:cubicBezTo>
                    <a:pt x="421" y="405"/>
                    <a:pt x="421" y="405"/>
                    <a:pt x="421" y="405"/>
                  </a:cubicBezTo>
                  <a:cubicBezTo>
                    <a:pt x="425" y="388"/>
                    <a:pt x="425" y="388"/>
                    <a:pt x="425" y="388"/>
                  </a:cubicBezTo>
                  <a:cubicBezTo>
                    <a:pt x="426" y="394"/>
                    <a:pt x="426" y="394"/>
                    <a:pt x="426" y="394"/>
                  </a:cubicBezTo>
                  <a:cubicBezTo>
                    <a:pt x="435" y="387"/>
                    <a:pt x="435" y="387"/>
                    <a:pt x="435" y="387"/>
                  </a:cubicBezTo>
                  <a:cubicBezTo>
                    <a:pt x="435" y="387"/>
                    <a:pt x="437" y="388"/>
                    <a:pt x="441" y="386"/>
                  </a:cubicBezTo>
                  <a:cubicBezTo>
                    <a:pt x="447" y="385"/>
                    <a:pt x="447" y="367"/>
                    <a:pt x="447" y="367"/>
                  </a:cubicBezTo>
                  <a:cubicBezTo>
                    <a:pt x="447" y="367"/>
                    <a:pt x="447" y="381"/>
                    <a:pt x="453" y="381"/>
                  </a:cubicBezTo>
                  <a:cubicBezTo>
                    <a:pt x="459" y="381"/>
                    <a:pt x="470" y="384"/>
                    <a:pt x="470" y="384"/>
                  </a:cubicBezTo>
                  <a:cubicBezTo>
                    <a:pt x="457" y="387"/>
                    <a:pt x="457" y="387"/>
                    <a:pt x="457" y="387"/>
                  </a:cubicBezTo>
                  <a:cubicBezTo>
                    <a:pt x="456" y="390"/>
                    <a:pt x="456" y="390"/>
                    <a:pt x="456" y="390"/>
                  </a:cubicBezTo>
                  <a:cubicBezTo>
                    <a:pt x="443" y="391"/>
                    <a:pt x="443" y="391"/>
                    <a:pt x="443" y="391"/>
                  </a:cubicBezTo>
                  <a:cubicBezTo>
                    <a:pt x="437" y="393"/>
                    <a:pt x="437" y="393"/>
                    <a:pt x="437" y="393"/>
                  </a:cubicBezTo>
                  <a:cubicBezTo>
                    <a:pt x="442" y="395"/>
                    <a:pt x="442" y="395"/>
                    <a:pt x="442" y="395"/>
                  </a:cubicBezTo>
                  <a:cubicBezTo>
                    <a:pt x="447" y="394"/>
                    <a:pt x="447" y="394"/>
                    <a:pt x="447" y="394"/>
                  </a:cubicBezTo>
                  <a:cubicBezTo>
                    <a:pt x="447" y="394"/>
                    <a:pt x="463" y="392"/>
                    <a:pt x="459" y="395"/>
                  </a:cubicBezTo>
                  <a:cubicBezTo>
                    <a:pt x="456" y="400"/>
                    <a:pt x="445" y="405"/>
                    <a:pt x="445" y="405"/>
                  </a:cubicBezTo>
                  <a:cubicBezTo>
                    <a:pt x="451" y="407"/>
                    <a:pt x="451" y="407"/>
                    <a:pt x="451" y="407"/>
                  </a:cubicBezTo>
                  <a:cubicBezTo>
                    <a:pt x="451" y="407"/>
                    <a:pt x="459" y="402"/>
                    <a:pt x="464" y="404"/>
                  </a:cubicBezTo>
                  <a:cubicBezTo>
                    <a:pt x="467" y="406"/>
                    <a:pt x="472" y="411"/>
                    <a:pt x="482" y="410"/>
                  </a:cubicBezTo>
                  <a:cubicBezTo>
                    <a:pt x="490" y="408"/>
                    <a:pt x="499" y="402"/>
                    <a:pt x="504" y="400"/>
                  </a:cubicBezTo>
                  <a:cubicBezTo>
                    <a:pt x="510" y="398"/>
                    <a:pt x="526" y="398"/>
                    <a:pt x="526" y="398"/>
                  </a:cubicBezTo>
                  <a:cubicBezTo>
                    <a:pt x="530" y="390"/>
                    <a:pt x="530" y="390"/>
                    <a:pt x="530" y="390"/>
                  </a:cubicBezTo>
                  <a:cubicBezTo>
                    <a:pt x="536" y="401"/>
                    <a:pt x="536" y="401"/>
                    <a:pt x="536" y="401"/>
                  </a:cubicBezTo>
                  <a:cubicBezTo>
                    <a:pt x="542" y="402"/>
                    <a:pt x="542" y="402"/>
                    <a:pt x="542" y="402"/>
                  </a:cubicBezTo>
                  <a:cubicBezTo>
                    <a:pt x="540" y="409"/>
                    <a:pt x="540" y="409"/>
                    <a:pt x="540" y="409"/>
                  </a:cubicBezTo>
                  <a:cubicBezTo>
                    <a:pt x="521" y="418"/>
                    <a:pt x="521" y="418"/>
                    <a:pt x="521" y="418"/>
                  </a:cubicBezTo>
                  <a:cubicBezTo>
                    <a:pt x="520" y="423"/>
                    <a:pt x="520" y="423"/>
                    <a:pt x="520" y="423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12" y="436"/>
                    <a:pt x="509" y="437"/>
                  </a:cubicBezTo>
                  <a:cubicBezTo>
                    <a:pt x="507" y="439"/>
                    <a:pt x="503" y="440"/>
                    <a:pt x="503" y="440"/>
                  </a:cubicBezTo>
                  <a:cubicBezTo>
                    <a:pt x="496" y="455"/>
                    <a:pt x="496" y="455"/>
                    <a:pt x="496" y="455"/>
                  </a:cubicBezTo>
                  <a:cubicBezTo>
                    <a:pt x="507" y="455"/>
                    <a:pt x="507" y="455"/>
                    <a:pt x="507" y="455"/>
                  </a:cubicBezTo>
                  <a:cubicBezTo>
                    <a:pt x="507" y="455"/>
                    <a:pt x="510" y="449"/>
                    <a:pt x="514" y="449"/>
                  </a:cubicBezTo>
                  <a:cubicBezTo>
                    <a:pt x="517" y="448"/>
                    <a:pt x="521" y="450"/>
                    <a:pt x="521" y="450"/>
                  </a:cubicBezTo>
                  <a:cubicBezTo>
                    <a:pt x="524" y="444"/>
                    <a:pt x="524" y="444"/>
                    <a:pt x="524" y="444"/>
                  </a:cubicBezTo>
                  <a:cubicBezTo>
                    <a:pt x="524" y="444"/>
                    <a:pt x="522" y="451"/>
                    <a:pt x="530" y="454"/>
                  </a:cubicBezTo>
                  <a:cubicBezTo>
                    <a:pt x="536" y="458"/>
                    <a:pt x="537" y="452"/>
                    <a:pt x="543" y="453"/>
                  </a:cubicBezTo>
                  <a:cubicBezTo>
                    <a:pt x="550" y="454"/>
                    <a:pt x="555" y="464"/>
                    <a:pt x="556" y="471"/>
                  </a:cubicBezTo>
                  <a:cubicBezTo>
                    <a:pt x="557" y="479"/>
                    <a:pt x="558" y="487"/>
                    <a:pt x="558" y="487"/>
                  </a:cubicBezTo>
                  <a:cubicBezTo>
                    <a:pt x="554" y="488"/>
                    <a:pt x="554" y="488"/>
                    <a:pt x="554" y="488"/>
                  </a:cubicBezTo>
                  <a:cubicBezTo>
                    <a:pt x="555" y="493"/>
                    <a:pt x="555" y="493"/>
                    <a:pt x="555" y="493"/>
                  </a:cubicBezTo>
                  <a:cubicBezTo>
                    <a:pt x="555" y="493"/>
                    <a:pt x="564" y="500"/>
                    <a:pt x="573" y="498"/>
                  </a:cubicBezTo>
                  <a:cubicBezTo>
                    <a:pt x="583" y="496"/>
                    <a:pt x="594" y="485"/>
                    <a:pt x="597" y="480"/>
                  </a:cubicBezTo>
                  <a:cubicBezTo>
                    <a:pt x="599" y="473"/>
                    <a:pt x="596" y="468"/>
                    <a:pt x="606" y="460"/>
                  </a:cubicBezTo>
                  <a:cubicBezTo>
                    <a:pt x="616" y="451"/>
                    <a:pt x="618" y="450"/>
                    <a:pt x="623" y="451"/>
                  </a:cubicBezTo>
                  <a:cubicBezTo>
                    <a:pt x="629" y="453"/>
                    <a:pt x="627" y="446"/>
                    <a:pt x="629" y="441"/>
                  </a:cubicBezTo>
                  <a:cubicBezTo>
                    <a:pt x="631" y="438"/>
                    <a:pt x="635" y="438"/>
                    <a:pt x="635" y="438"/>
                  </a:cubicBezTo>
                  <a:cubicBezTo>
                    <a:pt x="635" y="438"/>
                    <a:pt x="631" y="424"/>
                    <a:pt x="638" y="424"/>
                  </a:cubicBezTo>
                  <a:cubicBezTo>
                    <a:pt x="646" y="424"/>
                    <a:pt x="647" y="432"/>
                    <a:pt x="655" y="429"/>
                  </a:cubicBezTo>
                  <a:cubicBezTo>
                    <a:pt x="665" y="425"/>
                    <a:pt x="663" y="421"/>
                    <a:pt x="665" y="421"/>
                  </a:cubicBezTo>
                  <a:cubicBezTo>
                    <a:pt x="668" y="420"/>
                    <a:pt x="680" y="418"/>
                    <a:pt x="679" y="414"/>
                  </a:cubicBezTo>
                  <a:cubicBezTo>
                    <a:pt x="678" y="409"/>
                    <a:pt x="671" y="406"/>
                    <a:pt x="672" y="403"/>
                  </a:cubicBezTo>
                  <a:cubicBezTo>
                    <a:pt x="674" y="400"/>
                    <a:pt x="681" y="398"/>
                    <a:pt x="680" y="393"/>
                  </a:cubicBezTo>
                  <a:cubicBezTo>
                    <a:pt x="678" y="390"/>
                    <a:pt x="669" y="390"/>
                    <a:pt x="662" y="392"/>
                  </a:cubicBezTo>
                  <a:cubicBezTo>
                    <a:pt x="655" y="395"/>
                    <a:pt x="655" y="402"/>
                    <a:pt x="652" y="403"/>
                  </a:cubicBezTo>
                  <a:cubicBezTo>
                    <a:pt x="650" y="405"/>
                    <a:pt x="646" y="400"/>
                    <a:pt x="643" y="403"/>
                  </a:cubicBezTo>
                  <a:cubicBezTo>
                    <a:pt x="639" y="406"/>
                    <a:pt x="639" y="417"/>
                    <a:pt x="633" y="418"/>
                  </a:cubicBezTo>
                  <a:cubicBezTo>
                    <a:pt x="625" y="419"/>
                    <a:pt x="608" y="419"/>
                    <a:pt x="608" y="419"/>
                  </a:cubicBezTo>
                  <a:cubicBezTo>
                    <a:pt x="608" y="419"/>
                    <a:pt x="614" y="411"/>
                    <a:pt x="608" y="405"/>
                  </a:cubicBezTo>
                  <a:cubicBezTo>
                    <a:pt x="603" y="399"/>
                    <a:pt x="590" y="400"/>
                    <a:pt x="590" y="400"/>
                  </a:cubicBezTo>
                  <a:cubicBezTo>
                    <a:pt x="588" y="395"/>
                    <a:pt x="588" y="395"/>
                    <a:pt x="588" y="395"/>
                  </a:cubicBezTo>
                  <a:cubicBezTo>
                    <a:pt x="583" y="401"/>
                    <a:pt x="583" y="401"/>
                    <a:pt x="583" y="401"/>
                  </a:cubicBezTo>
                  <a:cubicBezTo>
                    <a:pt x="590" y="388"/>
                    <a:pt x="590" y="388"/>
                    <a:pt x="590" y="388"/>
                  </a:cubicBezTo>
                  <a:cubicBezTo>
                    <a:pt x="587" y="386"/>
                    <a:pt x="587" y="386"/>
                    <a:pt x="587" y="386"/>
                  </a:cubicBezTo>
                  <a:cubicBezTo>
                    <a:pt x="579" y="397"/>
                    <a:pt x="579" y="397"/>
                    <a:pt x="579" y="397"/>
                  </a:cubicBezTo>
                  <a:cubicBezTo>
                    <a:pt x="579" y="397"/>
                    <a:pt x="584" y="386"/>
                    <a:pt x="583" y="386"/>
                  </a:cubicBezTo>
                  <a:cubicBezTo>
                    <a:pt x="581" y="387"/>
                    <a:pt x="576" y="389"/>
                    <a:pt x="576" y="389"/>
                  </a:cubicBezTo>
                  <a:cubicBezTo>
                    <a:pt x="576" y="389"/>
                    <a:pt x="571" y="387"/>
                    <a:pt x="568" y="387"/>
                  </a:cubicBezTo>
                  <a:cubicBezTo>
                    <a:pt x="564" y="387"/>
                    <a:pt x="562" y="391"/>
                    <a:pt x="562" y="391"/>
                  </a:cubicBezTo>
                  <a:cubicBezTo>
                    <a:pt x="554" y="388"/>
                    <a:pt x="554" y="388"/>
                    <a:pt x="554" y="388"/>
                  </a:cubicBezTo>
                  <a:cubicBezTo>
                    <a:pt x="554" y="388"/>
                    <a:pt x="549" y="392"/>
                    <a:pt x="542" y="388"/>
                  </a:cubicBezTo>
                  <a:cubicBezTo>
                    <a:pt x="536" y="384"/>
                    <a:pt x="538" y="381"/>
                    <a:pt x="542" y="379"/>
                  </a:cubicBezTo>
                  <a:cubicBezTo>
                    <a:pt x="547" y="379"/>
                    <a:pt x="553" y="385"/>
                    <a:pt x="553" y="385"/>
                  </a:cubicBezTo>
                  <a:cubicBezTo>
                    <a:pt x="556" y="378"/>
                    <a:pt x="556" y="378"/>
                    <a:pt x="556" y="378"/>
                  </a:cubicBezTo>
                  <a:cubicBezTo>
                    <a:pt x="553" y="372"/>
                    <a:pt x="553" y="372"/>
                    <a:pt x="553" y="372"/>
                  </a:cubicBezTo>
                  <a:cubicBezTo>
                    <a:pt x="562" y="378"/>
                    <a:pt x="562" y="378"/>
                    <a:pt x="562" y="378"/>
                  </a:cubicBezTo>
                  <a:cubicBezTo>
                    <a:pt x="572" y="377"/>
                    <a:pt x="572" y="377"/>
                    <a:pt x="572" y="377"/>
                  </a:cubicBezTo>
                  <a:cubicBezTo>
                    <a:pt x="574" y="385"/>
                    <a:pt x="574" y="385"/>
                    <a:pt x="574" y="385"/>
                  </a:cubicBezTo>
                  <a:cubicBezTo>
                    <a:pt x="578" y="385"/>
                    <a:pt x="578" y="385"/>
                    <a:pt x="578" y="385"/>
                  </a:cubicBezTo>
                  <a:cubicBezTo>
                    <a:pt x="578" y="371"/>
                    <a:pt x="578" y="371"/>
                    <a:pt x="578" y="371"/>
                  </a:cubicBezTo>
                  <a:cubicBezTo>
                    <a:pt x="582" y="379"/>
                    <a:pt x="582" y="379"/>
                    <a:pt x="582" y="379"/>
                  </a:cubicBezTo>
                  <a:cubicBezTo>
                    <a:pt x="588" y="379"/>
                    <a:pt x="588" y="379"/>
                    <a:pt x="588" y="379"/>
                  </a:cubicBezTo>
                  <a:cubicBezTo>
                    <a:pt x="583" y="367"/>
                    <a:pt x="583" y="367"/>
                    <a:pt x="583" y="367"/>
                  </a:cubicBezTo>
                  <a:cubicBezTo>
                    <a:pt x="583" y="367"/>
                    <a:pt x="592" y="369"/>
                    <a:pt x="595" y="361"/>
                  </a:cubicBezTo>
                  <a:cubicBezTo>
                    <a:pt x="597" y="353"/>
                    <a:pt x="594" y="348"/>
                    <a:pt x="594" y="348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0"/>
                    <a:pt x="603" y="350"/>
                    <a:pt x="603" y="350"/>
                  </a:cubicBezTo>
                  <a:cubicBezTo>
                    <a:pt x="592" y="336"/>
                    <a:pt x="592" y="336"/>
                    <a:pt x="592" y="336"/>
                  </a:cubicBezTo>
                  <a:cubicBezTo>
                    <a:pt x="592" y="336"/>
                    <a:pt x="600" y="344"/>
                    <a:pt x="606" y="343"/>
                  </a:cubicBezTo>
                  <a:cubicBezTo>
                    <a:pt x="613" y="342"/>
                    <a:pt x="615" y="323"/>
                    <a:pt x="622" y="323"/>
                  </a:cubicBezTo>
                  <a:cubicBezTo>
                    <a:pt x="629" y="323"/>
                    <a:pt x="636" y="323"/>
                    <a:pt x="638" y="321"/>
                  </a:cubicBezTo>
                  <a:cubicBezTo>
                    <a:pt x="640" y="319"/>
                    <a:pt x="641" y="314"/>
                    <a:pt x="641" y="314"/>
                  </a:cubicBezTo>
                  <a:cubicBezTo>
                    <a:pt x="649" y="306"/>
                    <a:pt x="649" y="306"/>
                    <a:pt x="649" y="306"/>
                  </a:cubicBezTo>
                  <a:cubicBezTo>
                    <a:pt x="657" y="308"/>
                    <a:pt x="657" y="308"/>
                    <a:pt x="657" y="308"/>
                  </a:cubicBezTo>
                  <a:cubicBezTo>
                    <a:pt x="658" y="305"/>
                    <a:pt x="658" y="305"/>
                    <a:pt x="658" y="305"/>
                  </a:cubicBezTo>
                  <a:cubicBezTo>
                    <a:pt x="657" y="299"/>
                    <a:pt x="657" y="299"/>
                    <a:pt x="657" y="299"/>
                  </a:cubicBezTo>
                  <a:cubicBezTo>
                    <a:pt x="669" y="288"/>
                    <a:pt x="669" y="288"/>
                    <a:pt x="669" y="288"/>
                  </a:cubicBezTo>
                  <a:cubicBezTo>
                    <a:pt x="669" y="288"/>
                    <a:pt x="676" y="288"/>
                    <a:pt x="678" y="285"/>
                  </a:cubicBezTo>
                  <a:cubicBezTo>
                    <a:pt x="680" y="282"/>
                    <a:pt x="674" y="273"/>
                    <a:pt x="681" y="272"/>
                  </a:cubicBezTo>
                  <a:cubicBezTo>
                    <a:pt x="687" y="269"/>
                    <a:pt x="690" y="271"/>
                    <a:pt x="690" y="271"/>
                  </a:cubicBezTo>
                  <a:cubicBezTo>
                    <a:pt x="690" y="271"/>
                    <a:pt x="706" y="267"/>
                    <a:pt x="707" y="263"/>
                  </a:cubicBezTo>
                  <a:cubicBezTo>
                    <a:pt x="709" y="259"/>
                    <a:pt x="706" y="253"/>
                    <a:pt x="702" y="246"/>
                  </a:cubicBezTo>
                  <a:cubicBezTo>
                    <a:pt x="698" y="240"/>
                    <a:pt x="698" y="227"/>
                    <a:pt x="704" y="224"/>
                  </a:cubicBezTo>
                  <a:cubicBezTo>
                    <a:pt x="711" y="220"/>
                    <a:pt x="716" y="217"/>
                    <a:pt x="716" y="214"/>
                  </a:cubicBezTo>
                  <a:cubicBezTo>
                    <a:pt x="715" y="210"/>
                    <a:pt x="714" y="205"/>
                    <a:pt x="721" y="202"/>
                  </a:cubicBezTo>
                  <a:cubicBezTo>
                    <a:pt x="729" y="200"/>
                    <a:pt x="756" y="197"/>
                    <a:pt x="755" y="190"/>
                  </a:cubicBezTo>
                  <a:cubicBezTo>
                    <a:pt x="755" y="184"/>
                    <a:pt x="750" y="180"/>
                    <a:pt x="750" y="180"/>
                  </a:cubicBezTo>
                  <a:cubicBezTo>
                    <a:pt x="753" y="177"/>
                    <a:pt x="753" y="177"/>
                    <a:pt x="753" y="177"/>
                  </a:cubicBezTo>
                  <a:cubicBezTo>
                    <a:pt x="752" y="163"/>
                    <a:pt x="752" y="163"/>
                    <a:pt x="752" y="163"/>
                  </a:cubicBezTo>
                  <a:cubicBezTo>
                    <a:pt x="747" y="162"/>
                    <a:pt x="747" y="162"/>
                    <a:pt x="747" y="162"/>
                  </a:cubicBezTo>
                  <a:cubicBezTo>
                    <a:pt x="747" y="162"/>
                    <a:pt x="751" y="154"/>
                    <a:pt x="744" y="150"/>
                  </a:cubicBezTo>
                  <a:cubicBezTo>
                    <a:pt x="737" y="146"/>
                    <a:pt x="731" y="147"/>
                    <a:pt x="731" y="147"/>
                  </a:cubicBezTo>
                  <a:cubicBezTo>
                    <a:pt x="731" y="132"/>
                    <a:pt x="731" y="132"/>
                    <a:pt x="731" y="132"/>
                  </a:cubicBezTo>
                  <a:cubicBezTo>
                    <a:pt x="740" y="129"/>
                    <a:pt x="740" y="129"/>
                    <a:pt x="740" y="129"/>
                  </a:cubicBezTo>
                  <a:cubicBezTo>
                    <a:pt x="740" y="124"/>
                    <a:pt x="740" y="124"/>
                    <a:pt x="740" y="124"/>
                  </a:cubicBezTo>
                  <a:cubicBezTo>
                    <a:pt x="723" y="125"/>
                    <a:pt x="723" y="125"/>
                    <a:pt x="723" y="125"/>
                  </a:cubicBezTo>
                  <a:cubicBezTo>
                    <a:pt x="723" y="119"/>
                    <a:pt x="723" y="119"/>
                    <a:pt x="723" y="119"/>
                  </a:cubicBezTo>
                  <a:cubicBezTo>
                    <a:pt x="723" y="119"/>
                    <a:pt x="736" y="109"/>
                    <a:pt x="734" y="101"/>
                  </a:cubicBezTo>
                  <a:cubicBezTo>
                    <a:pt x="731" y="92"/>
                    <a:pt x="725" y="89"/>
                    <a:pt x="725" y="89"/>
                  </a:cubicBezTo>
                  <a:cubicBezTo>
                    <a:pt x="725" y="78"/>
                    <a:pt x="725" y="78"/>
                    <a:pt x="725" y="78"/>
                  </a:cubicBezTo>
                  <a:cubicBezTo>
                    <a:pt x="719" y="78"/>
                    <a:pt x="719" y="78"/>
                    <a:pt x="719" y="78"/>
                  </a:cubicBezTo>
                  <a:cubicBezTo>
                    <a:pt x="717" y="85"/>
                    <a:pt x="717" y="85"/>
                    <a:pt x="717" y="85"/>
                  </a:cubicBezTo>
                  <a:cubicBezTo>
                    <a:pt x="717" y="85"/>
                    <a:pt x="711" y="87"/>
                    <a:pt x="706" y="85"/>
                  </a:cubicBezTo>
                  <a:cubicBezTo>
                    <a:pt x="702" y="83"/>
                    <a:pt x="700" y="79"/>
                    <a:pt x="700" y="79"/>
                  </a:cubicBezTo>
                  <a:cubicBezTo>
                    <a:pt x="693" y="79"/>
                    <a:pt x="693" y="79"/>
                    <a:pt x="693" y="79"/>
                  </a:cubicBezTo>
                  <a:cubicBezTo>
                    <a:pt x="691" y="83"/>
                    <a:pt x="691" y="83"/>
                    <a:pt x="691" y="83"/>
                  </a:cubicBezTo>
                  <a:cubicBezTo>
                    <a:pt x="691" y="83"/>
                    <a:pt x="686" y="84"/>
                    <a:pt x="685" y="82"/>
                  </a:cubicBezTo>
                  <a:cubicBezTo>
                    <a:pt x="684" y="79"/>
                    <a:pt x="681" y="75"/>
                    <a:pt x="681" y="75"/>
                  </a:cubicBezTo>
                  <a:cubicBezTo>
                    <a:pt x="676" y="76"/>
                    <a:pt x="676" y="76"/>
                    <a:pt x="676" y="76"/>
                  </a:cubicBezTo>
                  <a:cubicBezTo>
                    <a:pt x="674" y="84"/>
                    <a:pt x="674" y="84"/>
                    <a:pt x="674" y="84"/>
                  </a:cubicBezTo>
                  <a:cubicBezTo>
                    <a:pt x="666" y="84"/>
                    <a:pt x="666" y="84"/>
                    <a:pt x="666" y="84"/>
                  </a:cubicBezTo>
                  <a:cubicBezTo>
                    <a:pt x="656" y="78"/>
                    <a:pt x="656" y="78"/>
                    <a:pt x="656" y="78"/>
                  </a:cubicBezTo>
                  <a:cubicBezTo>
                    <a:pt x="652" y="84"/>
                    <a:pt x="652" y="84"/>
                    <a:pt x="652" y="84"/>
                  </a:cubicBezTo>
                  <a:cubicBezTo>
                    <a:pt x="637" y="79"/>
                    <a:pt x="637" y="79"/>
                    <a:pt x="637" y="79"/>
                  </a:cubicBezTo>
                  <a:cubicBezTo>
                    <a:pt x="637" y="89"/>
                    <a:pt x="637" y="89"/>
                    <a:pt x="637" y="89"/>
                  </a:cubicBezTo>
                  <a:cubicBezTo>
                    <a:pt x="634" y="92"/>
                    <a:pt x="634" y="92"/>
                    <a:pt x="634" y="92"/>
                  </a:cubicBezTo>
                  <a:cubicBezTo>
                    <a:pt x="629" y="89"/>
                    <a:pt x="629" y="89"/>
                    <a:pt x="629" y="89"/>
                  </a:cubicBezTo>
                  <a:cubicBezTo>
                    <a:pt x="619" y="89"/>
                    <a:pt x="619" y="89"/>
                    <a:pt x="619" y="89"/>
                  </a:cubicBezTo>
                  <a:cubicBezTo>
                    <a:pt x="609" y="79"/>
                    <a:pt x="609" y="79"/>
                    <a:pt x="609" y="79"/>
                  </a:cubicBezTo>
                  <a:cubicBezTo>
                    <a:pt x="608" y="75"/>
                    <a:pt x="608" y="75"/>
                    <a:pt x="608" y="75"/>
                  </a:cubicBezTo>
                  <a:cubicBezTo>
                    <a:pt x="603" y="74"/>
                    <a:pt x="603" y="74"/>
                    <a:pt x="603" y="74"/>
                  </a:cubicBezTo>
                  <a:cubicBezTo>
                    <a:pt x="599" y="69"/>
                    <a:pt x="599" y="69"/>
                    <a:pt x="599" y="69"/>
                  </a:cubicBezTo>
                  <a:cubicBezTo>
                    <a:pt x="589" y="80"/>
                    <a:pt x="589" y="80"/>
                    <a:pt x="589" y="80"/>
                  </a:cubicBezTo>
                  <a:cubicBezTo>
                    <a:pt x="589" y="80"/>
                    <a:pt x="578" y="84"/>
                    <a:pt x="576" y="87"/>
                  </a:cubicBezTo>
                  <a:cubicBezTo>
                    <a:pt x="575" y="91"/>
                    <a:pt x="572" y="98"/>
                    <a:pt x="572" y="98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6" y="91"/>
                    <a:pt x="566" y="91"/>
                    <a:pt x="566" y="91"/>
                  </a:cubicBezTo>
                  <a:cubicBezTo>
                    <a:pt x="559" y="91"/>
                    <a:pt x="559" y="91"/>
                    <a:pt x="559" y="91"/>
                  </a:cubicBezTo>
                  <a:cubicBezTo>
                    <a:pt x="559" y="91"/>
                    <a:pt x="559" y="95"/>
                    <a:pt x="556" y="95"/>
                  </a:cubicBezTo>
                  <a:cubicBezTo>
                    <a:pt x="553" y="95"/>
                    <a:pt x="553" y="88"/>
                    <a:pt x="548" y="89"/>
                  </a:cubicBezTo>
                  <a:cubicBezTo>
                    <a:pt x="542" y="90"/>
                    <a:pt x="541" y="92"/>
                    <a:pt x="535" y="96"/>
                  </a:cubicBezTo>
                  <a:cubicBezTo>
                    <a:pt x="530" y="101"/>
                    <a:pt x="514" y="89"/>
                    <a:pt x="514" y="89"/>
                  </a:cubicBezTo>
                  <a:cubicBezTo>
                    <a:pt x="516" y="84"/>
                    <a:pt x="516" y="84"/>
                    <a:pt x="516" y="84"/>
                  </a:cubicBezTo>
                  <a:cubicBezTo>
                    <a:pt x="503" y="68"/>
                    <a:pt x="503" y="68"/>
                    <a:pt x="503" y="68"/>
                  </a:cubicBezTo>
                  <a:cubicBezTo>
                    <a:pt x="503" y="68"/>
                    <a:pt x="506" y="60"/>
                    <a:pt x="505" y="60"/>
                  </a:cubicBezTo>
                  <a:cubicBezTo>
                    <a:pt x="504" y="60"/>
                    <a:pt x="500" y="59"/>
                    <a:pt x="500" y="59"/>
                  </a:cubicBezTo>
                  <a:cubicBezTo>
                    <a:pt x="494" y="63"/>
                    <a:pt x="494" y="63"/>
                    <a:pt x="494" y="63"/>
                  </a:cubicBezTo>
                  <a:cubicBezTo>
                    <a:pt x="494" y="63"/>
                    <a:pt x="494" y="54"/>
                    <a:pt x="489" y="54"/>
                  </a:cubicBezTo>
                  <a:cubicBezTo>
                    <a:pt x="484" y="54"/>
                    <a:pt x="474" y="64"/>
                    <a:pt x="474" y="64"/>
                  </a:cubicBezTo>
                  <a:cubicBezTo>
                    <a:pt x="468" y="60"/>
                    <a:pt x="468" y="60"/>
                    <a:pt x="468" y="60"/>
                  </a:cubicBezTo>
                  <a:cubicBezTo>
                    <a:pt x="454" y="63"/>
                    <a:pt x="454" y="63"/>
                    <a:pt x="454" y="63"/>
                  </a:cubicBezTo>
                  <a:cubicBezTo>
                    <a:pt x="455" y="56"/>
                    <a:pt x="455" y="56"/>
                    <a:pt x="455" y="56"/>
                  </a:cubicBezTo>
                  <a:cubicBezTo>
                    <a:pt x="450" y="56"/>
                    <a:pt x="450" y="56"/>
                    <a:pt x="450" y="56"/>
                  </a:cubicBezTo>
                  <a:cubicBezTo>
                    <a:pt x="450" y="56"/>
                    <a:pt x="452" y="48"/>
                    <a:pt x="447" y="45"/>
                  </a:cubicBezTo>
                  <a:cubicBezTo>
                    <a:pt x="442" y="41"/>
                    <a:pt x="439" y="40"/>
                    <a:pt x="439" y="40"/>
                  </a:cubicBezTo>
                  <a:cubicBezTo>
                    <a:pt x="439" y="40"/>
                    <a:pt x="457" y="36"/>
                    <a:pt x="454" y="30"/>
                  </a:cubicBezTo>
                  <a:cubicBezTo>
                    <a:pt x="451" y="26"/>
                    <a:pt x="439" y="25"/>
                    <a:pt x="435" y="20"/>
                  </a:cubicBezTo>
                  <a:cubicBezTo>
                    <a:pt x="431" y="14"/>
                    <a:pt x="431" y="7"/>
                    <a:pt x="431" y="7"/>
                  </a:cubicBezTo>
                  <a:cubicBezTo>
                    <a:pt x="422" y="6"/>
                    <a:pt x="422" y="6"/>
                    <a:pt x="422" y="6"/>
                  </a:cubicBezTo>
                  <a:cubicBezTo>
                    <a:pt x="422" y="6"/>
                    <a:pt x="423" y="0"/>
                    <a:pt x="415" y="0"/>
                  </a:cubicBezTo>
                  <a:cubicBezTo>
                    <a:pt x="407" y="1"/>
                    <a:pt x="407" y="7"/>
                    <a:pt x="407" y="7"/>
                  </a:cubicBezTo>
                  <a:cubicBezTo>
                    <a:pt x="394" y="7"/>
                    <a:pt x="394" y="7"/>
                    <a:pt x="394" y="7"/>
                  </a:cubicBezTo>
                  <a:cubicBezTo>
                    <a:pt x="394" y="7"/>
                    <a:pt x="388" y="19"/>
                    <a:pt x="384" y="20"/>
                  </a:cubicBezTo>
                  <a:cubicBezTo>
                    <a:pt x="379" y="21"/>
                    <a:pt x="362" y="20"/>
                    <a:pt x="362" y="20"/>
                  </a:cubicBezTo>
                  <a:cubicBezTo>
                    <a:pt x="362" y="20"/>
                    <a:pt x="363" y="35"/>
                    <a:pt x="358" y="38"/>
                  </a:cubicBezTo>
                  <a:cubicBezTo>
                    <a:pt x="355" y="41"/>
                    <a:pt x="348" y="40"/>
                    <a:pt x="344" y="40"/>
                  </a:cubicBezTo>
                  <a:cubicBezTo>
                    <a:pt x="352" y="46"/>
                    <a:pt x="352" y="46"/>
                    <a:pt x="352" y="46"/>
                  </a:cubicBezTo>
                  <a:cubicBezTo>
                    <a:pt x="348" y="50"/>
                    <a:pt x="348" y="50"/>
                    <a:pt x="348" y="50"/>
                  </a:cubicBezTo>
                  <a:lnTo>
                    <a:pt x="338" y="50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7" name="Georgien" descr="© INSCALE GmbH, 05.05.2010&#10;http://www.presentationload.com/">
              <a:extLst>
                <a:ext uri="{FF2B5EF4-FFF2-40B4-BE49-F238E27FC236}">
                  <a16:creationId xmlns:a16="http://schemas.microsoft.com/office/drawing/2014/main" id="{9B531F5E-CF14-472A-BEFB-7A711FE9EAC4}"/>
                </a:ext>
              </a:extLst>
            </p:cNvPr>
            <p:cNvSpPr>
              <a:spLocks/>
            </p:cNvSpPr>
            <p:nvPr/>
          </p:nvSpPr>
          <p:spPr bwMode="gray">
            <a:xfrm>
              <a:off x="11463205" y="3903178"/>
              <a:ext cx="727801" cy="441226"/>
            </a:xfrm>
            <a:custGeom>
              <a:avLst/>
              <a:gdLst/>
              <a:ahLst/>
              <a:cxnLst>
                <a:cxn ang="0">
                  <a:pos x="356" y="49"/>
                </a:cxn>
                <a:cxn ang="0">
                  <a:pos x="335" y="43"/>
                </a:cxn>
                <a:cxn ang="0">
                  <a:pos x="328" y="30"/>
                </a:cxn>
                <a:cxn ang="0">
                  <a:pos x="323" y="20"/>
                </a:cxn>
                <a:cxn ang="0">
                  <a:pos x="278" y="0"/>
                </a:cxn>
                <a:cxn ang="0">
                  <a:pos x="261" y="9"/>
                </a:cxn>
                <a:cxn ang="0">
                  <a:pos x="242" y="6"/>
                </a:cxn>
                <a:cxn ang="0">
                  <a:pos x="235" y="15"/>
                </a:cxn>
                <a:cxn ang="0">
                  <a:pos x="209" y="20"/>
                </a:cxn>
                <a:cxn ang="0">
                  <a:pos x="197" y="36"/>
                </a:cxn>
                <a:cxn ang="0">
                  <a:pos x="186" y="29"/>
                </a:cxn>
                <a:cxn ang="0">
                  <a:pos x="145" y="31"/>
                </a:cxn>
                <a:cxn ang="0">
                  <a:pos x="119" y="30"/>
                </a:cxn>
                <a:cxn ang="0">
                  <a:pos x="83" y="45"/>
                </a:cxn>
                <a:cxn ang="0">
                  <a:pos x="56" y="46"/>
                </a:cxn>
                <a:cxn ang="0">
                  <a:pos x="48" y="47"/>
                </a:cxn>
                <a:cxn ang="0">
                  <a:pos x="23" y="49"/>
                </a:cxn>
                <a:cxn ang="0">
                  <a:pos x="0" y="66"/>
                </a:cxn>
                <a:cxn ang="0">
                  <a:pos x="17" y="76"/>
                </a:cxn>
                <a:cxn ang="0">
                  <a:pos x="56" y="72"/>
                </a:cxn>
                <a:cxn ang="0">
                  <a:pos x="79" y="77"/>
                </a:cxn>
                <a:cxn ang="0">
                  <a:pos x="101" y="95"/>
                </a:cxn>
                <a:cxn ang="0">
                  <a:pos x="109" y="104"/>
                </a:cxn>
                <a:cxn ang="0">
                  <a:pos x="122" y="126"/>
                </a:cxn>
                <a:cxn ang="0">
                  <a:pos x="119" y="152"/>
                </a:cxn>
                <a:cxn ang="0">
                  <a:pos x="149" y="138"/>
                </a:cxn>
                <a:cxn ang="0">
                  <a:pos x="168" y="122"/>
                </a:cxn>
                <a:cxn ang="0">
                  <a:pos x="205" y="136"/>
                </a:cxn>
                <a:cxn ang="0">
                  <a:pos x="216" y="136"/>
                </a:cxn>
                <a:cxn ang="0">
                  <a:pos x="231" y="127"/>
                </a:cxn>
                <a:cxn ang="0">
                  <a:pos x="243" y="116"/>
                </a:cxn>
                <a:cxn ang="0">
                  <a:pos x="258" y="111"/>
                </a:cxn>
                <a:cxn ang="0">
                  <a:pos x="272" y="95"/>
                </a:cxn>
                <a:cxn ang="0">
                  <a:pos x="291" y="72"/>
                </a:cxn>
                <a:cxn ang="0">
                  <a:pos x="317" y="75"/>
                </a:cxn>
                <a:cxn ang="0">
                  <a:pos x="336" y="66"/>
                </a:cxn>
              </a:cxnLst>
              <a:rect l="0" t="0" r="r" b="b"/>
              <a:pathLst>
                <a:path w="366" h="152">
                  <a:moveTo>
                    <a:pt x="356" y="68"/>
                  </a:moveTo>
                  <a:cubicBezTo>
                    <a:pt x="362" y="62"/>
                    <a:pt x="366" y="50"/>
                    <a:pt x="356" y="49"/>
                  </a:cubicBezTo>
                  <a:cubicBezTo>
                    <a:pt x="344" y="48"/>
                    <a:pt x="334" y="47"/>
                    <a:pt x="334" y="47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3" y="48"/>
                    <a:pt x="322" y="41"/>
                  </a:cubicBezTo>
                  <a:cubicBezTo>
                    <a:pt x="322" y="33"/>
                    <a:pt x="328" y="30"/>
                    <a:pt x="328" y="30"/>
                  </a:cubicBezTo>
                  <a:cubicBezTo>
                    <a:pt x="326" y="20"/>
                    <a:pt x="326" y="20"/>
                    <a:pt x="326" y="20"/>
                  </a:cubicBezTo>
                  <a:cubicBezTo>
                    <a:pt x="323" y="20"/>
                    <a:pt x="323" y="20"/>
                    <a:pt x="323" y="20"/>
                  </a:cubicBezTo>
                  <a:cubicBezTo>
                    <a:pt x="313" y="20"/>
                    <a:pt x="291" y="25"/>
                    <a:pt x="285" y="21"/>
                  </a:cubicBezTo>
                  <a:cubicBezTo>
                    <a:pt x="281" y="17"/>
                    <a:pt x="278" y="0"/>
                    <a:pt x="278" y="0"/>
                  </a:cubicBezTo>
                  <a:cubicBezTo>
                    <a:pt x="267" y="3"/>
                    <a:pt x="267" y="3"/>
                    <a:pt x="267" y="3"/>
                  </a:cubicBezTo>
                  <a:cubicBezTo>
                    <a:pt x="261" y="9"/>
                    <a:pt x="261" y="9"/>
                    <a:pt x="261" y="9"/>
                  </a:cubicBezTo>
                  <a:cubicBezTo>
                    <a:pt x="250" y="2"/>
                    <a:pt x="250" y="2"/>
                    <a:pt x="250" y="2"/>
                  </a:cubicBezTo>
                  <a:cubicBezTo>
                    <a:pt x="242" y="6"/>
                    <a:pt x="242" y="6"/>
                    <a:pt x="242" y="6"/>
                  </a:cubicBezTo>
                  <a:cubicBezTo>
                    <a:pt x="235" y="5"/>
                    <a:pt x="235" y="5"/>
                    <a:pt x="235" y="5"/>
                  </a:cubicBezTo>
                  <a:cubicBezTo>
                    <a:pt x="235" y="15"/>
                    <a:pt x="235" y="15"/>
                    <a:pt x="235" y="15"/>
                  </a:cubicBezTo>
                  <a:cubicBezTo>
                    <a:pt x="235" y="15"/>
                    <a:pt x="224" y="10"/>
                    <a:pt x="219" y="12"/>
                  </a:cubicBezTo>
                  <a:cubicBezTo>
                    <a:pt x="215" y="15"/>
                    <a:pt x="209" y="20"/>
                    <a:pt x="209" y="20"/>
                  </a:cubicBezTo>
                  <a:cubicBezTo>
                    <a:pt x="209" y="27"/>
                    <a:pt x="209" y="27"/>
                    <a:pt x="209" y="27"/>
                  </a:cubicBezTo>
                  <a:cubicBezTo>
                    <a:pt x="209" y="27"/>
                    <a:pt x="203" y="36"/>
                    <a:pt x="197" y="36"/>
                  </a:cubicBezTo>
                  <a:cubicBezTo>
                    <a:pt x="191" y="37"/>
                    <a:pt x="184" y="35"/>
                    <a:pt x="184" y="35"/>
                  </a:cubicBezTo>
                  <a:cubicBezTo>
                    <a:pt x="186" y="29"/>
                    <a:pt x="186" y="29"/>
                    <a:pt x="186" y="29"/>
                  </a:cubicBezTo>
                  <a:cubicBezTo>
                    <a:pt x="168" y="29"/>
                    <a:pt x="168" y="29"/>
                    <a:pt x="168" y="29"/>
                  </a:cubicBezTo>
                  <a:cubicBezTo>
                    <a:pt x="168" y="29"/>
                    <a:pt x="151" y="34"/>
                    <a:pt x="145" y="31"/>
                  </a:cubicBezTo>
                  <a:cubicBezTo>
                    <a:pt x="138" y="29"/>
                    <a:pt x="137" y="24"/>
                    <a:pt x="130" y="25"/>
                  </a:cubicBezTo>
                  <a:cubicBezTo>
                    <a:pt x="122" y="25"/>
                    <a:pt x="119" y="30"/>
                    <a:pt x="119" y="30"/>
                  </a:cubicBezTo>
                  <a:cubicBezTo>
                    <a:pt x="113" y="29"/>
                    <a:pt x="113" y="29"/>
                    <a:pt x="113" y="29"/>
                  </a:cubicBezTo>
                  <a:cubicBezTo>
                    <a:pt x="113" y="29"/>
                    <a:pt x="96" y="43"/>
                    <a:pt x="83" y="45"/>
                  </a:cubicBezTo>
                  <a:cubicBezTo>
                    <a:pt x="71" y="48"/>
                    <a:pt x="61" y="42"/>
                    <a:pt x="61" y="4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48" y="47"/>
                    <a:pt x="48" y="47"/>
                    <a:pt x="48" y="4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3" y="49"/>
                    <a:pt x="23" y="49"/>
                    <a:pt x="23" y="49"/>
                  </a:cubicBezTo>
                  <a:cubicBezTo>
                    <a:pt x="23" y="49"/>
                    <a:pt x="7" y="47"/>
                    <a:pt x="4" y="51"/>
                  </a:cubicBezTo>
                  <a:cubicBezTo>
                    <a:pt x="0" y="56"/>
                    <a:pt x="0" y="66"/>
                    <a:pt x="0" y="66"/>
                  </a:cubicBezTo>
                  <a:cubicBezTo>
                    <a:pt x="0" y="66"/>
                    <a:pt x="3" y="67"/>
                    <a:pt x="8" y="67"/>
                  </a:cubicBezTo>
                  <a:cubicBezTo>
                    <a:pt x="14" y="68"/>
                    <a:pt x="17" y="76"/>
                    <a:pt x="17" y="76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81"/>
                    <a:pt x="70" y="72"/>
                    <a:pt x="79" y="77"/>
                  </a:cubicBezTo>
                  <a:cubicBezTo>
                    <a:pt x="87" y="83"/>
                    <a:pt x="95" y="97"/>
                    <a:pt x="95" y="97"/>
                  </a:cubicBezTo>
                  <a:cubicBezTo>
                    <a:pt x="101" y="95"/>
                    <a:pt x="101" y="95"/>
                    <a:pt x="101" y="95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9" y="104"/>
                    <a:pt x="109" y="104"/>
                    <a:pt x="109" y="104"/>
                  </a:cubicBezTo>
                  <a:cubicBezTo>
                    <a:pt x="108" y="112"/>
                    <a:pt x="108" y="112"/>
                    <a:pt x="108" y="112"/>
                  </a:cubicBezTo>
                  <a:cubicBezTo>
                    <a:pt x="108" y="112"/>
                    <a:pt x="122" y="115"/>
                    <a:pt x="122" y="126"/>
                  </a:cubicBezTo>
                  <a:cubicBezTo>
                    <a:pt x="121" y="136"/>
                    <a:pt x="117" y="139"/>
                    <a:pt x="117" y="139"/>
                  </a:cubicBezTo>
                  <a:cubicBezTo>
                    <a:pt x="119" y="152"/>
                    <a:pt x="119" y="152"/>
                    <a:pt x="119" y="152"/>
                  </a:cubicBezTo>
                  <a:cubicBezTo>
                    <a:pt x="133" y="150"/>
                    <a:pt x="133" y="150"/>
                    <a:pt x="133" y="150"/>
                  </a:cubicBezTo>
                  <a:cubicBezTo>
                    <a:pt x="133" y="150"/>
                    <a:pt x="142" y="139"/>
                    <a:pt x="149" y="138"/>
                  </a:cubicBezTo>
                  <a:cubicBezTo>
                    <a:pt x="157" y="137"/>
                    <a:pt x="165" y="136"/>
                    <a:pt x="165" y="136"/>
                  </a:cubicBezTo>
                  <a:cubicBezTo>
                    <a:pt x="165" y="136"/>
                    <a:pt x="163" y="122"/>
                    <a:pt x="168" y="122"/>
                  </a:cubicBezTo>
                  <a:cubicBezTo>
                    <a:pt x="175" y="122"/>
                    <a:pt x="179" y="126"/>
                    <a:pt x="179" y="126"/>
                  </a:cubicBezTo>
                  <a:cubicBezTo>
                    <a:pt x="205" y="136"/>
                    <a:pt x="205" y="136"/>
                    <a:pt x="205" y="136"/>
                  </a:cubicBezTo>
                  <a:cubicBezTo>
                    <a:pt x="205" y="136"/>
                    <a:pt x="210" y="130"/>
                    <a:pt x="214" y="130"/>
                  </a:cubicBezTo>
                  <a:cubicBezTo>
                    <a:pt x="216" y="130"/>
                    <a:pt x="215" y="132"/>
                    <a:pt x="216" y="136"/>
                  </a:cubicBezTo>
                  <a:cubicBezTo>
                    <a:pt x="218" y="132"/>
                    <a:pt x="220" y="130"/>
                    <a:pt x="221" y="130"/>
                  </a:cubicBezTo>
                  <a:cubicBezTo>
                    <a:pt x="225" y="130"/>
                    <a:pt x="231" y="127"/>
                    <a:pt x="231" y="127"/>
                  </a:cubicBezTo>
                  <a:cubicBezTo>
                    <a:pt x="232" y="123"/>
                    <a:pt x="232" y="123"/>
                    <a:pt x="232" y="123"/>
                  </a:cubicBezTo>
                  <a:cubicBezTo>
                    <a:pt x="232" y="123"/>
                    <a:pt x="241" y="118"/>
                    <a:pt x="243" y="116"/>
                  </a:cubicBezTo>
                  <a:cubicBezTo>
                    <a:pt x="245" y="114"/>
                    <a:pt x="246" y="109"/>
                    <a:pt x="246" y="109"/>
                  </a:cubicBezTo>
                  <a:cubicBezTo>
                    <a:pt x="246" y="109"/>
                    <a:pt x="251" y="114"/>
                    <a:pt x="258" y="111"/>
                  </a:cubicBezTo>
                  <a:cubicBezTo>
                    <a:pt x="263" y="109"/>
                    <a:pt x="276" y="100"/>
                    <a:pt x="276" y="100"/>
                  </a:cubicBezTo>
                  <a:cubicBezTo>
                    <a:pt x="272" y="95"/>
                    <a:pt x="272" y="95"/>
                    <a:pt x="272" y="95"/>
                  </a:cubicBezTo>
                  <a:cubicBezTo>
                    <a:pt x="272" y="95"/>
                    <a:pt x="277" y="97"/>
                    <a:pt x="280" y="94"/>
                  </a:cubicBezTo>
                  <a:cubicBezTo>
                    <a:pt x="284" y="90"/>
                    <a:pt x="278" y="72"/>
                    <a:pt x="291" y="72"/>
                  </a:cubicBezTo>
                  <a:cubicBezTo>
                    <a:pt x="303" y="72"/>
                    <a:pt x="312" y="69"/>
                    <a:pt x="312" y="69"/>
                  </a:cubicBezTo>
                  <a:cubicBezTo>
                    <a:pt x="312" y="69"/>
                    <a:pt x="313" y="75"/>
                    <a:pt x="317" y="75"/>
                  </a:cubicBezTo>
                  <a:cubicBezTo>
                    <a:pt x="322" y="75"/>
                    <a:pt x="329" y="76"/>
                    <a:pt x="331" y="74"/>
                  </a:cubicBezTo>
                  <a:cubicBezTo>
                    <a:pt x="334" y="72"/>
                    <a:pt x="333" y="66"/>
                    <a:pt x="336" y="66"/>
                  </a:cubicBezTo>
                  <a:cubicBezTo>
                    <a:pt x="339" y="66"/>
                    <a:pt x="348" y="75"/>
                    <a:pt x="356" y="68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8" name="Türkei" descr="© INSCALE GmbH, 05.05.2010&#10;http://www.presentationload.com/">
              <a:extLst>
                <a:ext uri="{FF2B5EF4-FFF2-40B4-BE49-F238E27FC236}">
                  <a16:creationId xmlns:a16="http://schemas.microsoft.com/office/drawing/2014/main" id="{722F65E2-48F9-46E3-902D-0F2F83501C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9781973" y="4289831"/>
              <a:ext cx="2409034" cy="1659606"/>
            </a:xfrm>
            <a:custGeom>
              <a:avLst/>
              <a:gdLst/>
              <a:ahLst/>
              <a:cxnLst>
                <a:cxn ang="0">
                  <a:pos x="24" y="340"/>
                </a:cxn>
                <a:cxn ang="0">
                  <a:pos x="49" y="328"/>
                </a:cxn>
                <a:cxn ang="0">
                  <a:pos x="102" y="283"/>
                </a:cxn>
                <a:cxn ang="0">
                  <a:pos x="135" y="275"/>
                </a:cxn>
                <a:cxn ang="0">
                  <a:pos x="103" y="241"/>
                </a:cxn>
                <a:cxn ang="0">
                  <a:pos x="87" y="218"/>
                </a:cxn>
                <a:cxn ang="0">
                  <a:pos x="55" y="215"/>
                </a:cxn>
                <a:cxn ang="0">
                  <a:pos x="24" y="241"/>
                </a:cxn>
                <a:cxn ang="0">
                  <a:pos x="29" y="264"/>
                </a:cxn>
                <a:cxn ang="0">
                  <a:pos x="25" y="300"/>
                </a:cxn>
                <a:cxn ang="0">
                  <a:pos x="41" y="327"/>
                </a:cxn>
                <a:cxn ang="0">
                  <a:pos x="15" y="353"/>
                </a:cxn>
                <a:cxn ang="0">
                  <a:pos x="973" y="186"/>
                </a:cxn>
                <a:cxn ang="0">
                  <a:pos x="946" y="128"/>
                </a:cxn>
                <a:cxn ang="0">
                  <a:pos x="942" y="68"/>
                </a:cxn>
                <a:cxn ang="0">
                  <a:pos x="843" y="17"/>
                </a:cxn>
                <a:cxn ang="0">
                  <a:pos x="789" y="14"/>
                </a:cxn>
                <a:cxn ang="0">
                  <a:pos x="720" y="63"/>
                </a:cxn>
                <a:cxn ang="0">
                  <a:pos x="587" y="131"/>
                </a:cxn>
                <a:cxn ang="0">
                  <a:pos x="517" y="129"/>
                </a:cxn>
                <a:cxn ang="0">
                  <a:pos x="448" y="131"/>
                </a:cxn>
                <a:cxn ang="0">
                  <a:pos x="373" y="138"/>
                </a:cxn>
                <a:cxn ang="0">
                  <a:pos x="276" y="207"/>
                </a:cxn>
                <a:cxn ang="0">
                  <a:pos x="218" y="236"/>
                </a:cxn>
                <a:cxn ang="0">
                  <a:pos x="157" y="262"/>
                </a:cxn>
                <a:cxn ang="0">
                  <a:pos x="198" y="277"/>
                </a:cxn>
                <a:cxn ang="0">
                  <a:pos x="151" y="303"/>
                </a:cxn>
                <a:cxn ang="0">
                  <a:pos x="151" y="310"/>
                </a:cxn>
                <a:cxn ang="0">
                  <a:pos x="97" y="314"/>
                </a:cxn>
                <a:cxn ang="0">
                  <a:pos x="80" y="321"/>
                </a:cxn>
                <a:cxn ang="0">
                  <a:pos x="37" y="357"/>
                </a:cxn>
                <a:cxn ang="0">
                  <a:pos x="26" y="399"/>
                </a:cxn>
                <a:cxn ang="0">
                  <a:pos x="66" y="411"/>
                </a:cxn>
                <a:cxn ang="0">
                  <a:pos x="73" y="446"/>
                </a:cxn>
                <a:cxn ang="0">
                  <a:pos x="79" y="459"/>
                </a:cxn>
                <a:cxn ang="0">
                  <a:pos x="69" y="453"/>
                </a:cxn>
                <a:cxn ang="0">
                  <a:pos x="71" y="478"/>
                </a:cxn>
                <a:cxn ang="0">
                  <a:pos x="107" y="496"/>
                </a:cxn>
                <a:cxn ang="0">
                  <a:pos x="110" y="510"/>
                </a:cxn>
                <a:cxn ang="0">
                  <a:pos x="130" y="524"/>
                </a:cxn>
                <a:cxn ang="0">
                  <a:pos x="128" y="540"/>
                </a:cxn>
                <a:cxn ang="0">
                  <a:pos x="150" y="548"/>
                </a:cxn>
                <a:cxn ang="0">
                  <a:pos x="147" y="554"/>
                </a:cxn>
                <a:cxn ang="0">
                  <a:pos x="162" y="556"/>
                </a:cxn>
                <a:cxn ang="0">
                  <a:pos x="175" y="543"/>
                </a:cxn>
                <a:cxn ang="0">
                  <a:pos x="208" y="545"/>
                </a:cxn>
                <a:cxn ang="0">
                  <a:pos x="221" y="551"/>
                </a:cxn>
                <a:cxn ang="0">
                  <a:pos x="241" y="560"/>
                </a:cxn>
                <a:cxn ang="0">
                  <a:pos x="315" y="546"/>
                </a:cxn>
                <a:cxn ang="0">
                  <a:pos x="391" y="513"/>
                </a:cxn>
                <a:cxn ang="0">
                  <a:pos x="563" y="456"/>
                </a:cxn>
                <a:cxn ang="0">
                  <a:pos x="606" y="438"/>
                </a:cxn>
                <a:cxn ang="0">
                  <a:pos x="631" y="472"/>
                </a:cxn>
                <a:cxn ang="0">
                  <a:pos x="645" y="413"/>
                </a:cxn>
                <a:cxn ang="0">
                  <a:pos x="707" y="377"/>
                </a:cxn>
                <a:cxn ang="0">
                  <a:pos x="865" y="297"/>
                </a:cxn>
                <a:cxn ang="0">
                  <a:pos x="910" y="253"/>
                </a:cxn>
                <a:cxn ang="0">
                  <a:pos x="975" y="238"/>
                </a:cxn>
                <a:cxn ang="0">
                  <a:pos x="1020" y="222"/>
                </a:cxn>
              </a:cxnLst>
              <a:rect l="0" t="0" r="r" b="b"/>
              <a:pathLst>
                <a:path w="1022" h="573">
                  <a:moveTo>
                    <a:pt x="91" y="305"/>
                  </a:moveTo>
                  <a:cubicBezTo>
                    <a:pt x="82" y="306"/>
                    <a:pt x="85" y="312"/>
                    <a:pt x="91" y="310"/>
                  </a:cubicBezTo>
                  <a:cubicBezTo>
                    <a:pt x="100" y="308"/>
                    <a:pt x="101" y="304"/>
                    <a:pt x="91" y="305"/>
                  </a:cubicBezTo>
                  <a:close/>
                  <a:moveTo>
                    <a:pt x="41" y="327"/>
                  </a:moveTo>
                  <a:cubicBezTo>
                    <a:pt x="24" y="340"/>
                    <a:pt x="24" y="340"/>
                    <a:pt x="24" y="340"/>
                  </a:cubicBezTo>
                  <a:cubicBezTo>
                    <a:pt x="30" y="347"/>
                    <a:pt x="30" y="347"/>
                    <a:pt x="30" y="347"/>
                  </a:cubicBezTo>
                  <a:cubicBezTo>
                    <a:pt x="26" y="360"/>
                    <a:pt x="26" y="360"/>
                    <a:pt x="26" y="360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35" y="347"/>
                    <a:pt x="35" y="347"/>
                    <a:pt x="35" y="347"/>
                  </a:cubicBezTo>
                  <a:cubicBezTo>
                    <a:pt x="49" y="328"/>
                    <a:pt x="49" y="328"/>
                    <a:pt x="49" y="328"/>
                  </a:cubicBezTo>
                  <a:cubicBezTo>
                    <a:pt x="64" y="318"/>
                    <a:pt x="64" y="318"/>
                    <a:pt x="64" y="318"/>
                  </a:cubicBezTo>
                  <a:cubicBezTo>
                    <a:pt x="77" y="302"/>
                    <a:pt x="77" y="302"/>
                    <a:pt x="77" y="302"/>
                  </a:cubicBezTo>
                  <a:cubicBezTo>
                    <a:pt x="77" y="302"/>
                    <a:pt x="79" y="294"/>
                    <a:pt x="80" y="290"/>
                  </a:cubicBezTo>
                  <a:cubicBezTo>
                    <a:pt x="81" y="287"/>
                    <a:pt x="93" y="283"/>
                    <a:pt x="93" y="283"/>
                  </a:cubicBezTo>
                  <a:cubicBezTo>
                    <a:pt x="93" y="283"/>
                    <a:pt x="100" y="284"/>
                    <a:pt x="102" y="283"/>
                  </a:cubicBezTo>
                  <a:cubicBezTo>
                    <a:pt x="105" y="283"/>
                    <a:pt x="106" y="275"/>
                    <a:pt x="113" y="274"/>
                  </a:cubicBezTo>
                  <a:cubicBezTo>
                    <a:pt x="120" y="273"/>
                    <a:pt x="132" y="274"/>
                    <a:pt x="132" y="274"/>
                  </a:cubicBezTo>
                  <a:cubicBezTo>
                    <a:pt x="132" y="270"/>
                    <a:pt x="132" y="270"/>
                    <a:pt x="132" y="270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35" y="275"/>
                    <a:pt x="135" y="275"/>
                    <a:pt x="135" y="275"/>
                  </a:cubicBezTo>
                  <a:cubicBezTo>
                    <a:pt x="135" y="275"/>
                    <a:pt x="140" y="275"/>
                    <a:pt x="149" y="272"/>
                  </a:cubicBezTo>
                  <a:cubicBezTo>
                    <a:pt x="157" y="268"/>
                    <a:pt x="153" y="258"/>
                    <a:pt x="153" y="258"/>
                  </a:cubicBezTo>
                  <a:cubicBezTo>
                    <a:pt x="155" y="253"/>
                    <a:pt x="155" y="253"/>
                    <a:pt x="155" y="253"/>
                  </a:cubicBezTo>
                  <a:cubicBezTo>
                    <a:pt x="155" y="253"/>
                    <a:pt x="143" y="253"/>
                    <a:pt x="133" y="251"/>
                  </a:cubicBezTo>
                  <a:cubicBezTo>
                    <a:pt x="123" y="250"/>
                    <a:pt x="112" y="246"/>
                    <a:pt x="103" y="241"/>
                  </a:cubicBezTo>
                  <a:cubicBezTo>
                    <a:pt x="95" y="237"/>
                    <a:pt x="101" y="233"/>
                    <a:pt x="100" y="229"/>
                  </a:cubicBezTo>
                  <a:cubicBezTo>
                    <a:pt x="99" y="226"/>
                    <a:pt x="93" y="223"/>
                    <a:pt x="93" y="223"/>
                  </a:cubicBezTo>
                  <a:cubicBezTo>
                    <a:pt x="96" y="221"/>
                    <a:pt x="96" y="221"/>
                    <a:pt x="96" y="221"/>
                  </a:cubicBezTo>
                  <a:cubicBezTo>
                    <a:pt x="93" y="215"/>
                    <a:pt x="93" y="215"/>
                    <a:pt x="93" y="215"/>
                  </a:cubicBezTo>
                  <a:cubicBezTo>
                    <a:pt x="87" y="218"/>
                    <a:pt x="87" y="218"/>
                    <a:pt x="87" y="218"/>
                  </a:cubicBezTo>
                  <a:cubicBezTo>
                    <a:pt x="84" y="218"/>
                    <a:pt x="84" y="218"/>
                    <a:pt x="84" y="218"/>
                  </a:cubicBezTo>
                  <a:cubicBezTo>
                    <a:pt x="84" y="223"/>
                    <a:pt x="84" y="223"/>
                    <a:pt x="84" y="223"/>
                  </a:cubicBezTo>
                  <a:cubicBezTo>
                    <a:pt x="77" y="220"/>
                    <a:pt x="77" y="220"/>
                    <a:pt x="77" y="220"/>
                  </a:cubicBezTo>
                  <a:cubicBezTo>
                    <a:pt x="77" y="220"/>
                    <a:pt x="72" y="224"/>
                    <a:pt x="67" y="224"/>
                  </a:cubicBezTo>
                  <a:cubicBezTo>
                    <a:pt x="63" y="223"/>
                    <a:pt x="58" y="217"/>
                    <a:pt x="55" y="215"/>
                  </a:cubicBezTo>
                  <a:cubicBezTo>
                    <a:pt x="51" y="215"/>
                    <a:pt x="49" y="221"/>
                    <a:pt x="49" y="221"/>
                  </a:cubicBezTo>
                  <a:cubicBezTo>
                    <a:pt x="49" y="221"/>
                    <a:pt x="48" y="218"/>
                    <a:pt x="46" y="219"/>
                  </a:cubicBezTo>
                  <a:cubicBezTo>
                    <a:pt x="44" y="221"/>
                    <a:pt x="44" y="224"/>
                    <a:pt x="38" y="228"/>
                  </a:cubicBezTo>
                  <a:cubicBezTo>
                    <a:pt x="34" y="233"/>
                    <a:pt x="28" y="229"/>
                    <a:pt x="23" y="230"/>
                  </a:cubicBezTo>
                  <a:cubicBezTo>
                    <a:pt x="20" y="233"/>
                    <a:pt x="25" y="237"/>
                    <a:pt x="24" y="241"/>
                  </a:cubicBezTo>
                  <a:cubicBezTo>
                    <a:pt x="22" y="244"/>
                    <a:pt x="17" y="241"/>
                    <a:pt x="15" y="243"/>
                  </a:cubicBezTo>
                  <a:cubicBezTo>
                    <a:pt x="12" y="245"/>
                    <a:pt x="14" y="250"/>
                    <a:pt x="14" y="250"/>
                  </a:cubicBezTo>
                  <a:cubicBezTo>
                    <a:pt x="21" y="252"/>
                    <a:pt x="21" y="252"/>
                    <a:pt x="21" y="252"/>
                  </a:cubicBezTo>
                  <a:cubicBezTo>
                    <a:pt x="28" y="255"/>
                    <a:pt x="28" y="255"/>
                    <a:pt x="28" y="255"/>
                  </a:cubicBezTo>
                  <a:cubicBezTo>
                    <a:pt x="28" y="255"/>
                    <a:pt x="28" y="261"/>
                    <a:pt x="29" y="264"/>
                  </a:cubicBezTo>
                  <a:cubicBezTo>
                    <a:pt x="30" y="266"/>
                    <a:pt x="36" y="271"/>
                    <a:pt x="34" y="273"/>
                  </a:cubicBezTo>
                  <a:cubicBezTo>
                    <a:pt x="32" y="275"/>
                    <a:pt x="26" y="274"/>
                    <a:pt x="26" y="274"/>
                  </a:cubicBezTo>
                  <a:cubicBezTo>
                    <a:pt x="19" y="281"/>
                    <a:pt x="19" y="281"/>
                    <a:pt x="19" y="281"/>
                  </a:cubicBezTo>
                  <a:cubicBezTo>
                    <a:pt x="20" y="290"/>
                    <a:pt x="20" y="290"/>
                    <a:pt x="20" y="290"/>
                  </a:cubicBezTo>
                  <a:cubicBezTo>
                    <a:pt x="20" y="290"/>
                    <a:pt x="28" y="296"/>
                    <a:pt x="25" y="300"/>
                  </a:cubicBezTo>
                  <a:cubicBezTo>
                    <a:pt x="23" y="305"/>
                    <a:pt x="13" y="316"/>
                    <a:pt x="13" y="316"/>
                  </a:cubicBezTo>
                  <a:cubicBezTo>
                    <a:pt x="13" y="316"/>
                    <a:pt x="14" y="322"/>
                    <a:pt x="18" y="324"/>
                  </a:cubicBezTo>
                  <a:cubicBezTo>
                    <a:pt x="22" y="328"/>
                    <a:pt x="39" y="320"/>
                    <a:pt x="39" y="320"/>
                  </a:cubicBezTo>
                  <a:cubicBezTo>
                    <a:pt x="39" y="320"/>
                    <a:pt x="50" y="314"/>
                    <a:pt x="52" y="318"/>
                  </a:cubicBezTo>
                  <a:cubicBezTo>
                    <a:pt x="53" y="321"/>
                    <a:pt x="41" y="327"/>
                    <a:pt x="41" y="327"/>
                  </a:cubicBezTo>
                  <a:close/>
                  <a:moveTo>
                    <a:pt x="13" y="350"/>
                  </a:moveTo>
                  <a:cubicBezTo>
                    <a:pt x="13" y="350"/>
                    <a:pt x="0" y="354"/>
                    <a:pt x="0" y="361"/>
                  </a:cubicBezTo>
                  <a:cubicBezTo>
                    <a:pt x="0" y="361"/>
                    <a:pt x="2" y="364"/>
                    <a:pt x="8" y="361"/>
                  </a:cubicBezTo>
                  <a:cubicBezTo>
                    <a:pt x="15" y="357"/>
                    <a:pt x="18" y="355"/>
                    <a:pt x="18" y="355"/>
                  </a:cubicBezTo>
                  <a:cubicBezTo>
                    <a:pt x="15" y="353"/>
                    <a:pt x="15" y="353"/>
                    <a:pt x="15" y="353"/>
                  </a:cubicBezTo>
                  <a:lnTo>
                    <a:pt x="13" y="350"/>
                  </a:lnTo>
                  <a:close/>
                  <a:moveTo>
                    <a:pt x="1019" y="210"/>
                  </a:moveTo>
                  <a:cubicBezTo>
                    <a:pt x="1015" y="206"/>
                    <a:pt x="1013" y="209"/>
                    <a:pt x="1004" y="209"/>
                  </a:cubicBezTo>
                  <a:cubicBezTo>
                    <a:pt x="997" y="209"/>
                    <a:pt x="1003" y="198"/>
                    <a:pt x="996" y="191"/>
                  </a:cubicBezTo>
                  <a:cubicBezTo>
                    <a:pt x="988" y="182"/>
                    <a:pt x="973" y="186"/>
                    <a:pt x="973" y="186"/>
                  </a:cubicBezTo>
                  <a:cubicBezTo>
                    <a:pt x="971" y="155"/>
                    <a:pt x="971" y="155"/>
                    <a:pt x="971" y="155"/>
                  </a:cubicBezTo>
                  <a:cubicBezTo>
                    <a:pt x="963" y="159"/>
                    <a:pt x="963" y="159"/>
                    <a:pt x="963" y="159"/>
                  </a:cubicBezTo>
                  <a:cubicBezTo>
                    <a:pt x="963" y="159"/>
                    <a:pt x="964" y="150"/>
                    <a:pt x="959" y="146"/>
                  </a:cubicBezTo>
                  <a:cubicBezTo>
                    <a:pt x="955" y="141"/>
                    <a:pt x="950" y="138"/>
                    <a:pt x="950" y="138"/>
                  </a:cubicBezTo>
                  <a:cubicBezTo>
                    <a:pt x="946" y="128"/>
                    <a:pt x="946" y="128"/>
                    <a:pt x="946" y="128"/>
                  </a:cubicBezTo>
                  <a:cubicBezTo>
                    <a:pt x="938" y="128"/>
                    <a:pt x="938" y="128"/>
                    <a:pt x="938" y="128"/>
                  </a:cubicBezTo>
                  <a:cubicBezTo>
                    <a:pt x="938" y="128"/>
                    <a:pt x="920" y="108"/>
                    <a:pt x="919" y="104"/>
                  </a:cubicBezTo>
                  <a:cubicBezTo>
                    <a:pt x="919" y="100"/>
                    <a:pt x="929" y="98"/>
                    <a:pt x="934" y="95"/>
                  </a:cubicBezTo>
                  <a:cubicBezTo>
                    <a:pt x="938" y="92"/>
                    <a:pt x="932" y="82"/>
                    <a:pt x="930" y="75"/>
                  </a:cubicBezTo>
                  <a:cubicBezTo>
                    <a:pt x="927" y="68"/>
                    <a:pt x="942" y="68"/>
                    <a:pt x="942" y="68"/>
                  </a:cubicBezTo>
                  <a:cubicBezTo>
                    <a:pt x="942" y="68"/>
                    <a:pt x="934" y="61"/>
                    <a:pt x="922" y="59"/>
                  </a:cubicBezTo>
                  <a:cubicBezTo>
                    <a:pt x="910" y="55"/>
                    <a:pt x="906" y="62"/>
                    <a:pt x="898" y="68"/>
                  </a:cubicBezTo>
                  <a:cubicBezTo>
                    <a:pt x="890" y="73"/>
                    <a:pt x="882" y="68"/>
                    <a:pt x="871" y="59"/>
                  </a:cubicBezTo>
                  <a:cubicBezTo>
                    <a:pt x="861" y="49"/>
                    <a:pt x="864" y="36"/>
                    <a:pt x="861" y="25"/>
                  </a:cubicBezTo>
                  <a:cubicBezTo>
                    <a:pt x="858" y="16"/>
                    <a:pt x="849" y="17"/>
                    <a:pt x="843" y="17"/>
                  </a:cubicBezTo>
                  <a:cubicBezTo>
                    <a:pt x="838" y="17"/>
                    <a:pt x="841" y="8"/>
                    <a:pt x="838" y="8"/>
                  </a:cubicBezTo>
                  <a:cubicBezTo>
                    <a:pt x="834" y="8"/>
                    <a:pt x="829" y="14"/>
                    <a:pt x="829" y="14"/>
                  </a:cubicBezTo>
                  <a:cubicBezTo>
                    <a:pt x="803" y="4"/>
                    <a:pt x="803" y="4"/>
                    <a:pt x="803" y="4"/>
                  </a:cubicBezTo>
                  <a:cubicBezTo>
                    <a:pt x="803" y="4"/>
                    <a:pt x="799" y="0"/>
                    <a:pt x="792" y="0"/>
                  </a:cubicBezTo>
                  <a:cubicBezTo>
                    <a:pt x="787" y="0"/>
                    <a:pt x="789" y="14"/>
                    <a:pt x="789" y="14"/>
                  </a:cubicBezTo>
                  <a:cubicBezTo>
                    <a:pt x="789" y="14"/>
                    <a:pt x="781" y="15"/>
                    <a:pt x="773" y="16"/>
                  </a:cubicBezTo>
                  <a:cubicBezTo>
                    <a:pt x="766" y="17"/>
                    <a:pt x="757" y="28"/>
                    <a:pt x="757" y="28"/>
                  </a:cubicBezTo>
                  <a:cubicBezTo>
                    <a:pt x="741" y="30"/>
                    <a:pt x="741" y="30"/>
                    <a:pt x="741" y="30"/>
                  </a:cubicBezTo>
                  <a:cubicBezTo>
                    <a:pt x="726" y="59"/>
                    <a:pt x="726" y="59"/>
                    <a:pt x="726" y="59"/>
                  </a:cubicBezTo>
                  <a:cubicBezTo>
                    <a:pt x="720" y="63"/>
                    <a:pt x="720" y="63"/>
                    <a:pt x="720" y="63"/>
                  </a:cubicBezTo>
                  <a:cubicBezTo>
                    <a:pt x="720" y="63"/>
                    <a:pt x="721" y="69"/>
                    <a:pt x="703" y="85"/>
                  </a:cubicBezTo>
                  <a:cubicBezTo>
                    <a:pt x="685" y="101"/>
                    <a:pt x="665" y="99"/>
                    <a:pt x="665" y="99"/>
                  </a:cubicBezTo>
                  <a:cubicBezTo>
                    <a:pt x="665" y="99"/>
                    <a:pt x="662" y="95"/>
                    <a:pt x="651" y="98"/>
                  </a:cubicBezTo>
                  <a:cubicBezTo>
                    <a:pt x="640" y="101"/>
                    <a:pt x="624" y="118"/>
                    <a:pt x="614" y="126"/>
                  </a:cubicBezTo>
                  <a:cubicBezTo>
                    <a:pt x="604" y="132"/>
                    <a:pt x="587" y="131"/>
                    <a:pt x="587" y="131"/>
                  </a:cubicBezTo>
                  <a:cubicBezTo>
                    <a:pt x="578" y="126"/>
                    <a:pt x="578" y="126"/>
                    <a:pt x="578" y="126"/>
                  </a:cubicBezTo>
                  <a:cubicBezTo>
                    <a:pt x="569" y="125"/>
                    <a:pt x="569" y="125"/>
                    <a:pt x="569" y="125"/>
                  </a:cubicBezTo>
                  <a:cubicBezTo>
                    <a:pt x="564" y="138"/>
                    <a:pt x="564" y="138"/>
                    <a:pt x="564" y="138"/>
                  </a:cubicBezTo>
                  <a:cubicBezTo>
                    <a:pt x="564" y="138"/>
                    <a:pt x="542" y="133"/>
                    <a:pt x="539" y="130"/>
                  </a:cubicBezTo>
                  <a:cubicBezTo>
                    <a:pt x="534" y="127"/>
                    <a:pt x="517" y="129"/>
                    <a:pt x="517" y="129"/>
                  </a:cubicBezTo>
                  <a:cubicBezTo>
                    <a:pt x="517" y="129"/>
                    <a:pt x="522" y="142"/>
                    <a:pt x="515" y="145"/>
                  </a:cubicBezTo>
                  <a:cubicBezTo>
                    <a:pt x="509" y="148"/>
                    <a:pt x="490" y="136"/>
                    <a:pt x="490" y="136"/>
                  </a:cubicBezTo>
                  <a:cubicBezTo>
                    <a:pt x="490" y="123"/>
                    <a:pt x="490" y="123"/>
                    <a:pt x="490" y="123"/>
                  </a:cubicBezTo>
                  <a:cubicBezTo>
                    <a:pt x="477" y="118"/>
                    <a:pt x="477" y="118"/>
                    <a:pt x="477" y="118"/>
                  </a:cubicBezTo>
                  <a:cubicBezTo>
                    <a:pt x="477" y="118"/>
                    <a:pt x="467" y="134"/>
                    <a:pt x="448" y="131"/>
                  </a:cubicBezTo>
                  <a:cubicBezTo>
                    <a:pt x="428" y="129"/>
                    <a:pt x="434" y="111"/>
                    <a:pt x="434" y="111"/>
                  </a:cubicBezTo>
                  <a:cubicBezTo>
                    <a:pt x="423" y="113"/>
                    <a:pt x="423" y="113"/>
                    <a:pt x="423" y="113"/>
                  </a:cubicBezTo>
                  <a:cubicBezTo>
                    <a:pt x="423" y="113"/>
                    <a:pt x="421" y="117"/>
                    <a:pt x="419" y="122"/>
                  </a:cubicBezTo>
                  <a:cubicBezTo>
                    <a:pt x="417" y="126"/>
                    <a:pt x="403" y="131"/>
                    <a:pt x="395" y="130"/>
                  </a:cubicBezTo>
                  <a:cubicBezTo>
                    <a:pt x="386" y="128"/>
                    <a:pt x="381" y="134"/>
                    <a:pt x="373" y="138"/>
                  </a:cubicBezTo>
                  <a:cubicBezTo>
                    <a:pt x="364" y="142"/>
                    <a:pt x="348" y="143"/>
                    <a:pt x="348" y="143"/>
                  </a:cubicBezTo>
                  <a:cubicBezTo>
                    <a:pt x="326" y="159"/>
                    <a:pt x="326" y="159"/>
                    <a:pt x="326" y="159"/>
                  </a:cubicBezTo>
                  <a:cubicBezTo>
                    <a:pt x="300" y="178"/>
                    <a:pt x="300" y="178"/>
                    <a:pt x="300" y="178"/>
                  </a:cubicBezTo>
                  <a:cubicBezTo>
                    <a:pt x="300" y="186"/>
                    <a:pt x="300" y="186"/>
                    <a:pt x="300" y="186"/>
                  </a:cubicBezTo>
                  <a:cubicBezTo>
                    <a:pt x="276" y="207"/>
                    <a:pt x="276" y="207"/>
                    <a:pt x="276" y="207"/>
                  </a:cubicBezTo>
                  <a:cubicBezTo>
                    <a:pt x="269" y="213"/>
                    <a:pt x="269" y="213"/>
                    <a:pt x="269" y="213"/>
                  </a:cubicBezTo>
                  <a:cubicBezTo>
                    <a:pt x="269" y="213"/>
                    <a:pt x="271" y="222"/>
                    <a:pt x="264" y="230"/>
                  </a:cubicBezTo>
                  <a:cubicBezTo>
                    <a:pt x="255" y="239"/>
                    <a:pt x="239" y="238"/>
                    <a:pt x="239" y="238"/>
                  </a:cubicBezTo>
                  <a:cubicBezTo>
                    <a:pt x="220" y="240"/>
                    <a:pt x="220" y="240"/>
                    <a:pt x="220" y="240"/>
                  </a:cubicBezTo>
                  <a:cubicBezTo>
                    <a:pt x="218" y="236"/>
                    <a:pt x="218" y="236"/>
                    <a:pt x="218" y="236"/>
                  </a:cubicBezTo>
                  <a:cubicBezTo>
                    <a:pt x="206" y="245"/>
                    <a:pt x="206" y="245"/>
                    <a:pt x="206" y="245"/>
                  </a:cubicBezTo>
                  <a:cubicBezTo>
                    <a:pt x="197" y="245"/>
                    <a:pt x="197" y="245"/>
                    <a:pt x="197" y="245"/>
                  </a:cubicBezTo>
                  <a:cubicBezTo>
                    <a:pt x="194" y="247"/>
                    <a:pt x="187" y="251"/>
                    <a:pt x="184" y="252"/>
                  </a:cubicBezTo>
                  <a:cubicBezTo>
                    <a:pt x="180" y="253"/>
                    <a:pt x="166" y="251"/>
                    <a:pt x="161" y="253"/>
                  </a:cubicBezTo>
                  <a:cubicBezTo>
                    <a:pt x="154" y="255"/>
                    <a:pt x="157" y="262"/>
                    <a:pt x="157" y="262"/>
                  </a:cubicBezTo>
                  <a:cubicBezTo>
                    <a:pt x="157" y="262"/>
                    <a:pt x="156" y="266"/>
                    <a:pt x="155" y="270"/>
                  </a:cubicBezTo>
                  <a:cubicBezTo>
                    <a:pt x="155" y="273"/>
                    <a:pt x="171" y="275"/>
                    <a:pt x="171" y="275"/>
                  </a:cubicBezTo>
                  <a:cubicBezTo>
                    <a:pt x="170" y="278"/>
                    <a:pt x="170" y="278"/>
                    <a:pt x="170" y="278"/>
                  </a:cubicBezTo>
                  <a:cubicBezTo>
                    <a:pt x="177" y="280"/>
                    <a:pt x="177" y="280"/>
                    <a:pt x="177" y="280"/>
                  </a:cubicBezTo>
                  <a:cubicBezTo>
                    <a:pt x="177" y="280"/>
                    <a:pt x="197" y="275"/>
                    <a:pt x="198" y="277"/>
                  </a:cubicBezTo>
                  <a:cubicBezTo>
                    <a:pt x="198" y="280"/>
                    <a:pt x="186" y="283"/>
                    <a:pt x="186" y="283"/>
                  </a:cubicBezTo>
                  <a:cubicBezTo>
                    <a:pt x="183" y="282"/>
                    <a:pt x="183" y="282"/>
                    <a:pt x="183" y="282"/>
                  </a:cubicBezTo>
                  <a:cubicBezTo>
                    <a:pt x="173" y="287"/>
                    <a:pt x="173" y="287"/>
                    <a:pt x="173" y="287"/>
                  </a:cubicBezTo>
                  <a:cubicBezTo>
                    <a:pt x="156" y="291"/>
                    <a:pt x="156" y="291"/>
                    <a:pt x="156" y="291"/>
                  </a:cubicBezTo>
                  <a:cubicBezTo>
                    <a:pt x="151" y="303"/>
                    <a:pt x="151" y="303"/>
                    <a:pt x="151" y="303"/>
                  </a:cubicBezTo>
                  <a:cubicBezTo>
                    <a:pt x="156" y="305"/>
                    <a:pt x="156" y="305"/>
                    <a:pt x="156" y="305"/>
                  </a:cubicBezTo>
                  <a:cubicBezTo>
                    <a:pt x="156" y="305"/>
                    <a:pt x="161" y="303"/>
                    <a:pt x="165" y="303"/>
                  </a:cubicBezTo>
                  <a:cubicBezTo>
                    <a:pt x="171" y="303"/>
                    <a:pt x="171" y="303"/>
                    <a:pt x="171" y="303"/>
                  </a:cubicBezTo>
                  <a:cubicBezTo>
                    <a:pt x="171" y="303"/>
                    <a:pt x="168" y="306"/>
                    <a:pt x="165" y="309"/>
                  </a:cubicBezTo>
                  <a:cubicBezTo>
                    <a:pt x="162" y="312"/>
                    <a:pt x="151" y="310"/>
                    <a:pt x="151" y="310"/>
                  </a:cubicBezTo>
                  <a:cubicBezTo>
                    <a:pt x="144" y="314"/>
                    <a:pt x="144" y="314"/>
                    <a:pt x="144" y="314"/>
                  </a:cubicBezTo>
                  <a:cubicBezTo>
                    <a:pt x="136" y="313"/>
                    <a:pt x="136" y="313"/>
                    <a:pt x="136" y="313"/>
                  </a:cubicBezTo>
                  <a:cubicBezTo>
                    <a:pt x="110" y="318"/>
                    <a:pt x="110" y="318"/>
                    <a:pt x="110" y="318"/>
                  </a:cubicBezTo>
                  <a:cubicBezTo>
                    <a:pt x="114" y="312"/>
                    <a:pt x="114" y="312"/>
                    <a:pt x="114" y="312"/>
                  </a:cubicBezTo>
                  <a:cubicBezTo>
                    <a:pt x="97" y="314"/>
                    <a:pt x="97" y="314"/>
                    <a:pt x="97" y="314"/>
                  </a:cubicBezTo>
                  <a:cubicBezTo>
                    <a:pt x="97" y="317"/>
                    <a:pt x="97" y="317"/>
                    <a:pt x="97" y="317"/>
                  </a:cubicBezTo>
                  <a:cubicBezTo>
                    <a:pt x="106" y="322"/>
                    <a:pt x="106" y="322"/>
                    <a:pt x="106" y="322"/>
                  </a:cubicBezTo>
                  <a:cubicBezTo>
                    <a:pt x="106" y="322"/>
                    <a:pt x="102" y="327"/>
                    <a:pt x="96" y="328"/>
                  </a:cubicBezTo>
                  <a:cubicBezTo>
                    <a:pt x="80" y="328"/>
                    <a:pt x="80" y="328"/>
                    <a:pt x="80" y="328"/>
                  </a:cubicBezTo>
                  <a:cubicBezTo>
                    <a:pt x="80" y="321"/>
                    <a:pt x="80" y="321"/>
                    <a:pt x="80" y="321"/>
                  </a:cubicBezTo>
                  <a:cubicBezTo>
                    <a:pt x="69" y="324"/>
                    <a:pt x="69" y="324"/>
                    <a:pt x="69" y="324"/>
                  </a:cubicBezTo>
                  <a:cubicBezTo>
                    <a:pt x="69" y="324"/>
                    <a:pt x="67" y="330"/>
                    <a:pt x="63" y="330"/>
                  </a:cubicBezTo>
                  <a:cubicBezTo>
                    <a:pt x="58" y="330"/>
                    <a:pt x="50" y="333"/>
                    <a:pt x="48" y="337"/>
                  </a:cubicBezTo>
                  <a:cubicBezTo>
                    <a:pt x="47" y="341"/>
                    <a:pt x="45" y="346"/>
                    <a:pt x="40" y="348"/>
                  </a:cubicBezTo>
                  <a:cubicBezTo>
                    <a:pt x="35" y="349"/>
                    <a:pt x="38" y="353"/>
                    <a:pt x="37" y="357"/>
                  </a:cubicBezTo>
                  <a:cubicBezTo>
                    <a:pt x="36" y="362"/>
                    <a:pt x="29" y="363"/>
                    <a:pt x="29" y="363"/>
                  </a:cubicBezTo>
                  <a:cubicBezTo>
                    <a:pt x="28" y="368"/>
                    <a:pt x="28" y="368"/>
                    <a:pt x="28" y="368"/>
                  </a:cubicBezTo>
                  <a:cubicBezTo>
                    <a:pt x="29" y="383"/>
                    <a:pt x="29" y="383"/>
                    <a:pt x="29" y="383"/>
                  </a:cubicBezTo>
                  <a:cubicBezTo>
                    <a:pt x="32" y="384"/>
                    <a:pt x="32" y="384"/>
                    <a:pt x="32" y="384"/>
                  </a:cubicBezTo>
                  <a:cubicBezTo>
                    <a:pt x="26" y="399"/>
                    <a:pt x="26" y="399"/>
                    <a:pt x="26" y="399"/>
                  </a:cubicBezTo>
                  <a:cubicBezTo>
                    <a:pt x="51" y="388"/>
                    <a:pt x="51" y="388"/>
                    <a:pt x="51" y="388"/>
                  </a:cubicBezTo>
                  <a:cubicBezTo>
                    <a:pt x="51" y="388"/>
                    <a:pt x="68" y="380"/>
                    <a:pt x="73" y="385"/>
                  </a:cubicBezTo>
                  <a:cubicBezTo>
                    <a:pt x="78" y="391"/>
                    <a:pt x="58" y="404"/>
                    <a:pt x="58" y="404"/>
                  </a:cubicBezTo>
                  <a:cubicBezTo>
                    <a:pt x="65" y="407"/>
                    <a:pt x="65" y="407"/>
                    <a:pt x="65" y="407"/>
                  </a:cubicBezTo>
                  <a:cubicBezTo>
                    <a:pt x="66" y="411"/>
                    <a:pt x="66" y="411"/>
                    <a:pt x="66" y="411"/>
                  </a:cubicBezTo>
                  <a:cubicBezTo>
                    <a:pt x="74" y="413"/>
                    <a:pt x="74" y="413"/>
                    <a:pt x="74" y="413"/>
                  </a:cubicBezTo>
                  <a:cubicBezTo>
                    <a:pt x="74" y="413"/>
                    <a:pt x="71" y="419"/>
                    <a:pt x="72" y="424"/>
                  </a:cubicBezTo>
                  <a:cubicBezTo>
                    <a:pt x="73" y="429"/>
                    <a:pt x="82" y="422"/>
                    <a:pt x="85" y="426"/>
                  </a:cubicBezTo>
                  <a:cubicBezTo>
                    <a:pt x="88" y="430"/>
                    <a:pt x="80" y="434"/>
                    <a:pt x="75" y="436"/>
                  </a:cubicBezTo>
                  <a:cubicBezTo>
                    <a:pt x="71" y="438"/>
                    <a:pt x="72" y="443"/>
                    <a:pt x="73" y="446"/>
                  </a:cubicBezTo>
                  <a:cubicBezTo>
                    <a:pt x="74" y="448"/>
                    <a:pt x="79" y="446"/>
                    <a:pt x="79" y="446"/>
                  </a:cubicBezTo>
                  <a:cubicBezTo>
                    <a:pt x="79" y="450"/>
                    <a:pt x="79" y="450"/>
                    <a:pt x="79" y="450"/>
                  </a:cubicBezTo>
                  <a:cubicBezTo>
                    <a:pt x="85" y="453"/>
                    <a:pt x="85" y="453"/>
                    <a:pt x="85" y="453"/>
                  </a:cubicBezTo>
                  <a:cubicBezTo>
                    <a:pt x="95" y="453"/>
                    <a:pt x="95" y="453"/>
                    <a:pt x="95" y="453"/>
                  </a:cubicBezTo>
                  <a:cubicBezTo>
                    <a:pt x="79" y="459"/>
                    <a:pt x="79" y="459"/>
                    <a:pt x="79" y="459"/>
                  </a:cubicBezTo>
                  <a:cubicBezTo>
                    <a:pt x="74" y="457"/>
                    <a:pt x="74" y="457"/>
                    <a:pt x="74" y="457"/>
                  </a:cubicBezTo>
                  <a:cubicBezTo>
                    <a:pt x="71" y="458"/>
                    <a:pt x="71" y="458"/>
                    <a:pt x="71" y="458"/>
                  </a:cubicBezTo>
                  <a:cubicBezTo>
                    <a:pt x="72" y="463"/>
                    <a:pt x="72" y="463"/>
                    <a:pt x="72" y="463"/>
                  </a:cubicBezTo>
                  <a:cubicBezTo>
                    <a:pt x="67" y="458"/>
                    <a:pt x="67" y="458"/>
                    <a:pt x="67" y="458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69" y="453"/>
                    <a:pt x="59" y="444"/>
                    <a:pt x="55" y="445"/>
                  </a:cubicBezTo>
                  <a:cubicBezTo>
                    <a:pt x="50" y="446"/>
                    <a:pt x="56" y="458"/>
                    <a:pt x="56" y="458"/>
                  </a:cubicBezTo>
                  <a:cubicBezTo>
                    <a:pt x="56" y="458"/>
                    <a:pt x="61" y="458"/>
                    <a:pt x="61" y="464"/>
                  </a:cubicBezTo>
                  <a:cubicBezTo>
                    <a:pt x="62" y="471"/>
                    <a:pt x="52" y="471"/>
                    <a:pt x="52" y="471"/>
                  </a:cubicBezTo>
                  <a:cubicBezTo>
                    <a:pt x="71" y="478"/>
                    <a:pt x="71" y="478"/>
                    <a:pt x="71" y="478"/>
                  </a:cubicBezTo>
                  <a:cubicBezTo>
                    <a:pt x="81" y="471"/>
                    <a:pt x="81" y="471"/>
                    <a:pt x="81" y="471"/>
                  </a:cubicBezTo>
                  <a:cubicBezTo>
                    <a:pt x="86" y="481"/>
                    <a:pt x="86" y="481"/>
                    <a:pt x="86" y="481"/>
                  </a:cubicBezTo>
                  <a:cubicBezTo>
                    <a:pt x="91" y="478"/>
                    <a:pt x="91" y="478"/>
                    <a:pt x="91" y="478"/>
                  </a:cubicBezTo>
                  <a:cubicBezTo>
                    <a:pt x="91" y="478"/>
                    <a:pt x="101" y="478"/>
                    <a:pt x="108" y="480"/>
                  </a:cubicBezTo>
                  <a:cubicBezTo>
                    <a:pt x="115" y="482"/>
                    <a:pt x="107" y="496"/>
                    <a:pt x="107" y="496"/>
                  </a:cubicBezTo>
                  <a:cubicBezTo>
                    <a:pt x="100" y="503"/>
                    <a:pt x="100" y="503"/>
                    <a:pt x="100" y="503"/>
                  </a:cubicBezTo>
                  <a:cubicBezTo>
                    <a:pt x="111" y="505"/>
                    <a:pt x="111" y="505"/>
                    <a:pt x="111" y="505"/>
                  </a:cubicBezTo>
                  <a:cubicBezTo>
                    <a:pt x="111" y="507"/>
                    <a:pt x="111" y="507"/>
                    <a:pt x="111" y="507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10" y="510"/>
                    <a:pt x="110" y="510"/>
                    <a:pt x="110" y="510"/>
                  </a:cubicBezTo>
                  <a:cubicBezTo>
                    <a:pt x="112" y="520"/>
                    <a:pt x="112" y="520"/>
                    <a:pt x="112" y="520"/>
                  </a:cubicBezTo>
                  <a:cubicBezTo>
                    <a:pt x="118" y="519"/>
                    <a:pt x="118" y="519"/>
                    <a:pt x="118" y="519"/>
                  </a:cubicBezTo>
                  <a:cubicBezTo>
                    <a:pt x="123" y="515"/>
                    <a:pt x="123" y="515"/>
                    <a:pt x="123" y="515"/>
                  </a:cubicBezTo>
                  <a:cubicBezTo>
                    <a:pt x="122" y="520"/>
                    <a:pt x="122" y="520"/>
                    <a:pt x="122" y="520"/>
                  </a:cubicBezTo>
                  <a:cubicBezTo>
                    <a:pt x="130" y="524"/>
                    <a:pt x="130" y="524"/>
                    <a:pt x="130" y="524"/>
                  </a:cubicBezTo>
                  <a:cubicBezTo>
                    <a:pt x="130" y="524"/>
                    <a:pt x="135" y="522"/>
                    <a:pt x="134" y="527"/>
                  </a:cubicBezTo>
                  <a:cubicBezTo>
                    <a:pt x="134" y="532"/>
                    <a:pt x="129" y="535"/>
                    <a:pt x="129" y="535"/>
                  </a:cubicBezTo>
                  <a:cubicBezTo>
                    <a:pt x="129" y="535"/>
                    <a:pt x="123" y="529"/>
                    <a:pt x="119" y="536"/>
                  </a:cubicBezTo>
                  <a:cubicBezTo>
                    <a:pt x="115" y="542"/>
                    <a:pt x="122" y="543"/>
                    <a:pt x="122" y="543"/>
                  </a:cubicBezTo>
                  <a:cubicBezTo>
                    <a:pt x="128" y="540"/>
                    <a:pt x="128" y="540"/>
                    <a:pt x="128" y="540"/>
                  </a:cubicBezTo>
                  <a:cubicBezTo>
                    <a:pt x="133" y="541"/>
                    <a:pt x="133" y="541"/>
                    <a:pt x="133" y="541"/>
                  </a:cubicBezTo>
                  <a:cubicBezTo>
                    <a:pt x="176" y="530"/>
                    <a:pt x="176" y="530"/>
                    <a:pt x="176" y="530"/>
                  </a:cubicBezTo>
                  <a:cubicBezTo>
                    <a:pt x="162" y="540"/>
                    <a:pt x="162" y="540"/>
                    <a:pt x="162" y="540"/>
                  </a:cubicBezTo>
                  <a:cubicBezTo>
                    <a:pt x="163" y="546"/>
                    <a:pt x="163" y="546"/>
                    <a:pt x="163" y="546"/>
                  </a:cubicBezTo>
                  <a:cubicBezTo>
                    <a:pt x="150" y="548"/>
                    <a:pt x="150" y="548"/>
                    <a:pt x="150" y="548"/>
                  </a:cubicBezTo>
                  <a:cubicBezTo>
                    <a:pt x="137" y="555"/>
                    <a:pt x="137" y="555"/>
                    <a:pt x="137" y="555"/>
                  </a:cubicBezTo>
                  <a:cubicBezTo>
                    <a:pt x="130" y="561"/>
                    <a:pt x="130" y="561"/>
                    <a:pt x="130" y="561"/>
                  </a:cubicBezTo>
                  <a:cubicBezTo>
                    <a:pt x="132" y="562"/>
                    <a:pt x="132" y="562"/>
                    <a:pt x="132" y="562"/>
                  </a:cubicBezTo>
                  <a:cubicBezTo>
                    <a:pt x="147" y="558"/>
                    <a:pt x="147" y="558"/>
                    <a:pt x="147" y="558"/>
                  </a:cubicBezTo>
                  <a:cubicBezTo>
                    <a:pt x="147" y="554"/>
                    <a:pt x="147" y="554"/>
                    <a:pt x="147" y="554"/>
                  </a:cubicBezTo>
                  <a:cubicBezTo>
                    <a:pt x="153" y="553"/>
                    <a:pt x="153" y="553"/>
                    <a:pt x="153" y="553"/>
                  </a:cubicBezTo>
                  <a:cubicBezTo>
                    <a:pt x="155" y="554"/>
                    <a:pt x="155" y="554"/>
                    <a:pt x="155" y="554"/>
                  </a:cubicBezTo>
                  <a:cubicBezTo>
                    <a:pt x="167" y="548"/>
                    <a:pt x="167" y="548"/>
                    <a:pt x="167" y="548"/>
                  </a:cubicBezTo>
                  <a:cubicBezTo>
                    <a:pt x="168" y="551"/>
                    <a:pt x="168" y="551"/>
                    <a:pt x="168" y="551"/>
                  </a:cubicBezTo>
                  <a:cubicBezTo>
                    <a:pt x="162" y="556"/>
                    <a:pt x="162" y="556"/>
                    <a:pt x="162" y="556"/>
                  </a:cubicBezTo>
                  <a:cubicBezTo>
                    <a:pt x="165" y="558"/>
                    <a:pt x="165" y="558"/>
                    <a:pt x="165" y="558"/>
                  </a:cubicBezTo>
                  <a:cubicBezTo>
                    <a:pt x="162" y="560"/>
                    <a:pt x="162" y="560"/>
                    <a:pt x="162" y="560"/>
                  </a:cubicBezTo>
                  <a:cubicBezTo>
                    <a:pt x="165" y="562"/>
                    <a:pt x="165" y="562"/>
                    <a:pt x="165" y="562"/>
                  </a:cubicBezTo>
                  <a:cubicBezTo>
                    <a:pt x="177" y="550"/>
                    <a:pt x="177" y="550"/>
                    <a:pt x="177" y="550"/>
                  </a:cubicBezTo>
                  <a:cubicBezTo>
                    <a:pt x="175" y="543"/>
                    <a:pt x="175" y="543"/>
                    <a:pt x="175" y="543"/>
                  </a:cubicBezTo>
                  <a:cubicBezTo>
                    <a:pt x="175" y="543"/>
                    <a:pt x="179" y="540"/>
                    <a:pt x="185" y="539"/>
                  </a:cubicBezTo>
                  <a:cubicBezTo>
                    <a:pt x="192" y="538"/>
                    <a:pt x="195" y="545"/>
                    <a:pt x="195" y="545"/>
                  </a:cubicBezTo>
                  <a:cubicBezTo>
                    <a:pt x="206" y="551"/>
                    <a:pt x="206" y="551"/>
                    <a:pt x="206" y="551"/>
                  </a:cubicBezTo>
                  <a:cubicBezTo>
                    <a:pt x="210" y="549"/>
                    <a:pt x="210" y="549"/>
                    <a:pt x="210" y="549"/>
                  </a:cubicBezTo>
                  <a:cubicBezTo>
                    <a:pt x="208" y="545"/>
                    <a:pt x="208" y="545"/>
                    <a:pt x="208" y="545"/>
                  </a:cubicBezTo>
                  <a:cubicBezTo>
                    <a:pt x="212" y="541"/>
                    <a:pt x="212" y="541"/>
                    <a:pt x="212" y="541"/>
                  </a:cubicBezTo>
                  <a:cubicBezTo>
                    <a:pt x="221" y="545"/>
                    <a:pt x="221" y="545"/>
                    <a:pt x="221" y="545"/>
                  </a:cubicBezTo>
                  <a:cubicBezTo>
                    <a:pt x="221" y="545"/>
                    <a:pt x="219" y="546"/>
                    <a:pt x="218" y="548"/>
                  </a:cubicBezTo>
                  <a:cubicBezTo>
                    <a:pt x="216" y="548"/>
                    <a:pt x="217" y="552"/>
                    <a:pt x="217" y="552"/>
                  </a:cubicBezTo>
                  <a:cubicBezTo>
                    <a:pt x="221" y="551"/>
                    <a:pt x="221" y="551"/>
                    <a:pt x="221" y="551"/>
                  </a:cubicBezTo>
                  <a:cubicBezTo>
                    <a:pt x="225" y="557"/>
                    <a:pt x="225" y="557"/>
                    <a:pt x="225" y="557"/>
                  </a:cubicBezTo>
                  <a:cubicBezTo>
                    <a:pt x="223" y="548"/>
                    <a:pt x="223" y="548"/>
                    <a:pt x="223" y="548"/>
                  </a:cubicBezTo>
                  <a:cubicBezTo>
                    <a:pt x="227" y="546"/>
                    <a:pt x="232" y="543"/>
                    <a:pt x="233" y="545"/>
                  </a:cubicBezTo>
                  <a:cubicBezTo>
                    <a:pt x="236" y="548"/>
                    <a:pt x="233" y="552"/>
                    <a:pt x="233" y="552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1" y="566"/>
                    <a:pt x="241" y="566"/>
                    <a:pt x="241" y="566"/>
                  </a:cubicBezTo>
                  <a:cubicBezTo>
                    <a:pt x="241" y="566"/>
                    <a:pt x="255" y="570"/>
                    <a:pt x="267" y="572"/>
                  </a:cubicBezTo>
                  <a:cubicBezTo>
                    <a:pt x="278" y="573"/>
                    <a:pt x="284" y="564"/>
                    <a:pt x="295" y="556"/>
                  </a:cubicBezTo>
                  <a:cubicBezTo>
                    <a:pt x="305" y="550"/>
                    <a:pt x="312" y="558"/>
                    <a:pt x="312" y="558"/>
                  </a:cubicBezTo>
                  <a:cubicBezTo>
                    <a:pt x="315" y="546"/>
                    <a:pt x="315" y="546"/>
                    <a:pt x="315" y="546"/>
                  </a:cubicBezTo>
                  <a:cubicBezTo>
                    <a:pt x="309" y="546"/>
                    <a:pt x="309" y="546"/>
                    <a:pt x="309" y="546"/>
                  </a:cubicBezTo>
                  <a:cubicBezTo>
                    <a:pt x="309" y="546"/>
                    <a:pt x="312" y="527"/>
                    <a:pt x="310" y="517"/>
                  </a:cubicBezTo>
                  <a:cubicBezTo>
                    <a:pt x="309" y="507"/>
                    <a:pt x="318" y="510"/>
                    <a:pt x="332" y="508"/>
                  </a:cubicBezTo>
                  <a:cubicBezTo>
                    <a:pt x="346" y="506"/>
                    <a:pt x="353" y="506"/>
                    <a:pt x="353" y="506"/>
                  </a:cubicBezTo>
                  <a:cubicBezTo>
                    <a:pt x="353" y="506"/>
                    <a:pt x="379" y="510"/>
                    <a:pt x="391" y="513"/>
                  </a:cubicBezTo>
                  <a:cubicBezTo>
                    <a:pt x="402" y="515"/>
                    <a:pt x="407" y="526"/>
                    <a:pt x="417" y="534"/>
                  </a:cubicBezTo>
                  <a:cubicBezTo>
                    <a:pt x="429" y="540"/>
                    <a:pt x="454" y="525"/>
                    <a:pt x="454" y="525"/>
                  </a:cubicBezTo>
                  <a:cubicBezTo>
                    <a:pt x="454" y="525"/>
                    <a:pt x="484" y="507"/>
                    <a:pt x="494" y="497"/>
                  </a:cubicBezTo>
                  <a:cubicBezTo>
                    <a:pt x="505" y="489"/>
                    <a:pt x="514" y="458"/>
                    <a:pt x="523" y="449"/>
                  </a:cubicBezTo>
                  <a:cubicBezTo>
                    <a:pt x="530" y="442"/>
                    <a:pt x="553" y="456"/>
                    <a:pt x="563" y="456"/>
                  </a:cubicBezTo>
                  <a:cubicBezTo>
                    <a:pt x="575" y="455"/>
                    <a:pt x="578" y="441"/>
                    <a:pt x="578" y="441"/>
                  </a:cubicBezTo>
                  <a:cubicBezTo>
                    <a:pt x="573" y="439"/>
                    <a:pt x="573" y="439"/>
                    <a:pt x="573" y="439"/>
                  </a:cubicBezTo>
                  <a:cubicBezTo>
                    <a:pt x="581" y="436"/>
                    <a:pt x="581" y="436"/>
                    <a:pt x="581" y="436"/>
                  </a:cubicBezTo>
                  <a:cubicBezTo>
                    <a:pt x="581" y="436"/>
                    <a:pt x="578" y="423"/>
                    <a:pt x="592" y="423"/>
                  </a:cubicBezTo>
                  <a:cubicBezTo>
                    <a:pt x="606" y="423"/>
                    <a:pt x="606" y="438"/>
                    <a:pt x="606" y="438"/>
                  </a:cubicBezTo>
                  <a:cubicBezTo>
                    <a:pt x="606" y="438"/>
                    <a:pt x="594" y="446"/>
                    <a:pt x="590" y="458"/>
                  </a:cubicBezTo>
                  <a:cubicBezTo>
                    <a:pt x="587" y="469"/>
                    <a:pt x="606" y="474"/>
                    <a:pt x="607" y="477"/>
                  </a:cubicBezTo>
                  <a:cubicBezTo>
                    <a:pt x="608" y="479"/>
                    <a:pt x="606" y="486"/>
                    <a:pt x="606" y="486"/>
                  </a:cubicBezTo>
                  <a:cubicBezTo>
                    <a:pt x="623" y="489"/>
                    <a:pt x="623" y="489"/>
                    <a:pt x="623" y="489"/>
                  </a:cubicBezTo>
                  <a:cubicBezTo>
                    <a:pt x="631" y="472"/>
                    <a:pt x="631" y="472"/>
                    <a:pt x="631" y="472"/>
                  </a:cubicBezTo>
                  <a:cubicBezTo>
                    <a:pt x="624" y="459"/>
                    <a:pt x="624" y="459"/>
                    <a:pt x="624" y="459"/>
                  </a:cubicBezTo>
                  <a:cubicBezTo>
                    <a:pt x="638" y="451"/>
                    <a:pt x="638" y="451"/>
                    <a:pt x="638" y="451"/>
                  </a:cubicBezTo>
                  <a:cubicBezTo>
                    <a:pt x="625" y="439"/>
                    <a:pt x="625" y="439"/>
                    <a:pt x="625" y="439"/>
                  </a:cubicBezTo>
                  <a:cubicBezTo>
                    <a:pt x="625" y="439"/>
                    <a:pt x="625" y="423"/>
                    <a:pt x="626" y="416"/>
                  </a:cubicBezTo>
                  <a:cubicBezTo>
                    <a:pt x="626" y="410"/>
                    <a:pt x="645" y="413"/>
                    <a:pt x="645" y="413"/>
                  </a:cubicBezTo>
                  <a:cubicBezTo>
                    <a:pt x="648" y="419"/>
                    <a:pt x="648" y="419"/>
                    <a:pt x="648" y="419"/>
                  </a:cubicBezTo>
                  <a:cubicBezTo>
                    <a:pt x="675" y="407"/>
                    <a:pt x="675" y="407"/>
                    <a:pt x="675" y="407"/>
                  </a:cubicBezTo>
                  <a:cubicBezTo>
                    <a:pt x="674" y="400"/>
                    <a:pt x="674" y="400"/>
                    <a:pt x="674" y="400"/>
                  </a:cubicBezTo>
                  <a:cubicBezTo>
                    <a:pt x="684" y="398"/>
                    <a:pt x="684" y="398"/>
                    <a:pt x="684" y="398"/>
                  </a:cubicBezTo>
                  <a:cubicBezTo>
                    <a:pt x="684" y="398"/>
                    <a:pt x="698" y="380"/>
                    <a:pt x="707" y="377"/>
                  </a:cubicBezTo>
                  <a:cubicBezTo>
                    <a:pt x="714" y="372"/>
                    <a:pt x="732" y="382"/>
                    <a:pt x="732" y="382"/>
                  </a:cubicBezTo>
                  <a:cubicBezTo>
                    <a:pt x="751" y="373"/>
                    <a:pt x="751" y="373"/>
                    <a:pt x="751" y="373"/>
                  </a:cubicBezTo>
                  <a:cubicBezTo>
                    <a:pt x="751" y="373"/>
                    <a:pt x="766" y="371"/>
                    <a:pt x="781" y="360"/>
                  </a:cubicBezTo>
                  <a:cubicBezTo>
                    <a:pt x="796" y="348"/>
                    <a:pt x="825" y="313"/>
                    <a:pt x="825" y="313"/>
                  </a:cubicBezTo>
                  <a:cubicBezTo>
                    <a:pt x="825" y="313"/>
                    <a:pt x="845" y="305"/>
                    <a:pt x="865" y="297"/>
                  </a:cubicBezTo>
                  <a:cubicBezTo>
                    <a:pt x="885" y="288"/>
                    <a:pt x="889" y="271"/>
                    <a:pt x="889" y="271"/>
                  </a:cubicBezTo>
                  <a:cubicBezTo>
                    <a:pt x="900" y="272"/>
                    <a:pt x="900" y="272"/>
                    <a:pt x="900" y="272"/>
                  </a:cubicBezTo>
                  <a:cubicBezTo>
                    <a:pt x="904" y="276"/>
                    <a:pt x="904" y="276"/>
                    <a:pt x="904" y="276"/>
                  </a:cubicBezTo>
                  <a:cubicBezTo>
                    <a:pt x="916" y="270"/>
                    <a:pt x="916" y="270"/>
                    <a:pt x="916" y="270"/>
                  </a:cubicBezTo>
                  <a:cubicBezTo>
                    <a:pt x="910" y="253"/>
                    <a:pt x="910" y="253"/>
                    <a:pt x="910" y="253"/>
                  </a:cubicBezTo>
                  <a:cubicBezTo>
                    <a:pt x="930" y="253"/>
                    <a:pt x="930" y="253"/>
                    <a:pt x="930" y="253"/>
                  </a:cubicBezTo>
                  <a:cubicBezTo>
                    <a:pt x="933" y="246"/>
                    <a:pt x="933" y="246"/>
                    <a:pt x="933" y="246"/>
                  </a:cubicBezTo>
                  <a:cubicBezTo>
                    <a:pt x="946" y="246"/>
                    <a:pt x="946" y="246"/>
                    <a:pt x="946" y="246"/>
                  </a:cubicBezTo>
                  <a:cubicBezTo>
                    <a:pt x="946" y="242"/>
                    <a:pt x="946" y="242"/>
                    <a:pt x="946" y="242"/>
                  </a:cubicBezTo>
                  <a:cubicBezTo>
                    <a:pt x="975" y="238"/>
                    <a:pt x="975" y="238"/>
                    <a:pt x="975" y="238"/>
                  </a:cubicBezTo>
                  <a:cubicBezTo>
                    <a:pt x="975" y="238"/>
                    <a:pt x="976" y="225"/>
                    <a:pt x="988" y="225"/>
                  </a:cubicBezTo>
                  <a:cubicBezTo>
                    <a:pt x="1000" y="225"/>
                    <a:pt x="995" y="240"/>
                    <a:pt x="995" y="240"/>
                  </a:cubicBezTo>
                  <a:cubicBezTo>
                    <a:pt x="1002" y="242"/>
                    <a:pt x="1002" y="242"/>
                    <a:pt x="1002" y="242"/>
                  </a:cubicBezTo>
                  <a:cubicBezTo>
                    <a:pt x="1002" y="242"/>
                    <a:pt x="1008" y="227"/>
                    <a:pt x="1011" y="223"/>
                  </a:cubicBezTo>
                  <a:cubicBezTo>
                    <a:pt x="1013" y="220"/>
                    <a:pt x="1020" y="222"/>
                    <a:pt x="1020" y="222"/>
                  </a:cubicBezTo>
                  <a:cubicBezTo>
                    <a:pt x="1020" y="222"/>
                    <a:pt x="1022" y="213"/>
                    <a:pt x="1019" y="210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9" name="Polen" descr="© INSCALE GmbH, 05.05.2010&#10;http://www.presentationload.com/">
              <a:extLst>
                <a:ext uri="{FF2B5EF4-FFF2-40B4-BE49-F238E27FC236}">
                  <a16:creationId xmlns:a16="http://schemas.microsoft.com/office/drawing/2014/main" id="{BEDD3213-40FA-4366-82E8-62B6F5EAA2FF}"/>
                </a:ext>
              </a:extLst>
            </p:cNvPr>
            <p:cNvSpPr>
              <a:spLocks/>
            </p:cNvSpPr>
            <p:nvPr/>
          </p:nvSpPr>
          <p:spPr bwMode="gray">
            <a:xfrm>
              <a:off x="7620246" y="2722147"/>
              <a:ext cx="1732149" cy="1031196"/>
            </a:xfrm>
            <a:custGeom>
              <a:avLst/>
              <a:gdLst/>
              <a:ahLst/>
              <a:cxnLst>
                <a:cxn ang="0">
                  <a:pos x="430" y="225"/>
                </a:cxn>
                <a:cxn ang="0">
                  <a:pos x="402" y="196"/>
                </a:cxn>
                <a:cxn ang="0">
                  <a:pos x="398" y="168"/>
                </a:cxn>
                <a:cxn ang="0">
                  <a:pos x="390" y="146"/>
                </a:cxn>
                <a:cxn ang="0">
                  <a:pos x="398" y="112"/>
                </a:cxn>
                <a:cxn ang="0">
                  <a:pos x="393" y="84"/>
                </a:cxn>
                <a:cxn ang="0">
                  <a:pos x="376" y="44"/>
                </a:cxn>
                <a:cxn ang="0">
                  <a:pos x="364" y="17"/>
                </a:cxn>
                <a:cxn ang="0">
                  <a:pos x="337" y="9"/>
                </a:cxn>
                <a:cxn ang="0">
                  <a:pos x="224" y="18"/>
                </a:cxn>
                <a:cxn ang="0">
                  <a:pos x="216" y="26"/>
                </a:cxn>
                <a:cxn ang="0">
                  <a:pos x="204" y="33"/>
                </a:cxn>
                <a:cxn ang="0">
                  <a:pos x="212" y="23"/>
                </a:cxn>
                <a:cxn ang="0">
                  <a:pos x="211" y="22"/>
                </a:cxn>
                <a:cxn ang="0">
                  <a:pos x="173" y="8"/>
                </a:cxn>
                <a:cxn ang="0">
                  <a:pos x="175" y="5"/>
                </a:cxn>
                <a:cxn ang="0">
                  <a:pos x="123" y="9"/>
                </a:cxn>
                <a:cxn ang="0">
                  <a:pos x="88" y="30"/>
                </a:cxn>
                <a:cxn ang="0">
                  <a:pos x="38" y="46"/>
                </a:cxn>
                <a:cxn ang="0">
                  <a:pos x="6" y="60"/>
                </a:cxn>
                <a:cxn ang="0">
                  <a:pos x="16" y="63"/>
                </a:cxn>
                <a:cxn ang="0">
                  <a:pos x="24" y="58"/>
                </a:cxn>
                <a:cxn ang="0">
                  <a:pos x="19" y="80"/>
                </a:cxn>
                <a:cxn ang="0">
                  <a:pos x="22" y="88"/>
                </a:cxn>
                <a:cxn ang="0">
                  <a:pos x="6" y="83"/>
                </a:cxn>
                <a:cxn ang="0">
                  <a:pos x="2" y="124"/>
                </a:cxn>
                <a:cxn ang="0">
                  <a:pos x="19" y="163"/>
                </a:cxn>
                <a:cxn ang="0">
                  <a:pos x="24" y="195"/>
                </a:cxn>
                <a:cxn ang="0">
                  <a:pos x="39" y="226"/>
                </a:cxn>
                <a:cxn ang="0">
                  <a:pos x="36" y="261"/>
                </a:cxn>
                <a:cxn ang="0">
                  <a:pos x="44" y="258"/>
                </a:cxn>
                <a:cxn ang="0">
                  <a:pos x="58" y="264"/>
                </a:cxn>
                <a:cxn ang="0">
                  <a:pos x="88" y="275"/>
                </a:cxn>
                <a:cxn ang="0">
                  <a:pos x="109" y="280"/>
                </a:cxn>
                <a:cxn ang="0">
                  <a:pos x="114" y="308"/>
                </a:cxn>
                <a:cxn ang="0">
                  <a:pos x="134" y="302"/>
                </a:cxn>
                <a:cxn ang="0">
                  <a:pos x="127" y="287"/>
                </a:cxn>
                <a:cxn ang="0">
                  <a:pos x="162" y="293"/>
                </a:cxn>
                <a:cxn ang="0">
                  <a:pos x="166" y="308"/>
                </a:cxn>
                <a:cxn ang="0">
                  <a:pos x="176" y="309"/>
                </a:cxn>
                <a:cxn ang="0">
                  <a:pos x="205" y="329"/>
                </a:cxn>
                <a:cxn ang="0">
                  <a:pos x="221" y="340"/>
                </a:cxn>
                <a:cxn ang="0">
                  <a:pos x="234" y="339"/>
                </a:cxn>
                <a:cxn ang="0">
                  <a:pos x="248" y="341"/>
                </a:cxn>
                <a:cxn ang="0">
                  <a:pos x="257" y="342"/>
                </a:cxn>
                <a:cxn ang="0">
                  <a:pos x="265" y="353"/>
                </a:cxn>
                <a:cxn ang="0">
                  <a:pos x="288" y="339"/>
                </a:cxn>
                <a:cxn ang="0">
                  <a:pos x="314" y="337"/>
                </a:cxn>
                <a:cxn ang="0">
                  <a:pos x="343" y="335"/>
                </a:cxn>
                <a:cxn ang="0">
                  <a:pos x="381" y="348"/>
                </a:cxn>
                <a:cxn ang="0">
                  <a:pos x="386" y="341"/>
                </a:cxn>
                <a:cxn ang="0">
                  <a:pos x="392" y="301"/>
                </a:cxn>
                <a:cxn ang="0">
                  <a:pos x="428" y="254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0" name="Litauen" descr="© INSCALE GmbH, 05.05.2010&#10;http://www.presentationload.com/">
              <a:extLst>
                <a:ext uri="{FF2B5EF4-FFF2-40B4-BE49-F238E27FC236}">
                  <a16:creationId xmlns:a16="http://schemas.microsoft.com/office/drawing/2014/main" id="{503837CD-FB18-457A-8B04-9868EFA8D5DE}"/>
                </a:ext>
              </a:extLst>
            </p:cNvPr>
            <p:cNvSpPr>
              <a:spLocks/>
            </p:cNvSpPr>
            <p:nvPr/>
          </p:nvSpPr>
          <p:spPr bwMode="gray">
            <a:xfrm>
              <a:off x="8641472" y="2324375"/>
              <a:ext cx="891546" cy="488022"/>
            </a:xfrm>
            <a:custGeom>
              <a:avLst/>
              <a:gdLst/>
              <a:ahLst/>
              <a:cxnLst>
                <a:cxn ang="0">
                  <a:pos x="87" y="142"/>
                </a:cxn>
                <a:cxn ang="0">
                  <a:pos x="110" y="154"/>
                </a:cxn>
                <a:cxn ang="0">
                  <a:pos x="114" y="168"/>
                </a:cxn>
                <a:cxn ang="0">
                  <a:pos x="127" y="163"/>
                </a:cxn>
                <a:cxn ang="0">
                  <a:pos x="141" y="163"/>
                </a:cxn>
                <a:cxn ang="0">
                  <a:pos x="155" y="158"/>
                </a:cxn>
                <a:cxn ang="0">
                  <a:pos x="161" y="146"/>
                </a:cxn>
                <a:cxn ang="0">
                  <a:pos x="175" y="136"/>
                </a:cxn>
                <a:cxn ang="0">
                  <a:pos x="189" y="142"/>
                </a:cxn>
                <a:cxn ang="0">
                  <a:pos x="188" y="129"/>
                </a:cxn>
                <a:cxn ang="0">
                  <a:pos x="188" y="96"/>
                </a:cxn>
                <a:cxn ang="0">
                  <a:pos x="203" y="74"/>
                </a:cxn>
                <a:cxn ang="0">
                  <a:pos x="218" y="65"/>
                </a:cxn>
                <a:cxn ang="0">
                  <a:pos x="207" y="58"/>
                </a:cxn>
                <a:cxn ang="0">
                  <a:pos x="210" y="42"/>
                </a:cxn>
                <a:cxn ang="0">
                  <a:pos x="197" y="33"/>
                </a:cxn>
                <a:cxn ang="0">
                  <a:pos x="191" y="29"/>
                </a:cxn>
                <a:cxn ang="0">
                  <a:pos x="169" y="15"/>
                </a:cxn>
                <a:cxn ang="0">
                  <a:pos x="148" y="14"/>
                </a:cxn>
                <a:cxn ang="0">
                  <a:pos x="137" y="0"/>
                </a:cxn>
                <a:cxn ang="0">
                  <a:pos x="127" y="12"/>
                </a:cxn>
                <a:cxn ang="0">
                  <a:pos x="120" y="12"/>
                </a:cxn>
                <a:cxn ang="0">
                  <a:pos x="107" y="10"/>
                </a:cxn>
                <a:cxn ang="0">
                  <a:pos x="90" y="15"/>
                </a:cxn>
                <a:cxn ang="0">
                  <a:pos x="77" y="13"/>
                </a:cxn>
                <a:cxn ang="0">
                  <a:pos x="71" y="18"/>
                </a:cxn>
                <a:cxn ang="0">
                  <a:pos x="66" y="13"/>
                </a:cxn>
                <a:cxn ang="0">
                  <a:pos x="54" y="15"/>
                </a:cxn>
                <a:cxn ang="0">
                  <a:pos x="31" y="21"/>
                </a:cxn>
                <a:cxn ang="0">
                  <a:pos x="23" y="24"/>
                </a:cxn>
                <a:cxn ang="0">
                  <a:pos x="7" y="40"/>
                </a:cxn>
                <a:cxn ang="0">
                  <a:pos x="4" y="40"/>
                </a:cxn>
                <a:cxn ang="0">
                  <a:pos x="5" y="62"/>
                </a:cxn>
                <a:cxn ang="0">
                  <a:pos x="6" y="72"/>
                </a:cxn>
                <a:cxn ang="0">
                  <a:pos x="5" y="94"/>
                </a:cxn>
                <a:cxn ang="0">
                  <a:pos x="9" y="86"/>
                </a:cxn>
                <a:cxn ang="0">
                  <a:pos x="9" y="71"/>
                </a:cxn>
                <a:cxn ang="0">
                  <a:pos x="14" y="87"/>
                </a:cxn>
                <a:cxn ang="0">
                  <a:pos x="16" y="92"/>
                </a:cxn>
                <a:cxn ang="0">
                  <a:pos x="24" y="100"/>
                </a:cxn>
                <a:cxn ang="0">
                  <a:pos x="37" y="102"/>
                </a:cxn>
                <a:cxn ang="0">
                  <a:pos x="48" y="107"/>
                </a:cxn>
                <a:cxn ang="0">
                  <a:pos x="69" y="103"/>
                </a:cxn>
                <a:cxn ang="0">
                  <a:pos x="77" y="120"/>
                </a:cxn>
                <a:cxn ang="0">
                  <a:pos x="81" y="146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1" name="Spanien" descr="© INSCALE GmbH, 05.05.2010&#10;http://www.presentationload.com/">
              <a:extLst>
                <a:ext uri="{FF2B5EF4-FFF2-40B4-BE49-F238E27FC236}">
                  <a16:creationId xmlns:a16="http://schemas.microsoft.com/office/drawing/2014/main" id="{C00D6F2D-F69C-455A-9AF1-157EE1127FF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201874" y="4538855"/>
              <a:ext cx="2535700" cy="1512533"/>
            </a:xfrm>
            <a:custGeom>
              <a:avLst/>
              <a:gdLst/>
              <a:ahLst/>
              <a:cxnLst>
                <a:cxn ang="0">
                  <a:pos x="482" y="410"/>
                </a:cxn>
                <a:cxn ang="0">
                  <a:pos x="472" y="381"/>
                </a:cxn>
                <a:cxn ang="0">
                  <a:pos x="474" y="395"/>
                </a:cxn>
                <a:cxn ang="0">
                  <a:pos x="484" y="379"/>
                </a:cxn>
                <a:cxn ang="0">
                  <a:pos x="576" y="333"/>
                </a:cxn>
                <a:cxn ang="0">
                  <a:pos x="530" y="360"/>
                </a:cxn>
                <a:cxn ang="0">
                  <a:pos x="560" y="372"/>
                </a:cxn>
                <a:cxn ang="0">
                  <a:pos x="584" y="358"/>
                </a:cxn>
                <a:cxn ang="0">
                  <a:pos x="575" y="348"/>
                </a:cxn>
                <a:cxn ang="0">
                  <a:pos x="506" y="163"/>
                </a:cxn>
                <a:cxn ang="0">
                  <a:pos x="494" y="147"/>
                </a:cxn>
                <a:cxn ang="0">
                  <a:pos x="456" y="138"/>
                </a:cxn>
                <a:cxn ang="0">
                  <a:pos x="417" y="128"/>
                </a:cxn>
                <a:cxn ang="0">
                  <a:pos x="406" y="115"/>
                </a:cxn>
                <a:cxn ang="0">
                  <a:pos x="369" y="104"/>
                </a:cxn>
                <a:cxn ang="0">
                  <a:pos x="364" y="86"/>
                </a:cxn>
                <a:cxn ang="0">
                  <a:pos x="297" y="75"/>
                </a:cxn>
                <a:cxn ang="0">
                  <a:pos x="262" y="62"/>
                </a:cxn>
                <a:cxn ang="0">
                  <a:pos x="178" y="37"/>
                </a:cxn>
                <a:cxn ang="0">
                  <a:pos x="115" y="21"/>
                </a:cxn>
                <a:cxn ang="0">
                  <a:pos x="89" y="10"/>
                </a:cxn>
                <a:cxn ang="0">
                  <a:pos x="69" y="1"/>
                </a:cxn>
                <a:cxn ang="0">
                  <a:pos x="62" y="17"/>
                </a:cxn>
                <a:cxn ang="0">
                  <a:pos x="16" y="19"/>
                </a:cxn>
                <a:cxn ang="0">
                  <a:pos x="5" y="37"/>
                </a:cxn>
                <a:cxn ang="0">
                  <a:pos x="3" y="58"/>
                </a:cxn>
                <a:cxn ang="0">
                  <a:pos x="14" y="69"/>
                </a:cxn>
                <a:cxn ang="0">
                  <a:pos x="7" y="78"/>
                </a:cxn>
                <a:cxn ang="0">
                  <a:pos x="11" y="87"/>
                </a:cxn>
                <a:cxn ang="0">
                  <a:pos x="16" y="98"/>
                </a:cxn>
                <a:cxn ang="0">
                  <a:pos x="41" y="107"/>
                </a:cxn>
                <a:cxn ang="0">
                  <a:pos x="63" y="126"/>
                </a:cxn>
                <a:cxn ang="0">
                  <a:pos x="100" y="128"/>
                </a:cxn>
                <a:cxn ang="0">
                  <a:pos x="112" y="150"/>
                </a:cxn>
                <a:cxn ang="0">
                  <a:pos x="90" y="185"/>
                </a:cxn>
                <a:cxn ang="0">
                  <a:pos x="74" y="235"/>
                </a:cxn>
                <a:cxn ang="0">
                  <a:pos x="59" y="270"/>
                </a:cxn>
                <a:cxn ang="0">
                  <a:pos x="46" y="306"/>
                </a:cxn>
                <a:cxn ang="0">
                  <a:pos x="34" y="364"/>
                </a:cxn>
                <a:cxn ang="0">
                  <a:pos x="21" y="384"/>
                </a:cxn>
                <a:cxn ang="0">
                  <a:pos x="23" y="428"/>
                </a:cxn>
                <a:cxn ang="0">
                  <a:pos x="32" y="433"/>
                </a:cxn>
                <a:cxn ang="0">
                  <a:pos x="50" y="466"/>
                </a:cxn>
                <a:cxn ang="0">
                  <a:pos x="60" y="483"/>
                </a:cxn>
                <a:cxn ang="0">
                  <a:pos x="72" y="507"/>
                </a:cxn>
                <a:cxn ang="0">
                  <a:pos x="95" y="520"/>
                </a:cxn>
                <a:cxn ang="0">
                  <a:pos x="141" y="498"/>
                </a:cxn>
                <a:cxn ang="0">
                  <a:pos x="217" y="498"/>
                </a:cxn>
                <a:cxn ang="0">
                  <a:pos x="284" y="500"/>
                </a:cxn>
                <a:cxn ang="0">
                  <a:pos x="324" y="462"/>
                </a:cxn>
                <a:cxn ang="0">
                  <a:pos x="359" y="455"/>
                </a:cxn>
                <a:cxn ang="0">
                  <a:pos x="367" y="428"/>
                </a:cxn>
                <a:cxn ang="0">
                  <a:pos x="404" y="403"/>
                </a:cxn>
                <a:cxn ang="0">
                  <a:pos x="415" y="317"/>
                </a:cxn>
                <a:cxn ang="0">
                  <a:pos x="453" y="277"/>
                </a:cxn>
                <a:cxn ang="0">
                  <a:pos x="457" y="277"/>
                </a:cxn>
                <a:cxn ang="0">
                  <a:pos x="484" y="248"/>
                </a:cxn>
                <a:cxn ang="0">
                  <a:pos x="589" y="199"/>
                </a:cxn>
                <a:cxn ang="0">
                  <a:pos x="590" y="174"/>
                </a:cxn>
                <a:cxn ang="0">
                  <a:pos x="551" y="171"/>
                </a:cxn>
                <a:cxn ang="0">
                  <a:pos x="519" y="161"/>
                </a:cxn>
                <a:cxn ang="0">
                  <a:pos x="617" y="340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2" name="Italien" descr="© INSCALE GmbH, 05.05.2010&#10;http://www.presentationload.com/">
              <a:extLst>
                <a:ext uri="{FF2B5EF4-FFF2-40B4-BE49-F238E27FC236}">
                  <a16:creationId xmlns:a16="http://schemas.microsoft.com/office/drawing/2014/main" id="{9707320C-1254-45F3-8F18-A5CA4411387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93347" y="4206266"/>
              <a:ext cx="2366650" cy="1963783"/>
            </a:xfrm>
            <a:custGeom>
              <a:avLst/>
              <a:gdLst/>
              <a:ahLst/>
              <a:cxnLst>
                <a:cxn ang="0">
                  <a:pos x="173" y="282"/>
                </a:cxn>
                <a:cxn ang="0">
                  <a:pos x="150" y="269"/>
                </a:cxn>
                <a:cxn ang="0">
                  <a:pos x="126" y="392"/>
                </a:cxn>
                <a:cxn ang="0">
                  <a:pos x="63" y="407"/>
                </a:cxn>
                <a:cxn ang="0">
                  <a:pos x="70" y="460"/>
                </a:cxn>
                <a:cxn ang="0">
                  <a:pos x="73" y="519"/>
                </a:cxn>
                <a:cxn ang="0">
                  <a:pos x="104" y="525"/>
                </a:cxn>
                <a:cxn ang="0">
                  <a:pos x="140" y="458"/>
                </a:cxn>
                <a:cxn ang="0">
                  <a:pos x="70" y="394"/>
                </a:cxn>
                <a:cxn ang="0">
                  <a:pos x="271" y="599"/>
                </a:cxn>
                <a:cxn ang="0">
                  <a:pos x="263" y="595"/>
                </a:cxn>
                <a:cxn ang="0">
                  <a:pos x="549" y="402"/>
                </a:cxn>
                <a:cxn ang="0">
                  <a:pos x="489" y="378"/>
                </a:cxn>
                <a:cxn ang="0">
                  <a:pos x="432" y="333"/>
                </a:cxn>
                <a:cxn ang="0">
                  <a:pos x="363" y="300"/>
                </a:cxn>
                <a:cxn ang="0">
                  <a:pos x="327" y="230"/>
                </a:cxn>
                <a:cxn ang="0">
                  <a:pos x="278" y="141"/>
                </a:cxn>
                <a:cxn ang="0">
                  <a:pos x="286" y="106"/>
                </a:cxn>
                <a:cxn ang="0">
                  <a:pos x="329" y="91"/>
                </a:cxn>
                <a:cxn ang="0">
                  <a:pos x="319" y="59"/>
                </a:cxn>
                <a:cxn ang="0">
                  <a:pos x="290" y="34"/>
                </a:cxn>
                <a:cxn ang="0">
                  <a:pos x="262" y="2"/>
                </a:cxn>
                <a:cxn ang="0">
                  <a:pos x="206" y="26"/>
                </a:cxn>
                <a:cxn ang="0">
                  <a:pos x="172" y="38"/>
                </a:cxn>
                <a:cxn ang="0">
                  <a:pos x="163" y="60"/>
                </a:cxn>
                <a:cxn ang="0">
                  <a:pos x="128" y="41"/>
                </a:cxn>
                <a:cxn ang="0">
                  <a:pos x="115" y="79"/>
                </a:cxn>
                <a:cxn ang="0">
                  <a:pos x="93" y="60"/>
                </a:cxn>
                <a:cxn ang="0">
                  <a:pos x="72" y="54"/>
                </a:cxn>
                <a:cxn ang="0">
                  <a:pos x="33" y="75"/>
                </a:cxn>
                <a:cxn ang="0">
                  <a:pos x="10" y="126"/>
                </a:cxn>
                <a:cxn ang="0">
                  <a:pos x="14" y="178"/>
                </a:cxn>
                <a:cxn ang="0">
                  <a:pos x="76" y="195"/>
                </a:cxn>
                <a:cxn ang="0">
                  <a:pos x="168" y="211"/>
                </a:cxn>
                <a:cxn ang="0">
                  <a:pos x="201" y="286"/>
                </a:cxn>
                <a:cxn ang="0">
                  <a:pos x="246" y="333"/>
                </a:cxn>
                <a:cxn ang="0">
                  <a:pos x="303" y="375"/>
                </a:cxn>
                <a:cxn ang="0">
                  <a:pos x="359" y="410"/>
                </a:cxn>
                <a:cxn ang="0">
                  <a:pos x="375" y="423"/>
                </a:cxn>
                <a:cxn ang="0">
                  <a:pos x="404" y="437"/>
                </a:cxn>
                <a:cxn ang="0">
                  <a:pos x="449" y="464"/>
                </a:cxn>
                <a:cxn ang="0">
                  <a:pos x="457" y="544"/>
                </a:cxn>
                <a:cxn ang="0">
                  <a:pos x="475" y="588"/>
                </a:cxn>
                <a:cxn ang="0">
                  <a:pos x="522" y="501"/>
                </a:cxn>
                <a:cxn ang="0">
                  <a:pos x="492" y="456"/>
                </a:cxn>
                <a:cxn ang="0">
                  <a:pos x="523" y="425"/>
                </a:cxn>
                <a:cxn ang="0">
                  <a:pos x="589" y="436"/>
                </a:cxn>
                <a:cxn ang="0">
                  <a:pos x="280" y="207"/>
                </a:cxn>
                <a:cxn ang="0">
                  <a:pos x="421" y="580"/>
                </a:cxn>
                <a:cxn ang="0">
                  <a:pos x="384" y="589"/>
                </a:cxn>
                <a:cxn ang="0">
                  <a:pos x="327" y="579"/>
                </a:cxn>
                <a:cxn ang="0">
                  <a:pos x="294" y="583"/>
                </a:cxn>
                <a:cxn ang="0">
                  <a:pos x="295" y="622"/>
                </a:cxn>
                <a:cxn ang="0">
                  <a:pos x="384" y="656"/>
                </a:cxn>
                <a:cxn ang="0">
                  <a:pos x="427" y="662"/>
                </a:cxn>
                <a:cxn ang="0">
                  <a:pos x="427" y="634"/>
                </a:cxn>
                <a:cxn ang="0">
                  <a:pos x="446" y="568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3" name="San Marino" descr="© INSCALE GmbH, 05.05.2010&#10;http://www.presentationload.com/">
              <a:extLst>
                <a:ext uri="{FF2B5EF4-FFF2-40B4-BE49-F238E27FC236}">
                  <a16:creationId xmlns:a16="http://schemas.microsoft.com/office/drawing/2014/main" id="{2C6C7822-2BBF-433B-B207-A9113C761B91}"/>
                </a:ext>
              </a:extLst>
            </p:cNvPr>
            <p:cNvSpPr>
              <a:spLocks/>
            </p:cNvSpPr>
            <p:nvPr/>
          </p:nvSpPr>
          <p:spPr bwMode="gray">
            <a:xfrm>
              <a:off x="7381729" y="4799579"/>
              <a:ext cx="41684" cy="31756"/>
            </a:xfrm>
            <a:custGeom>
              <a:avLst/>
              <a:gdLst/>
              <a:ahLst/>
              <a:cxnLst>
                <a:cxn ang="0">
                  <a:pos x="2" y="10"/>
                </a:cxn>
                <a:cxn ang="0">
                  <a:pos x="7" y="8"/>
                </a:cxn>
                <a:cxn ang="0">
                  <a:pos x="9" y="2"/>
                </a:cxn>
                <a:cxn ang="0">
                  <a:pos x="7" y="1"/>
                </a:cxn>
                <a:cxn ang="0">
                  <a:pos x="4" y="4"/>
                </a:cxn>
                <a:cxn ang="0">
                  <a:pos x="0" y="5"/>
                </a:cxn>
                <a:cxn ang="0">
                  <a:pos x="0" y="9"/>
                </a:cxn>
                <a:cxn ang="0">
                  <a:pos x="2" y="10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4" name="Andorra" descr="© INSCALE GmbH, 05.05.2010&#10;http://www.presentationload.com/">
              <a:extLst>
                <a:ext uri="{FF2B5EF4-FFF2-40B4-BE49-F238E27FC236}">
                  <a16:creationId xmlns:a16="http://schemas.microsoft.com/office/drawing/2014/main" id="{6485A406-05AE-44A7-A3C3-965395C0CB32}"/>
                </a:ext>
              </a:extLst>
            </p:cNvPr>
            <p:cNvSpPr>
              <a:spLocks/>
            </p:cNvSpPr>
            <p:nvPr/>
          </p:nvSpPr>
          <p:spPr bwMode="gray">
            <a:xfrm>
              <a:off x="5223488" y="4973395"/>
              <a:ext cx="81048" cy="50139"/>
            </a:xfrm>
            <a:custGeom>
              <a:avLst/>
              <a:gdLst/>
              <a:ahLst/>
              <a:cxnLst>
                <a:cxn ang="0">
                  <a:pos x="15" y="2"/>
                </a:cxn>
                <a:cxn ang="0">
                  <a:pos x="13" y="3"/>
                </a:cxn>
                <a:cxn ang="0">
                  <a:pos x="9" y="0"/>
                </a:cxn>
                <a:cxn ang="0">
                  <a:pos x="5" y="2"/>
                </a:cxn>
                <a:cxn ang="0">
                  <a:pos x="3" y="6"/>
                </a:cxn>
                <a:cxn ang="0">
                  <a:pos x="0" y="10"/>
                </a:cxn>
                <a:cxn ang="0">
                  <a:pos x="3" y="13"/>
                </a:cxn>
                <a:cxn ang="0">
                  <a:pos x="6" y="17"/>
                </a:cxn>
                <a:cxn ang="0">
                  <a:pos x="10" y="14"/>
                </a:cxn>
                <a:cxn ang="0">
                  <a:pos x="12" y="15"/>
                </a:cxn>
                <a:cxn ang="0">
                  <a:pos x="17" y="11"/>
                </a:cxn>
                <a:cxn ang="0">
                  <a:pos x="20" y="5"/>
                </a:cxn>
                <a:cxn ang="0">
                  <a:pos x="15" y="2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5" name="Russland" descr="© INSCALE GmbH, 05.05.2010&#10;http://www.presentationload.com/">
              <a:extLst>
                <a:ext uri="{FF2B5EF4-FFF2-40B4-BE49-F238E27FC236}">
                  <a16:creationId xmlns:a16="http://schemas.microsoft.com/office/drawing/2014/main" id="{6A979BEE-3DDB-40CD-9952-4A79E0B977B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35482" y="783432"/>
              <a:ext cx="3755524" cy="3347624"/>
            </a:xfrm>
            <a:custGeom>
              <a:avLst/>
              <a:gdLst/>
              <a:ahLst/>
              <a:cxnLst>
                <a:cxn ang="0">
                  <a:pos x="1488" y="171"/>
                </a:cxn>
                <a:cxn ang="0">
                  <a:pos x="1498" y="124"/>
                </a:cxn>
                <a:cxn ang="0">
                  <a:pos x="1455" y="94"/>
                </a:cxn>
                <a:cxn ang="0">
                  <a:pos x="1505" y="40"/>
                </a:cxn>
                <a:cxn ang="0">
                  <a:pos x="236" y="29"/>
                </a:cxn>
                <a:cxn ang="0">
                  <a:pos x="258" y="176"/>
                </a:cxn>
                <a:cxn ang="0">
                  <a:pos x="231" y="243"/>
                </a:cxn>
                <a:cxn ang="0">
                  <a:pos x="269" y="266"/>
                </a:cxn>
                <a:cxn ang="0">
                  <a:pos x="245" y="302"/>
                </a:cxn>
                <a:cxn ang="0">
                  <a:pos x="232" y="359"/>
                </a:cxn>
                <a:cxn ang="0">
                  <a:pos x="242" y="440"/>
                </a:cxn>
                <a:cxn ang="0">
                  <a:pos x="272" y="483"/>
                </a:cxn>
                <a:cxn ang="0">
                  <a:pos x="291" y="527"/>
                </a:cxn>
                <a:cxn ang="0">
                  <a:pos x="402" y="538"/>
                </a:cxn>
                <a:cxn ang="0">
                  <a:pos x="466" y="641"/>
                </a:cxn>
                <a:cxn ang="0">
                  <a:pos x="461" y="682"/>
                </a:cxn>
                <a:cxn ang="0">
                  <a:pos x="526" y="719"/>
                </a:cxn>
                <a:cxn ang="0">
                  <a:pos x="592" y="744"/>
                </a:cxn>
                <a:cxn ang="0">
                  <a:pos x="648" y="767"/>
                </a:cxn>
                <a:cxn ang="0">
                  <a:pos x="721" y="786"/>
                </a:cxn>
                <a:cxn ang="0">
                  <a:pos x="782" y="778"/>
                </a:cxn>
                <a:cxn ang="0">
                  <a:pos x="845" y="778"/>
                </a:cxn>
                <a:cxn ang="0">
                  <a:pos x="885" y="828"/>
                </a:cxn>
                <a:cxn ang="0">
                  <a:pos x="861" y="913"/>
                </a:cxn>
                <a:cxn ang="0">
                  <a:pos x="893" y="940"/>
                </a:cxn>
                <a:cxn ang="0">
                  <a:pos x="843" y="992"/>
                </a:cxn>
                <a:cxn ang="0">
                  <a:pos x="862" y="1057"/>
                </a:cxn>
                <a:cxn ang="0">
                  <a:pos x="851" y="1097"/>
                </a:cxn>
                <a:cxn ang="0">
                  <a:pos x="926" y="1125"/>
                </a:cxn>
                <a:cxn ang="0">
                  <a:pos x="1024" y="1154"/>
                </a:cxn>
                <a:cxn ang="0">
                  <a:pos x="1143" y="1118"/>
                </a:cxn>
                <a:cxn ang="0">
                  <a:pos x="1259" y="1103"/>
                </a:cxn>
                <a:cxn ang="0">
                  <a:pos x="1367" y="1105"/>
                </a:cxn>
                <a:cxn ang="0">
                  <a:pos x="1445" y="1060"/>
                </a:cxn>
                <a:cxn ang="0">
                  <a:pos x="1341" y="977"/>
                </a:cxn>
                <a:cxn ang="0">
                  <a:pos x="1308" y="960"/>
                </a:cxn>
                <a:cxn ang="0">
                  <a:pos x="1286" y="870"/>
                </a:cxn>
                <a:cxn ang="0">
                  <a:pos x="1322" y="838"/>
                </a:cxn>
                <a:cxn ang="0">
                  <a:pos x="1331" y="813"/>
                </a:cxn>
                <a:cxn ang="0">
                  <a:pos x="1249" y="746"/>
                </a:cxn>
                <a:cxn ang="0">
                  <a:pos x="1146" y="693"/>
                </a:cxn>
                <a:cxn ang="0">
                  <a:pos x="1185" y="585"/>
                </a:cxn>
                <a:cxn ang="0">
                  <a:pos x="1183" y="508"/>
                </a:cxn>
                <a:cxn ang="0">
                  <a:pos x="1228" y="456"/>
                </a:cxn>
                <a:cxn ang="0">
                  <a:pos x="1306" y="408"/>
                </a:cxn>
                <a:cxn ang="0">
                  <a:pos x="1358" y="405"/>
                </a:cxn>
                <a:cxn ang="0">
                  <a:pos x="1430" y="352"/>
                </a:cxn>
                <a:cxn ang="0">
                  <a:pos x="1532" y="310"/>
                </a:cxn>
                <a:cxn ang="0">
                  <a:pos x="324" y="264"/>
                </a:cxn>
                <a:cxn ang="0">
                  <a:pos x="286" y="156"/>
                </a:cxn>
                <a:cxn ang="0">
                  <a:pos x="321" y="175"/>
                </a:cxn>
                <a:cxn ang="0">
                  <a:pos x="425" y="131"/>
                </a:cxn>
                <a:cxn ang="0">
                  <a:pos x="375" y="84"/>
                </a:cxn>
                <a:cxn ang="0">
                  <a:pos x="402" y="87"/>
                </a:cxn>
                <a:cxn ang="0">
                  <a:pos x="376" y="52"/>
                </a:cxn>
                <a:cxn ang="0">
                  <a:pos x="464" y="146"/>
                </a:cxn>
                <a:cxn ang="0">
                  <a:pos x="51" y="628"/>
                </a:cxn>
                <a:cxn ang="0">
                  <a:pos x="41" y="627"/>
                </a:cxn>
                <a:cxn ang="0">
                  <a:pos x="3" y="676"/>
                </a:cxn>
                <a:cxn ang="0">
                  <a:pos x="3" y="687"/>
                </a:cxn>
              </a:cxnLst>
              <a:rect l="0" t="0" r="r" b="b"/>
              <a:pathLst>
                <a:path w="1532" h="1155">
                  <a:moveTo>
                    <a:pt x="1522" y="230"/>
                  </a:moveTo>
                  <a:cubicBezTo>
                    <a:pt x="1522" y="230"/>
                    <a:pt x="1526" y="226"/>
                    <a:pt x="1522" y="222"/>
                  </a:cubicBezTo>
                  <a:cubicBezTo>
                    <a:pt x="1520" y="219"/>
                    <a:pt x="1504" y="229"/>
                    <a:pt x="1504" y="229"/>
                  </a:cubicBezTo>
                  <a:cubicBezTo>
                    <a:pt x="1501" y="224"/>
                    <a:pt x="1501" y="224"/>
                    <a:pt x="1501" y="224"/>
                  </a:cubicBezTo>
                  <a:cubicBezTo>
                    <a:pt x="1509" y="201"/>
                    <a:pt x="1509" y="201"/>
                    <a:pt x="1509" y="201"/>
                  </a:cubicBezTo>
                  <a:cubicBezTo>
                    <a:pt x="1515" y="199"/>
                    <a:pt x="1515" y="199"/>
                    <a:pt x="1515" y="199"/>
                  </a:cubicBezTo>
                  <a:cubicBezTo>
                    <a:pt x="1517" y="177"/>
                    <a:pt x="1517" y="177"/>
                    <a:pt x="1517" y="177"/>
                  </a:cubicBezTo>
                  <a:cubicBezTo>
                    <a:pt x="1507" y="174"/>
                    <a:pt x="1507" y="174"/>
                    <a:pt x="1507" y="174"/>
                  </a:cubicBezTo>
                  <a:cubicBezTo>
                    <a:pt x="1502" y="176"/>
                    <a:pt x="1502" y="176"/>
                    <a:pt x="1502" y="176"/>
                  </a:cubicBezTo>
                  <a:cubicBezTo>
                    <a:pt x="1488" y="171"/>
                    <a:pt x="1488" y="171"/>
                    <a:pt x="1488" y="171"/>
                  </a:cubicBezTo>
                  <a:cubicBezTo>
                    <a:pt x="1488" y="171"/>
                    <a:pt x="1491" y="154"/>
                    <a:pt x="1491" y="152"/>
                  </a:cubicBezTo>
                  <a:cubicBezTo>
                    <a:pt x="1491" y="151"/>
                    <a:pt x="1485" y="149"/>
                    <a:pt x="1485" y="149"/>
                  </a:cubicBezTo>
                  <a:cubicBezTo>
                    <a:pt x="1496" y="141"/>
                    <a:pt x="1496" y="141"/>
                    <a:pt x="1496" y="141"/>
                  </a:cubicBezTo>
                  <a:cubicBezTo>
                    <a:pt x="1501" y="136"/>
                    <a:pt x="1501" y="136"/>
                    <a:pt x="1501" y="136"/>
                  </a:cubicBezTo>
                  <a:cubicBezTo>
                    <a:pt x="1510" y="135"/>
                    <a:pt x="1510" y="135"/>
                    <a:pt x="1510" y="135"/>
                  </a:cubicBezTo>
                  <a:cubicBezTo>
                    <a:pt x="1510" y="135"/>
                    <a:pt x="1516" y="126"/>
                    <a:pt x="1520" y="124"/>
                  </a:cubicBezTo>
                  <a:cubicBezTo>
                    <a:pt x="1524" y="122"/>
                    <a:pt x="1522" y="119"/>
                    <a:pt x="1517" y="115"/>
                  </a:cubicBezTo>
                  <a:cubicBezTo>
                    <a:pt x="1513" y="111"/>
                    <a:pt x="1511" y="117"/>
                    <a:pt x="1506" y="119"/>
                  </a:cubicBezTo>
                  <a:cubicBezTo>
                    <a:pt x="1503" y="120"/>
                    <a:pt x="1497" y="120"/>
                    <a:pt x="1497" y="120"/>
                  </a:cubicBezTo>
                  <a:cubicBezTo>
                    <a:pt x="1498" y="124"/>
                    <a:pt x="1498" y="124"/>
                    <a:pt x="1498" y="124"/>
                  </a:cubicBezTo>
                  <a:cubicBezTo>
                    <a:pt x="1482" y="129"/>
                    <a:pt x="1482" y="129"/>
                    <a:pt x="1482" y="129"/>
                  </a:cubicBezTo>
                  <a:cubicBezTo>
                    <a:pt x="1478" y="116"/>
                    <a:pt x="1478" y="116"/>
                    <a:pt x="1478" y="116"/>
                  </a:cubicBezTo>
                  <a:cubicBezTo>
                    <a:pt x="1478" y="116"/>
                    <a:pt x="1488" y="111"/>
                    <a:pt x="1483" y="108"/>
                  </a:cubicBezTo>
                  <a:cubicBezTo>
                    <a:pt x="1478" y="104"/>
                    <a:pt x="1472" y="116"/>
                    <a:pt x="1472" y="116"/>
                  </a:cubicBezTo>
                  <a:cubicBezTo>
                    <a:pt x="1466" y="115"/>
                    <a:pt x="1466" y="115"/>
                    <a:pt x="1466" y="115"/>
                  </a:cubicBezTo>
                  <a:cubicBezTo>
                    <a:pt x="1457" y="119"/>
                    <a:pt x="1457" y="119"/>
                    <a:pt x="1457" y="119"/>
                  </a:cubicBezTo>
                  <a:cubicBezTo>
                    <a:pt x="1460" y="113"/>
                    <a:pt x="1460" y="113"/>
                    <a:pt x="1460" y="113"/>
                  </a:cubicBezTo>
                  <a:cubicBezTo>
                    <a:pt x="1458" y="101"/>
                    <a:pt x="1458" y="101"/>
                    <a:pt x="1458" y="101"/>
                  </a:cubicBezTo>
                  <a:cubicBezTo>
                    <a:pt x="1446" y="103"/>
                    <a:pt x="1446" y="103"/>
                    <a:pt x="1446" y="103"/>
                  </a:cubicBezTo>
                  <a:cubicBezTo>
                    <a:pt x="1455" y="94"/>
                    <a:pt x="1455" y="94"/>
                    <a:pt x="1455" y="94"/>
                  </a:cubicBezTo>
                  <a:cubicBezTo>
                    <a:pt x="1451" y="92"/>
                    <a:pt x="1451" y="92"/>
                    <a:pt x="1451" y="92"/>
                  </a:cubicBezTo>
                  <a:cubicBezTo>
                    <a:pt x="1452" y="84"/>
                    <a:pt x="1452" y="84"/>
                    <a:pt x="1452" y="84"/>
                  </a:cubicBezTo>
                  <a:cubicBezTo>
                    <a:pt x="1465" y="84"/>
                    <a:pt x="1465" y="84"/>
                    <a:pt x="1465" y="84"/>
                  </a:cubicBezTo>
                  <a:cubicBezTo>
                    <a:pt x="1467" y="78"/>
                    <a:pt x="1467" y="78"/>
                    <a:pt x="1467" y="78"/>
                  </a:cubicBezTo>
                  <a:cubicBezTo>
                    <a:pt x="1476" y="80"/>
                    <a:pt x="1476" y="80"/>
                    <a:pt x="1476" y="80"/>
                  </a:cubicBezTo>
                  <a:cubicBezTo>
                    <a:pt x="1478" y="73"/>
                    <a:pt x="1478" y="73"/>
                    <a:pt x="1478" y="73"/>
                  </a:cubicBezTo>
                  <a:cubicBezTo>
                    <a:pt x="1486" y="61"/>
                    <a:pt x="1486" y="61"/>
                    <a:pt x="1486" y="61"/>
                  </a:cubicBezTo>
                  <a:cubicBezTo>
                    <a:pt x="1486" y="61"/>
                    <a:pt x="1489" y="70"/>
                    <a:pt x="1495" y="67"/>
                  </a:cubicBezTo>
                  <a:cubicBezTo>
                    <a:pt x="1500" y="65"/>
                    <a:pt x="1490" y="53"/>
                    <a:pt x="1490" y="53"/>
                  </a:cubicBezTo>
                  <a:cubicBezTo>
                    <a:pt x="1505" y="40"/>
                    <a:pt x="1505" y="40"/>
                    <a:pt x="1505" y="40"/>
                  </a:cubicBezTo>
                  <a:cubicBezTo>
                    <a:pt x="1501" y="33"/>
                    <a:pt x="1501" y="33"/>
                    <a:pt x="1501" y="33"/>
                  </a:cubicBezTo>
                  <a:cubicBezTo>
                    <a:pt x="1509" y="30"/>
                    <a:pt x="1509" y="30"/>
                    <a:pt x="1509" y="30"/>
                  </a:cubicBezTo>
                  <a:cubicBezTo>
                    <a:pt x="1515" y="18"/>
                    <a:pt x="1515" y="18"/>
                    <a:pt x="1515" y="18"/>
                  </a:cubicBezTo>
                  <a:cubicBezTo>
                    <a:pt x="1515" y="18"/>
                    <a:pt x="1521" y="18"/>
                    <a:pt x="1522" y="15"/>
                  </a:cubicBezTo>
                  <a:cubicBezTo>
                    <a:pt x="1524" y="12"/>
                    <a:pt x="1519" y="9"/>
                    <a:pt x="1519" y="9"/>
                  </a:cubicBezTo>
                  <a:cubicBezTo>
                    <a:pt x="1525" y="0"/>
                    <a:pt x="1525" y="0"/>
                    <a:pt x="1525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6" y="1"/>
                    <a:pt x="236" y="1"/>
                    <a:pt x="236" y="1"/>
                  </a:cubicBezTo>
                  <a:cubicBezTo>
                    <a:pt x="240" y="10"/>
                    <a:pt x="235" y="25"/>
                    <a:pt x="235" y="25"/>
                  </a:cubicBezTo>
                  <a:cubicBezTo>
                    <a:pt x="236" y="29"/>
                    <a:pt x="236" y="29"/>
                    <a:pt x="236" y="29"/>
                  </a:cubicBezTo>
                  <a:cubicBezTo>
                    <a:pt x="227" y="35"/>
                    <a:pt x="227" y="35"/>
                    <a:pt x="227" y="35"/>
                  </a:cubicBezTo>
                  <a:cubicBezTo>
                    <a:pt x="248" y="49"/>
                    <a:pt x="248" y="49"/>
                    <a:pt x="248" y="49"/>
                  </a:cubicBezTo>
                  <a:cubicBezTo>
                    <a:pt x="259" y="51"/>
                    <a:pt x="259" y="51"/>
                    <a:pt x="259" y="51"/>
                  </a:cubicBezTo>
                  <a:cubicBezTo>
                    <a:pt x="275" y="59"/>
                    <a:pt x="275" y="59"/>
                    <a:pt x="275" y="59"/>
                  </a:cubicBezTo>
                  <a:cubicBezTo>
                    <a:pt x="278" y="67"/>
                    <a:pt x="278" y="67"/>
                    <a:pt x="278" y="67"/>
                  </a:cubicBezTo>
                  <a:cubicBezTo>
                    <a:pt x="278" y="67"/>
                    <a:pt x="290" y="67"/>
                    <a:pt x="291" y="73"/>
                  </a:cubicBezTo>
                  <a:cubicBezTo>
                    <a:pt x="291" y="79"/>
                    <a:pt x="289" y="103"/>
                    <a:pt x="287" y="107"/>
                  </a:cubicBezTo>
                  <a:cubicBezTo>
                    <a:pt x="284" y="115"/>
                    <a:pt x="284" y="115"/>
                    <a:pt x="284" y="115"/>
                  </a:cubicBezTo>
                  <a:cubicBezTo>
                    <a:pt x="284" y="115"/>
                    <a:pt x="275" y="128"/>
                    <a:pt x="272" y="140"/>
                  </a:cubicBezTo>
                  <a:cubicBezTo>
                    <a:pt x="269" y="151"/>
                    <a:pt x="261" y="171"/>
                    <a:pt x="258" y="176"/>
                  </a:cubicBezTo>
                  <a:cubicBezTo>
                    <a:pt x="255" y="182"/>
                    <a:pt x="250" y="195"/>
                    <a:pt x="250" y="195"/>
                  </a:cubicBezTo>
                  <a:cubicBezTo>
                    <a:pt x="237" y="209"/>
                    <a:pt x="237" y="209"/>
                    <a:pt x="237" y="209"/>
                  </a:cubicBezTo>
                  <a:cubicBezTo>
                    <a:pt x="236" y="218"/>
                    <a:pt x="236" y="218"/>
                    <a:pt x="236" y="218"/>
                  </a:cubicBezTo>
                  <a:cubicBezTo>
                    <a:pt x="232" y="221"/>
                    <a:pt x="232" y="221"/>
                    <a:pt x="232" y="221"/>
                  </a:cubicBezTo>
                  <a:cubicBezTo>
                    <a:pt x="221" y="236"/>
                    <a:pt x="221" y="236"/>
                    <a:pt x="221" y="236"/>
                  </a:cubicBezTo>
                  <a:cubicBezTo>
                    <a:pt x="213" y="252"/>
                    <a:pt x="213" y="252"/>
                    <a:pt x="213" y="252"/>
                  </a:cubicBezTo>
                  <a:cubicBezTo>
                    <a:pt x="213" y="253"/>
                    <a:pt x="213" y="253"/>
                    <a:pt x="213" y="253"/>
                  </a:cubicBezTo>
                  <a:cubicBezTo>
                    <a:pt x="216" y="254"/>
                    <a:pt x="216" y="254"/>
                    <a:pt x="216" y="254"/>
                  </a:cubicBezTo>
                  <a:cubicBezTo>
                    <a:pt x="225" y="252"/>
                    <a:pt x="225" y="252"/>
                    <a:pt x="225" y="252"/>
                  </a:cubicBezTo>
                  <a:cubicBezTo>
                    <a:pt x="231" y="243"/>
                    <a:pt x="231" y="243"/>
                    <a:pt x="231" y="243"/>
                  </a:cubicBezTo>
                  <a:cubicBezTo>
                    <a:pt x="235" y="239"/>
                    <a:pt x="235" y="239"/>
                    <a:pt x="235" y="239"/>
                  </a:cubicBezTo>
                  <a:cubicBezTo>
                    <a:pt x="235" y="239"/>
                    <a:pt x="236" y="234"/>
                    <a:pt x="238" y="235"/>
                  </a:cubicBezTo>
                  <a:cubicBezTo>
                    <a:pt x="241" y="236"/>
                    <a:pt x="239" y="239"/>
                    <a:pt x="239" y="239"/>
                  </a:cubicBezTo>
                  <a:cubicBezTo>
                    <a:pt x="242" y="253"/>
                    <a:pt x="242" y="253"/>
                    <a:pt x="242" y="253"/>
                  </a:cubicBezTo>
                  <a:cubicBezTo>
                    <a:pt x="235" y="248"/>
                    <a:pt x="235" y="248"/>
                    <a:pt x="235" y="248"/>
                  </a:cubicBezTo>
                  <a:cubicBezTo>
                    <a:pt x="234" y="249"/>
                    <a:pt x="234" y="249"/>
                    <a:pt x="234" y="249"/>
                  </a:cubicBezTo>
                  <a:cubicBezTo>
                    <a:pt x="241" y="257"/>
                    <a:pt x="241" y="257"/>
                    <a:pt x="241" y="257"/>
                  </a:cubicBezTo>
                  <a:cubicBezTo>
                    <a:pt x="246" y="259"/>
                    <a:pt x="246" y="259"/>
                    <a:pt x="246" y="259"/>
                  </a:cubicBezTo>
                  <a:cubicBezTo>
                    <a:pt x="256" y="267"/>
                    <a:pt x="256" y="267"/>
                    <a:pt x="256" y="267"/>
                  </a:cubicBezTo>
                  <a:cubicBezTo>
                    <a:pt x="256" y="267"/>
                    <a:pt x="260" y="269"/>
                    <a:pt x="269" y="266"/>
                  </a:cubicBezTo>
                  <a:cubicBezTo>
                    <a:pt x="276" y="262"/>
                    <a:pt x="281" y="257"/>
                    <a:pt x="286" y="261"/>
                  </a:cubicBezTo>
                  <a:cubicBezTo>
                    <a:pt x="291" y="265"/>
                    <a:pt x="292" y="269"/>
                    <a:pt x="292" y="269"/>
                  </a:cubicBezTo>
                  <a:cubicBezTo>
                    <a:pt x="301" y="270"/>
                    <a:pt x="301" y="270"/>
                    <a:pt x="301" y="270"/>
                  </a:cubicBezTo>
                  <a:cubicBezTo>
                    <a:pt x="299" y="278"/>
                    <a:pt x="299" y="278"/>
                    <a:pt x="299" y="278"/>
                  </a:cubicBezTo>
                  <a:cubicBezTo>
                    <a:pt x="267" y="275"/>
                    <a:pt x="267" y="275"/>
                    <a:pt x="267" y="275"/>
                  </a:cubicBezTo>
                  <a:cubicBezTo>
                    <a:pt x="261" y="281"/>
                    <a:pt x="261" y="281"/>
                    <a:pt x="261" y="281"/>
                  </a:cubicBezTo>
                  <a:cubicBezTo>
                    <a:pt x="261" y="281"/>
                    <a:pt x="270" y="287"/>
                    <a:pt x="262" y="290"/>
                  </a:cubicBezTo>
                  <a:cubicBezTo>
                    <a:pt x="255" y="294"/>
                    <a:pt x="249" y="290"/>
                    <a:pt x="249" y="290"/>
                  </a:cubicBezTo>
                  <a:cubicBezTo>
                    <a:pt x="243" y="294"/>
                    <a:pt x="243" y="294"/>
                    <a:pt x="243" y="294"/>
                  </a:cubicBezTo>
                  <a:cubicBezTo>
                    <a:pt x="243" y="294"/>
                    <a:pt x="251" y="300"/>
                    <a:pt x="245" y="302"/>
                  </a:cubicBezTo>
                  <a:cubicBezTo>
                    <a:pt x="240" y="303"/>
                    <a:pt x="236" y="296"/>
                    <a:pt x="236" y="296"/>
                  </a:cubicBezTo>
                  <a:cubicBezTo>
                    <a:pt x="234" y="299"/>
                    <a:pt x="234" y="299"/>
                    <a:pt x="234" y="299"/>
                  </a:cubicBezTo>
                  <a:cubicBezTo>
                    <a:pt x="234" y="304"/>
                    <a:pt x="234" y="304"/>
                    <a:pt x="234" y="304"/>
                  </a:cubicBezTo>
                  <a:cubicBezTo>
                    <a:pt x="239" y="310"/>
                    <a:pt x="239" y="310"/>
                    <a:pt x="239" y="310"/>
                  </a:cubicBezTo>
                  <a:cubicBezTo>
                    <a:pt x="238" y="317"/>
                    <a:pt x="238" y="317"/>
                    <a:pt x="238" y="317"/>
                  </a:cubicBezTo>
                  <a:cubicBezTo>
                    <a:pt x="244" y="322"/>
                    <a:pt x="244" y="322"/>
                    <a:pt x="244" y="322"/>
                  </a:cubicBezTo>
                  <a:cubicBezTo>
                    <a:pt x="244" y="322"/>
                    <a:pt x="238" y="326"/>
                    <a:pt x="238" y="328"/>
                  </a:cubicBezTo>
                  <a:cubicBezTo>
                    <a:pt x="238" y="329"/>
                    <a:pt x="240" y="331"/>
                    <a:pt x="240" y="331"/>
                  </a:cubicBezTo>
                  <a:cubicBezTo>
                    <a:pt x="237" y="347"/>
                    <a:pt x="237" y="347"/>
                    <a:pt x="237" y="347"/>
                  </a:cubicBezTo>
                  <a:cubicBezTo>
                    <a:pt x="237" y="347"/>
                    <a:pt x="233" y="357"/>
                    <a:pt x="232" y="359"/>
                  </a:cubicBezTo>
                  <a:cubicBezTo>
                    <a:pt x="229" y="361"/>
                    <a:pt x="226" y="364"/>
                    <a:pt x="226" y="364"/>
                  </a:cubicBezTo>
                  <a:cubicBezTo>
                    <a:pt x="226" y="364"/>
                    <a:pt x="232" y="376"/>
                    <a:pt x="235" y="382"/>
                  </a:cubicBezTo>
                  <a:cubicBezTo>
                    <a:pt x="238" y="389"/>
                    <a:pt x="239" y="399"/>
                    <a:pt x="239" y="399"/>
                  </a:cubicBezTo>
                  <a:cubicBezTo>
                    <a:pt x="239" y="399"/>
                    <a:pt x="244" y="403"/>
                    <a:pt x="244" y="406"/>
                  </a:cubicBezTo>
                  <a:cubicBezTo>
                    <a:pt x="245" y="410"/>
                    <a:pt x="245" y="413"/>
                    <a:pt x="245" y="413"/>
                  </a:cubicBezTo>
                  <a:cubicBezTo>
                    <a:pt x="245" y="413"/>
                    <a:pt x="255" y="419"/>
                    <a:pt x="255" y="421"/>
                  </a:cubicBezTo>
                  <a:cubicBezTo>
                    <a:pt x="254" y="423"/>
                    <a:pt x="245" y="425"/>
                    <a:pt x="245" y="425"/>
                  </a:cubicBezTo>
                  <a:cubicBezTo>
                    <a:pt x="245" y="425"/>
                    <a:pt x="248" y="429"/>
                    <a:pt x="248" y="431"/>
                  </a:cubicBezTo>
                  <a:cubicBezTo>
                    <a:pt x="246" y="434"/>
                    <a:pt x="243" y="434"/>
                    <a:pt x="243" y="434"/>
                  </a:cubicBezTo>
                  <a:cubicBezTo>
                    <a:pt x="242" y="440"/>
                    <a:pt x="242" y="440"/>
                    <a:pt x="242" y="440"/>
                  </a:cubicBezTo>
                  <a:cubicBezTo>
                    <a:pt x="243" y="444"/>
                    <a:pt x="243" y="444"/>
                    <a:pt x="243" y="444"/>
                  </a:cubicBezTo>
                  <a:cubicBezTo>
                    <a:pt x="246" y="443"/>
                    <a:pt x="250" y="443"/>
                    <a:pt x="250" y="443"/>
                  </a:cubicBezTo>
                  <a:cubicBezTo>
                    <a:pt x="252" y="450"/>
                    <a:pt x="252" y="450"/>
                    <a:pt x="252" y="450"/>
                  </a:cubicBezTo>
                  <a:cubicBezTo>
                    <a:pt x="252" y="450"/>
                    <a:pt x="259" y="451"/>
                    <a:pt x="261" y="452"/>
                  </a:cubicBezTo>
                  <a:cubicBezTo>
                    <a:pt x="264" y="453"/>
                    <a:pt x="267" y="456"/>
                    <a:pt x="267" y="456"/>
                  </a:cubicBezTo>
                  <a:cubicBezTo>
                    <a:pt x="267" y="467"/>
                    <a:pt x="267" y="467"/>
                    <a:pt x="267" y="467"/>
                  </a:cubicBezTo>
                  <a:cubicBezTo>
                    <a:pt x="264" y="471"/>
                    <a:pt x="264" y="471"/>
                    <a:pt x="264" y="471"/>
                  </a:cubicBezTo>
                  <a:cubicBezTo>
                    <a:pt x="266" y="475"/>
                    <a:pt x="266" y="475"/>
                    <a:pt x="266" y="475"/>
                  </a:cubicBezTo>
                  <a:cubicBezTo>
                    <a:pt x="264" y="486"/>
                    <a:pt x="264" y="486"/>
                    <a:pt x="264" y="486"/>
                  </a:cubicBezTo>
                  <a:cubicBezTo>
                    <a:pt x="264" y="486"/>
                    <a:pt x="269" y="483"/>
                    <a:pt x="272" y="483"/>
                  </a:cubicBezTo>
                  <a:cubicBezTo>
                    <a:pt x="274" y="483"/>
                    <a:pt x="276" y="486"/>
                    <a:pt x="276" y="486"/>
                  </a:cubicBezTo>
                  <a:cubicBezTo>
                    <a:pt x="274" y="491"/>
                    <a:pt x="274" y="491"/>
                    <a:pt x="274" y="491"/>
                  </a:cubicBezTo>
                  <a:cubicBezTo>
                    <a:pt x="282" y="493"/>
                    <a:pt x="282" y="493"/>
                    <a:pt x="282" y="493"/>
                  </a:cubicBezTo>
                  <a:cubicBezTo>
                    <a:pt x="283" y="498"/>
                    <a:pt x="283" y="498"/>
                    <a:pt x="283" y="498"/>
                  </a:cubicBezTo>
                  <a:cubicBezTo>
                    <a:pt x="286" y="499"/>
                    <a:pt x="286" y="499"/>
                    <a:pt x="286" y="499"/>
                  </a:cubicBezTo>
                  <a:cubicBezTo>
                    <a:pt x="289" y="508"/>
                    <a:pt x="289" y="508"/>
                    <a:pt x="289" y="508"/>
                  </a:cubicBezTo>
                  <a:cubicBezTo>
                    <a:pt x="291" y="514"/>
                    <a:pt x="291" y="514"/>
                    <a:pt x="291" y="514"/>
                  </a:cubicBezTo>
                  <a:cubicBezTo>
                    <a:pt x="293" y="515"/>
                    <a:pt x="293" y="515"/>
                    <a:pt x="293" y="515"/>
                  </a:cubicBezTo>
                  <a:cubicBezTo>
                    <a:pt x="293" y="515"/>
                    <a:pt x="294" y="522"/>
                    <a:pt x="292" y="526"/>
                  </a:cubicBezTo>
                  <a:cubicBezTo>
                    <a:pt x="291" y="526"/>
                    <a:pt x="291" y="526"/>
                    <a:pt x="291" y="527"/>
                  </a:cubicBezTo>
                  <a:cubicBezTo>
                    <a:pt x="293" y="527"/>
                    <a:pt x="295" y="529"/>
                    <a:pt x="298" y="529"/>
                  </a:cubicBezTo>
                  <a:cubicBezTo>
                    <a:pt x="301" y="529"/>
                    <a:pt x="307" y="524"/>
                    <a:pt x="313" y="525"/>
                  </a:cubicBezTo>
                  <a:cubicBezTo>
                    <a:pt x="318" y="526"/>
                    <a:pt x="310" y="534"/>
                    <a:pt x="317" y="535"/>
                  </a:cubicBezTo>
                  <a:cubicBezTo>
                    <a:pt x="322" y="536"/>
                    <a:pt x="321" y="530"/>
                    <a:pt x="323" y="529"/>
                  </a:cubicBezTo>
                  <a:cubicBezTo>
                    <a:pt x="324" y="526"/>
                    <a:pt x="338" y="524"/>
                    <a:pt x="343" y="529"/>
                  </a:cubicBezTo>
                  <a:cubicBezTo>
                    <a:pt x="349" y="533"/>
                    <a:pt x="337" y="542"/>
                    <a:pt x="348" y="544"/>
                  </a:cubicBezTo>
                  <a:cubicBezTo>
                    <a:pt x="357" y="544"/>
                    <a:pt x="351" y="536"/>
                    <a:pt x="351" y="536"/>
                  </a:cubicBezTo>
                  <a:cubicBezTo>
                    <a:pt x="351" y="536"/>
                    <a:pt x="357" y="534"/>
                    <a:pt x="365" y="531"/>
                  </a:cubicBezTo>
                  <a:cubicBezTo>
                    <a:pt x="371" y="527"/>
                    <a:pt x="379" y="527"/>
                    <a:pt x="384" y="532"/>
                  </a:cubicBezTo>
                  <a:cubicBezTo>
                    <a:pt x="390" y="535"/>
                    <a:pt x="396" y="532"/>
                    <a:pt x="402" y="538"/>
                  </a:cubicBezTo>
                  <a:cubicBezTo>
                    <a:pt x="409" y="545"/>
                    <a:pt x="401" y="554"/>
                    <a:pt x="401" y="554"/>
                  </a:cubicBezTo>
                  <a:cubicBezTo>
                    <a:pt x="413" y="570"/>
                    <a:pt x="413" y="570"/>
                    <a:pt x="413" y="570"/>
                  </a:cubicBezTo>
                  <a:cubicBezTo>
                    <a:pt x="411" y="588"/>
                    <a:pt x="411" y="588"/>
                    <a:pt x="411" y="588"/>
                  </a:cubicBezTo>
                  <a:cubicBezTo>
                    <a:pt x="411" y="588"/>
                    <a:pt x="422" y="590"/>
                    <a:pt x="429" y="594"/>
                  </a:cubicBezTo>
                  <a:cubicBezTo>
                    <a:pt x="435" y="597"/>
                    <a:pt x="426" y="604"/>
                    <a:pt x="426" y="604"/>
                  </a:cubicBezTo>
                  <a:cubicBezTo>
                    <a:pt x="434" y="606"/>
                    <a:pt x="434" y="606"/>
                    <a:pt x="434" y="606"/>
                  </a:cubicBezTo>
                  <a:cubicBezTo>
                    <a:pt x="434" y="606"/>
                    <a:pt x="435" y="611"/>
                    <a:pt x="437" y="615"/>
                  </a:cubicBezTo>
                  <a:cubicBezTo>
                    <a:pt x="438" y="619"/>
                    <a:pt x="456" y="620"/>
                    <a:pt x="456" y="620"/>
                  </a:cubicBezTo>
                  <a:cubicBezTo>
                    <a:pt x="456" y="620"/>
                    <a:pt x="462" y="621"/>
                    <a:pt x="465" y="625"/>
                  </a:cubicBezTo>
                  <a:cubicBezTo>
                    <a:pt x="468" y="628"/>
                    <a:pt x="466" y="641"/>
                    <a:pt x="466" y="641"/>
                  </a:cubicBezTo>
                  <a:cubicBezTo>
                    <a:pt x="479" y="637"/>
                    <a:pt x="479" y="637"/>
                    <a:pt x="479" y="637"/>
                  </a:cubicBezTo>
                  <a:cubicBezTo>
                    <a:pt x="495" y="639"/>
                    <a:pt x="495" y="639"/>
                    <a:pt x="495" y="639"/>
                  </a:cubicBezTo>
                  <a:cubicBezTo>
                    <a:pt x="490" y="646"/>
                    <a:pt x="490" y="646"/>
                    <a:pt x="490" y="646"/>
                  </a:cubicBezTo>
                  <a:cubicBezTo>
                    <a:pt x="510" y="655"/>
                    <a:pt x="510" y="655"/>
                    <a:pt x="510" y="655"/>
                  </a:cubicBezTo>
                  <a:cubicBezTo>
                    <a:pt x="511" y="660"/>
                    <a:pt x="511" y="660"/>
                    <a:pt x="511" y="660"/>
                  </a:cubicBezTo>
                  <a:cubicBezTo>
                    <a:pt x="500" y="664"/>
                    <a:pt x="500" y="664"/>
                    <a:pt x="500" y="664"/>
                  </a:cubicBezTo>
                  <a:cubicBezTo>
                    <a:pt x="502" y="669"/>
                    <a:pt x="502" y="669"/>
                    <a:pt x="502" y="669"/>
                  </a:cubicBezTo>
                  <a:cubicBezTo>
                    <a:pt x="502" y="669"/>
                    <a:pt x="499" y="677"/>
                    <a:pt x="490" y="681"/>
                  </a:cubicBezTo>
                  <a:cubicBezTo>
                    <a:pt x="481" y="687"/>
                    <a:pt x="472" y="679"/>
                    <a:pt x="472" y="679"/>
                  </a:cubicBezTo>
                  <a:cubicBezTo>
                    <a:pt x="461" y="682"/>
                    <a:pt x="461" y="682"/>
                    <a:pt x="461" y="682"/>
                  </a:cubicBezTo>
                  <a:cubicBezTo>
                    <a:pt x="462" y="690"/>
                    <a:pt x="462" y="690"/>
                    <a:pt x="462" y="690"/>
                  </a:cubicBezTo>
                  <a:cubicBezTo>
                    <a:pt x="459" y="697"/>
                    <a:pt x="459" y="697"/>
                    <a:pt x="459" y="697"/>
                  </a:cubicBezTo>
                  <a:cubicBezTo>
                    <a:pt x="459" y="697"/>
                    <a:pt x="467" y="699"/>
                    <a:pt x="472" y="704"/>
                  </a:cubicBezTo>
                  <a:cubicBezTo>
                    <a:pt x="479" y="709"/>
                    <a:pt x="477" y="715"/>
                    <a:pt x="477" y="715"/>
                  </a:cubicBezTo>
                  <a:cubicBezTo>
                    <a:pt x="477" y="715"/>
                    <a:pt x="479" y="716"/>
                    <a:pt x="481" y="720"/>
                  </a:cubicBezTo>
                  <a:cubicBezTo>
                    <a:pt x="484" y="724"/>
                    <a:pt x="485" y="736"/>
                    <a:pt x="485" y="736"/>
                  </a:cubicBezTo>
                  <a:cubicBezTo>
                    <a:pt x="489" y="739"/>
                    <a:pt x="489" y="739"/>
                    <a:pt x="489" y="739"/>
                  </a:cubicBezTo>
                  <a:cubicBezTo>
                    <a:pt x="493" y="739"/>
                    <a:pt x="500" y="740"/>
                    <a:pt x="503" y="737"/>
                  </a:cubicBezTo>
                  <a:cubicBezTo>
                    <a:pt x="508" y="734"/>
                    <a:pt x="507" y="719"/>
                    <a:pt x="507" y="719"/>
                  </a:cubicBezTo>
                  <a:cubicBezTo>
                    <a:pt x="526" y="719"/>
                    <a:pt x="526" y="719"/>
                    <a:pt x="526" y="719"/>
                  </a:cubicBezTo>
                  <a:cubicBezTo>
                    <a:pt x="529" y="719"/>
                    <a:pt x="529" y="719"/>
                    <a:pt x="529" y="719"/>
                  </a:cubicBezTo>
                  <a:cubicBezTo>
                    <a:pt x="533" y="718"/>
                    <a:pt x="539" y="706"/>
                    <a:pt x="539" y="706"/>
                  </a:cubicBezTo>
                  <a:cubicBezTo>
                    <a:pt x="552" y="706"/>
                    <a:pt x="552" y="706"/>
                    <a:pt x="552" y="706"/>
                  </a:cubicBezTo>
                  <a:cubicBezTo>
                    <a:pt x="552" y="706"/>
                    <a:pt x="552" y="700"/>
                    <a:pt x="560" y="699"/>
                  </a:cubicBezTo>
                  <a:cubicBezTo>
                    <a:pt x="568" y="699"/>
                    <a:pt x="567" y="705"/>
                    <a:pt x="567" y="705"/>
                  </a:cubicBezTo>
                  <a:cubicBezTo>
                    <a:pt x="576" y="706"/>
                    <a:pt x="576" y="706"/>
                    <a:pt x="576" y="706"/>
                  </a:cubicBezTo>
                  <a:cubicBezTo>
                    <a:pt x="576" y="706"/>
                    <a:pt x="576" y="713"/>
                    <a:pt x="580" y="719"/>
                  </a:cubicBezTo>
                  <a:cubicBezTo>
                    <a:pt x="584" y="724"/>
                    <a:pt x="596" y="725"/>
                    <a:pt x="599" y="729"/>
                  </a:cubicBezTo>
                  <a:cubicBezTo>
                    <a:pt x="602" y="735"/>
                    <a:pt x="584" y="739"/>
                    <a:pt x="584" y="739"/>
                  </a:cubicBezTo>
                  <a:cubicBezTo>
                    <a:pt x="584" y="739"/>
                    <a:pt x="587" y="740"/>
                    <a:pt x="592" y="744"/>
                  </a:cubicBezTo>
                  <a:cubicBezTo>
                    <a:pt x="597" y="747"/>
                    <a:pt x="595" y="755"/>
                    <a:pt x="595" y="755"/>
                  </a:cubicBezTo>
                  <a:cubicBezTo>
                    <a:pt x="600" y="755"/>
                    <a:pt x="600" y="755"/>
                    <a:pt x="600" y="755"/>
                  </a:cubicBezTo>
                  <a:cubicBezTo>
                    <a:pt x="599" y="762"/>
                    <a:pt x="599" y="762"/>
                    <a:pt x="599" y="762"/>
                  </a:cubicBezTo>
                  <a:cubicBezTo>
                    <a:pt x="613" y="759"/>
                    <a:pt x="613" y="759"/>
                    <a:pt x="613" y="759"/>
                  </a:cubicBezTo>
                  <a:cubicBezTo>
                    <a:pt x="619" y="763"/>
                    <a:pt x="619" y="763"/>
                    <a:pt x="619" y="763"/>
                  </a:cubicBezTo>
                  <a:cubicBezTo>
                    <a:pt x="619" y="763"/>
                    <a:pt x="629" y="753"/>
                    <a:pt x="634" y="753"/>
                  </a:cubicBezTo>
                  <a:cubicBezTo>
                    <a:pt x="639" y="753"/>
                    <a:pt x="639" y="762"/>
                    <a:pt x="639" y="762"/>
                  </a:cubicBezTo>
                  <a:cubicBezTo>
                    <a:pt x="645" y="758"/>
                    <a:pt x="645" y="758"/>
                    <a:pt x="645" y="758"/>
                  </a:cubicBezTo>
                  <a:cubicBezTo>
                    <a:pt x="645" y="758"/>
                    <a:pt x="649" y="759"/>
                    <a:pt x="650" y="759"/>
                  </a:cubicBezTo>
                  <a:cubicBezTo>
                    <a:pt x="651" y="759"/>
                    <a:pt x="648" y="767"/>
                    <a:pt x="648" y="767"/>
                  </a:cubicBezTo>
                  <a:cubicBezTo>
                    <a:pt x="661" y="783"/>
                    <a:pt x="661" y="783"/>
                    <a:pt x="661" y="783"/>
                  </a:cubicBezTo>
                  <a:cubicBezTo>
                    <a:pt x="659" y="788"/>
                    <a:pt x="659" y="788"/>
                    <a:pt x="659" y="788"/>
                  </a:cubicBezTo>
                  <a:cubicBezTo>
                    <a:pt x="659" y="788"/>
                    <a:pt x="675" y="800"/>
                    <a:pt x="680" y="795"/>
                  </a:cubicBezTo>
                  <a:cubicBezTo>
                    <a:pt x="686" y="791"/>
                    <a:pt x="687" y="789"/>
                    <a:pt x="693" y="788"/>
                  </a:cubicBezTo>
                  <a:cubicBezTo>
                    <a:pt x="698" y="787"/>
                    <a:pt x="698" y="794"/>
                    <a:pt x="701" y="794"/>
                  </a:cubicBezTo>
                  <a:cubicBezTo>
                    <a:pt x="704" y="794"/>
                    <a:pt x="704" y="790"/>
                    <a:pt x="704" y="790"/>
                  </a:cubicBezTo>
                  <a:cubicBezTo>
                    <a:pt x="711" y="790"/>
                    <a:pt x="711" y="790"/>
                    <a:pt x="711" y="790"/>
                  </a:cubicBezTo>
                  <a:cubicBezTo>
                    <a:pt x="712" y="795"/>
                    <a:pt x="712" y="795"/>
                    <a:pt x="712" y="795"/>
                  </a:cubicBezTo>
                  <a:cubicBezTo>
                    <a:pt x="717" y="797"/>
                    <a:pt x="717" y="797"/>
                    <a:pt x="717" y="797"/>
                  </a:cubicBezTo>
                  <a:cubicBezTo>
                    <a:pt x="717" y="797"/>
                    <a:pt x="720" y="790"/>
                    <a:pt x="721" y="786"/>
                  </a:cubicBezTo>
                  <a:cubicBezTo>
                    <a:pt x="723" y="783"/>
                    <a:pt x="734" y="779"/>
                    <a:pt x="734" y="779"/>
                  </a:cubicBezTo>
                  <a:cubicBezTo>
                    <a:pt x="744" y="768"/>
                    <a:pt x="744" y="768"/>
                    <a:pt x="744" y="768"/>
                  </a:cubicBezTo>
                  <a:cubicBezTo>
                    <a:pt x="748" y="773"/>
                    <a:pt x="748" y="773"/>
                    <a:pt x="748" y="773"/>
                  </a:cubicBezTo>
                  <a:cubicBezTo>
                    <a:pt x="753" y="774"/>
                    <a:pt x="753" y="774"/>
                    <a:pt x="753" y="774"/>
                  </a:cubicBezTo>
                  <a:cubicBezTo>
                    <a:pt x="754" y="778"/>
                    <a:pt x="754" y="778"/>
                    <a:pt x="754" y="778"/>
                  </a:cubicBezTo>
                  <a:cubicBezTo>
                    <a:pt x="764" y="788"/>
                    <a:pt x="764" y="788"/>
                    <a:pt x="764" y="788"/>
                  </a:cubicBezTo>
                  <a:cubicBezTo>
                    <a:pt x="774" y="788"/>
                    <a:pt x="774" y="788"/>
                    <a:pt x="774" y="788"/>
                  </a:cubicBezTo>
                  <a:cubicBezTo>
                    <a:pt x="779" y="791"/>
                    <a:pt x="779" y="791"/>
                    <a:pt x="779" y="791"/>
                  </a:cubicBezTo>
                  <a:cubicBezTo>
                    <a:pt x="782" y="788"/>
                    <a:pt x="782" y="788"/>
                    <a:pt x="782" y="788"/>
                  </a:cubicBezTo>
                  <a:cubicBezTo>
                    <a:pt x="782" y="778"/>
                    <a:pt x="782" y="778"/>
                    <a:pt x="782" y="778"/>
                  </a:cubicBezTo>
                  <a:cubicBezTo>
                    <a:pt x="797" y="783"/>
                    <a:pt x="797" y="783"/>
                    <a:pt x="797" y="783"/>
                  </a:cubicBezTo>
                  <a:cubicBezTo>
                    <a:pt x="801" y="777"/>
                    <a:pt x="801" y="777"/>
                    <a:pt x="801" y="777"/>
                  </a:cubicBezTo>
                  <a:cubicBezTo>
                    <a:pt x="811" y="783"/>
                    <a:pt x="811" y="783"/>
                    <a:pt x="811" y="783"/>
                  </a:cubicBezTo>
                  <a:cubicBezTo>
                    <a:pt x="819" y="783"/>
                    <a:pt x="819" y="783"/>
                    <a:pt x="819" y="783"/>
                  </a:cubicBezTo>
                  <a:cubicBezTo>
                    <a:pt x="821" y="775"/>
                    <a:pt x="821" y="775"/>
                    <a:pt x="821" y="775"/>
                  </a:cubicBezTo>
                  <a:cubicBezTo>
                    <a:pt x="826" y="774"/>
                    <a:pt x="826" y="774"/>
                    <a:pt x="826" y="774"/>
                  </a:cubicBezTo>
                  <a:cubicBezTo>
                    <a:pt x="826" y="774"/>
                    <a:pt x="829" y="778"/>
                    <a:pt x="830" y="781"/>
                  </a:cubicBezTo>
                  <a:cubicBezTo>
                    <a:pt x="831" y="783"/>
                    <a:pt x="836" y="782"/>
                    <a:pt x="836" y="782"/>
                  </a:cubicBezTo>
                  <a:cubicBezTo>
                    <a:pt x="838" y="778"/>
                    <a:pt x="838" y="778"/>
                    <a:pt x="838" y="778"/>
                  </a:cubicBezTo>
                  <a:cubicBezTo>
                    <a:pt x="845" y="778"/>
                    <a:pt x="845" y="778"/>
                    <a:pt x="845" y="778"/>
                  </a:cubicBezTo>
                  <a:cubicBezTo>
                    <a:pt x="845" y="778"/>
                    <a:pt x="847" y="782"/>
                    <a:pt x="851" y="784"/>
                  </a:cubicBezTo>
                  <a:cubicBezTo>
                    <a:pt x="856" y="786"/>
                    <a:pt x="862" y="784"/>
                    <a:pt x="862" y="784"/>
                  </a:cubicBezTo>
                  <a:cubicBezTo>
                    <a:pt x="864" y="777"/>
                    <a:pt x="864" y="777"/>
                    <a:pt x="864" y="777"/>
                  </a:cubicBezTo>
                  <a:cubicBezTo>
                    <a:pt x="870" y="777"/>
                    <a:pt x="870" y="777"/>
                    <a:pt x="870" y="777"/>
                  </a:cubicBezTo>
                  <a:cubicBezTo>
                    <a:pt x="870" y="788"/>
                    <a:pt x="870" y="788"/>
                    <a:pt x="870" y="788"/>
                  </a:cubicBezTo>
                  <a:cubicBezTo>
                    <a:pt x="870" y="788"/>
                    <a:pt x="876" y="791"/>
                    <a:pt x="879" y="800"/>
                  </a:cubicBezTo>
                  <a:cubicBezTo>
                    <a:pt x="881" y="808"/>
                    <a:pt x="868" y="818"/>
                    <a:pt x="868" y="818"/>
                  </a:cubicBezTo>
                  <a:cubicBezTo>
                    <a:pt x="868" y="824"/>
                    <a:pt x="868" y="824"/>
                    <a:pt x="868" y="824"/>
                  </a:cubicBezTo>
                  <a:cubicBezTo>
                    <a:pt x="885" y="823"/>
                    <a:pt x="885" y="823"/>
                    <a:pt x="885" y="823"/>
                  </a:cubicBezTo>
                  <a:cubicBezTo>
                    <a:pt x="885" y="828"/>
                    <a:pt x="885" y="828"/>
                    <a:pt x="885" y="828"/>
                  </a:cubicBezTo>
                  <a:cubicBezTo>
                    <a:pt x="876" y="831"/>
                    <a:pt x="876" y="831"/>
                    <a:pt x="876" y="831"/>
                  </a:cubicBezTo>
                  <a:cubicBezTo>
                    <a:pt x="876" y="846"/>
                    <a:pt x="876" y="846"/>
                    <a:pt x="876" y="846"/>
                  </a:cubicBezTo>
                  <a:cubicBezTo>
                    <a:pt x="876" y="846"/>
                    <a:pt x="882" y="845"/>
                    <a:pt x="889" y="849"/>
                  </a:cubicBezTo>
                  <a:cubicBezTo>
                    <a:pt x="896" y="853"/>
                    <a:pt x="892" y="861"/>
                    <a:pt x="892" y="861"/>
                  </a:cubicBezTo>
                  <a:cubicBezTo>
                    <a:pt x="897" y="862"/>
                    <a:pt x="897" y="862"/>
                    <a:pt x="897" y="862"/>
                  </a:cubicBezTo>
                  <a:cubicBezTo>
                    <a:pt x="898" y="876"/>
                    <a:pt x="898" y="876"/>
                    <a:pt x="898" y="876"/>
                  </a:cubicBezTo>
                  <a:cubicBezTo>
                    <a:pt x="895" y="879"/>
                    <a:pt x="895" y="879"/>
                    <a:pt x="895" y="879"/>
                  </a:cubicBezTo>
                  <a:cubicBezTo>
                    <a:pt x="895" y="879"/>
                    <a:pt x="900" y="883"/>
                    <a:pt x="900" y="889"/>
                  </a:cubicBezTo>
                  <a:cubicBezTo>
                    <a:pt x="901" y="896"/>
                    <a:pt x="874" y="899"/>
                    <a:pt x="866" y="901"/>
                  </a:cubicBezTo>
                  <a:cubicBezTo>
                    <a:pt x="859" y="904"/>
                    <a:pt x="860" y="909"/>
                    <a:pt x="861" y="913"/>
                  </a:cubicBezTo>
                  <a:cubicBezTo>
                    <a:pt x="861" y="916"/>
                    <a:pt x="856" y="919"/>
                    <a:pt x="849" y="923"/>
                  </a:cubicBezTo>
                  <a:cubicBezTo>
                    <a:pt x="843" y="926"/>
                    <a:pt x="843" y="939"/>
                    <a:pt x="847" y="945"/>
                  </a:cubicBezTo>
                  <a:cubicBezTo>
                    <a:pt x="850" y="950"/>
                    <a:pt x="852" y="955"/>
                    <a:pt x="852" y="958"/>
                  </a:cubicBezTo>
                  <a:cubicBezTo>
                    <a:pt x="870" y="954"/>
                    <a:pt x="870" y="954"/>
                    <a:pt x="870" y="954"/>
                  </a:cubicBezTo>
                  <a:cubicBezTo>
                    <a:pt x="870" y="945"/>
                    <a:pt x="870" y="945"/>
                    <a:pt x="870" y="945"/>
                  </a:cubicBezTo>
                  <a:cubicBezTo>
                    <a:pt x="881" y="945"/>
                    <a:pt x="881" y="945"/>
                    <a:pt x="881" y="945"/>
                  </a:cubicBezTo>
                  <a:cubicBezTo>
                    <a:pt x="880" y="940"/>
                    <a:pt x="880" y="940"/>
                    <a:pt x="880" y="940"/>
                  </a:cubicBezTo>
                  <a:cubicBezTo>
                    <a:pt x="884" y="934"/>
                    <a:pt x="884" y="934"/>
                    <a:pt x="884" y="934"/>
                  </a:cubicBezTo>
                  <a:cubicBezTo>
                    <a:pt x="894" y="934"/>
                    <a:pt x="894" y="934"/>
                    <a:pt x="894" y="934"/>
                  </a:cubicBezTo>
                  <a:cubicBezTo>
                    <a:pt x="893" y="940"/>
                    <a:pt x="893" y="940"/>
                    <a:pt x="893" y="940"/>
                  </a:cubicBezTo>
                  <a:cubicBezTo>
                    <a:pt x="900" y="949"/>
                    <a:pt x="900" y="949"/>
                    <a:pt x="900" y="949"/>
                  </a:cubicBezTo>
                  <a:cubicBezTo>
                    <a:pt x="891" y="948"/>
                    <a:pt x="891" y="948"/>
                    <a:pt x="891" y="948"/>
                  </a:cubicBezTo>
                  <a:cubicBezTo>
                    <a:pt x="891" y="948"/>
                    <a:pt x="887" y="955"/>
                    <a:pt x="883" y="964"/>
                  </a:cubicBezTo>
                  <a:cubicBezTo>
                    <a:pt x="880" y="974"/>
                    <a:pt x="871" y="971"/>
                    <a:pt x="871" y="971"/>
                  </a:cubicBezTo>
                  <a:cubicBezTo>
                    <a:pt x="870" y="978"/>
                    <a:pt x="870" y="978"/>
                    <a:pt x="870" y="978"/>
                  </a:cubicBezTo>
                  <a:cubicBezTo>
                    <a:pt x="878" y="977"/>
                    <a:pt x="878" y="977"/>
                    <a:pt x="878" y="977"/>
                  </a:cubicBezTo>
                  <a:cubicBezTo>
                    <a:pt x="876" y="983"/>
                    <a:pt x="876" y="983"/>
                    <a:pt x="876" y="983"/>
                  </a:cubicBezTo>
                  <a:cubicBezTo>
                    <a:pt x="866" y="983"/>
                    <a:pt x="866" y="983"/>
                    <a:pt x="866" y="983"/>
                  </a:cubicBezTo>
                  <a:cubicBezTo>
                    <a:pt x="858" y="992"/>
                    <a:pt x="858" y="992"/>
                    <a:pt x="858" y="992"/>
                  </a:cubicBezTo>
                  <a:cubicBezTo>
                    <a:pt x="843" y="992"/>
                    <a:pt x="843" y="992"/>
                    <a:pt x="843" y="992"/>
                  </a:cubicBezTo>
                  <a:cubicBezTo>
                    <a:pt x="855" y="1009"/>
                    <a:pt x="855" y="1009"/>
                    <a:pt x="855" y="1009"/>
                  </a:cubicBezTo>
                  <a:cubicBezTo>
                    <a:pt x="855" y="1009"/>
                    <a:pt x="862" y="1005"/>
                    <a:pt x="867" y="1005"/>
                  </a:cubicBezTo>
                  <a:cubicBezTo>
                    <a:pt x="874" y="1005"/>
                    <a:pt x="876" y="1014"/>
                    <a:pt x="876" y="1014"/>
                  </a:cubicBezTo>
                  <a:cubicBezTo>
                    <a:pt x="876" y="1014"/>
                    <a:pt x="893" y="1012"/>
                    <a:pt x="894" y="1020"/>
                  </a:cubicBezTo>
                  <a:cubicBezTo>
                    <a:pt x="895" y="1026"/>
                    <a:pt x="880" y="1019"/>
                    <a:pt x="880" y="1019"/>
                  </a:cubicBezTo>
                  <a:cubicBezTo>
                    <a:pt x="877" y="1033"/>
                    <a:pt x="877" y="1033"/>
                    <a:pt x="877" y="1033"/>
                  </a:cubicBezTo>
                  <a:cubicBezTo>
                    <a:pt x="873" y="1025"/>
                    <a:pt x="873" y="1025"/>
                    <a:pt x="873" y="1025"/>
                  </a:cubicBezTo>
                  <a:cubicBezTo>
                    <a:pt x="867" y="1028"/>
                    <a:pt x="867" y="1028"/>
                    <a:pt x="867" y="1028"/>
                  </a:cubicBezTo>
                  <a:cubicBezTo>
                    <a:pt x="867" y="1028"/>
                    <a:pt x="871" y="1044"/>
                    <a:pt x="871" y="1049"/>
                  </a:cubicBezTo>
                  <a:cubicBezTo>
                    <a:pt x="871" y="1053"/>
                    <a:pt x="865" y="1053"/>
                    <a:pt x="862" y="1057"/>
                  </a:cubicBezTo>
                  <a:cubicBezTo>
                    <a:pt x="859" y="1060"/>
                    <a:pt x="868" y="1068"/>
                    <a:pt x="866" y="1073"/>
                  </a:cubicBezTo>
                  <a:cubicBezTo>
                    <a:pt x="864" y="1080"/>
                    <a:pt x="859" y="1091"/>
                    <a:pt x="852" y="1092"/>
                  </a:cubicBezTo>
                  <a:cubicBezTo>
                    <a:pt x="846" y="1092"/>
                    <a:pt x="844" y="1084"/>
                    <a:pt x="844" y="1084"/>
                  </a:cubicBezTo>
                  <a:cubicBezTo>
                    <a:pt x="830" y="1085"/>
                    <a:pt x="830" y="1085"/>
                    <a:pt x="830" y="1085"/>
                  </a:cubicBezTo>
                  <a:cubicBezTo>
                    <a:pt x="831" y="1090"/>
                    <a:pt x="831" y="1090"/>
                    <a:pt x="831" y="1090"/>
                  </a:cubicBezTo>
                  <a:cubicBezTo>
                    <a:pt x="831" y="1090"/>
                    <a:pt x="841" y="1091"/>
                    <a:pt x="842" y="1093"/>
                  </a:cubicBezTo>
                  <a:cubicBezTo>
                    <a:pt x="842" y="1096"/>
                    <a:pt x="830" y="1103"/>
                    <a:pt x="830" y="1103"/>
                  </a:cubicBezTo>
                  <a:cubicBezTo>
                    <a:pt x="833" y="1108"/>
                    <a:pt x="833" y="1108"/>
                    <a:pt x="833" y="1108"/>
                  </a:cubicBezTo>
                  <a:cubicBezTo>
                    <a:pt x="847" y="1103"/>
                    <a:pt x="847" y="1103"/>
                    <a:pt x="847" y="1103"/>
                  </a:cubicBezTo>
                  <a:cubicBezTo>
                    <a:pt x="847" y="1103"/>
                    <a:pt x="841" y="1098"/>
                    <a:pt x="851" y="1097"/>
                  </a:cubicBezTo>
                  <a:cubicBezTo>
                    <a:pt x="862" y="1097"/>
                    <a:pt x="852" y="1104"/>
                    <a:pt x="852" y="1104"/>
                  </a:cubicBezTo>
                  <a:cubicBezTo>
                    <a:pt x="865" y="1107"/>
                    <a:pt x="865" y="1107"/>
                    <a:pt x="865" y="1107"/>
                  </a:cubicBezTo>
                  <a:cubicBezTo>
                    <a:pt x="873" y="1120"/>
                    <a:pt x="873" y="1120"/>
                    <a:pt x="873" y="1120"/>
                  </a:cubicBezTo>
                  <a:cubicBezTo>
                    <a:pt x="894" y="1118"/>
                    <a:pt x="894" y="1118"/>
                    <a:pt x="894" y="1118"/>
                  </a:cubicBezTo>
                  <a:cubicBezTo>
                    <a:pt x="895" y="1112"/>
                    <a:pt x="895" y="1112"/>
                    <a:pt x="895" y="1112"/>
                  </a:cubicBezTo>
                  <a:cubicBezTo>
                    <a:pt x="903" y="1118"/>
                    <a:pt x="903" y="1118"/>
                    <a:pt x="903" y="1118"/>
                  </a:cubicBezTo>
                  <a:cubicBezTo>
                    <a:pt x="908" y="1118"/>
                    <a:pt x="908" y="1118"/>
                    <a:pt x="908" y="1118"/>
                  </a:cubicBezTo>
                  <a:cubicBezTo>
                    <a:pt x="911" y="1123"/>
                    <a:pt x="911" y="1123"/>
                    <a:pt x="911" y="1123"/>
                  </a:cubicBezTo>
                  <a:cubicBezTo>
                    <a:pt x="917" y="1122"/>
                    <a:pt x="917" y="1122"/>
                    <a:pt x="917" y="1122"/>
                  </a:cubicBezTo>
                  <a:cubicBezTo>
                    <a:pt x="926" y="1125"/>
                    <a:pt x="926" y="1125"/>
                    <a:pt x="926" y="1125"/>
                  </a:cubicBezTo>
                  <a:cubicBezTo>
                    <a:pt x="929" y="1122"/>
                    <a:pt x="929" y="1122"/>
                    <a:pt x="929" y="1122"/>
                  </a:cubicBezTo>
                  <a:cubicBezTo>
                    <a:pt x="943" y="1121"/>
                    <a:pt x="943" y="1121"/>
                    <a:pt x="943" y="1121"/>
                  </a:cubicBezTo>
                  <a:cubicBezTo>
                    <a:pt x="949" y="1128"/>
                    <a:pt x="949" y="1128"/>
                    <a:pt x="949" y="1128"/>
                  </a:cubicBezTo>
                  <a:cubicBezTo>
                    <a:pt x="949" y="1128"/>
                    <a:pt x="970" y="1130"/>
                    <a:pt x="976" y="1133"/>
                  </a:cubicBezTo>
                  <a:cubicBezTo>
                    <a:pt x="982" y="1136"/>
                    <a:pt x="998" y="1147"/>
                    <a:pt x="998" y="1147"/>
                  </a:cubicBezTo>
                  <a:cubicBezTo>
                    <a:pt x="1003" y="1146"/>
                    <a:pt x="1003" y="1146"/>
                    <a:pt x="1003" y="1146"/>
                  </a:cubicBezTo>
                  <a:cubicBezTo>
                    <a:pt x="1007" y="1150"/>
                    <a:pt x="1007" y="1150"/>
                    <a:pt x="1007" y="1150"/>
                  </a:cubicBezTo>
                  <a:cubicBezTo>
                    <a:pt x="1016" y="1151"/>
                    <a:pt x="1016" y="1151"/>
                    <a:pt x="1016" y="1151"/>
                  </a:cubicBezTo>
                  <a:cubicBezTo>
                    <a:pt x="1019" y="1155"/>
                    <a:pt x="1019" y="1155"/>
                    <a:pt x="1019" y="1155"/>
                  </a:cubicBezTo>
                  <a:cubicBezTo>
                    <a:pt x="1024" y="1154"/>
                    <a:pt x="1024" y="1154"/>
                    <a:pt x="1024" y="1154"/>
                  </a:cubicBezTo>
                  <a:cubicBezTo>
                    <a:pt x="1024" y="1154"/>
                    <a:pt x="1024" y="1144"/>
                    <a:pt x="1028" y="1139"/>
                  </a:cubicBezTo>
                  <a:cubicBezTo>
                    <a:pt x="1031" y="1135"/>
                    <a:pt x="1047" y="1137"/>
                    <a:pt x="1047" y="1137"/>
                  </a:cubicBezTo>
                  <a:cubicBezTo>
                    <a:pt x="1050" y="1132"/>
                    <a:pt x="1050" y="1132"/>
                    <a:pt x="1050" y="1132"/>
                  </a:cubicBezTo>
                  <a:cubicBezTo>
                    <a:pt x="1072" y="1135"/>
                    <a:pt x="1072" y="1135"/>
                    <a:pt x="1072" y="1135"/>
                  </a:cubicBezTo>
                  <a:cubicBezTo>
                    <a:pt x="1073" y="1134"/>
                    <a:pt x="1073" y="1134"/>
                    <a:pt x="1073" y="1134"/>
                  </a:cubicBezTo>
                  <a:cubicBezTo>
                    <a:pt x="1080" y="1134"/>
                    <a:pt x="1080" y="1134"/>
                    <a:pt x="1080" y="1134"/>
                  </a:cubicBezTo>
                  <a:cubicBezTo>
                    <a:pt x="1085" y="1130"/>
                    <a:pt x="1085" y="1130"/>
                    <a:pt x="1085" y="1130"/>
                  </a:cubicBezTo>
                  <a:cubicBezTo>
                    <a:pt x="1085" y="1130"/>
                    <a:pt x="1095" y="1136"/>
                    <a:pt x="1107" y="1133"/>
                  </a:cubicBezTo>
                  <a:cubicBezTo>
                    <a:pt x="1120" y="1131"/>
                    <a:pt x="1137" y="1117"/>
                    <a:pt x="1137" y="1117"/>
                  </a:cubicBezTo>
                  <a:cubicBezTo>
                    <a:pt x="1143" y="1118"/>
                    <a:pt x="1143" y="1118"/>
                    <a:pt x="1143" y="1118"/>
                  </a:cubicBezTo>
                  <a:cubicBezTo>
                    <a:pt x="1143" y="1118"/>
                    <a:pt x="1146" y="1113"/>
                    <a:pt x="1154" y="1113"/>
                  </a:cubicBezTo>
                  <a:cubicBezTo>
                    <a:pt x="1161" y="1112"/>
                    <a:pt x="1162" y="1117"/>
                    <a:pt x="1169" y="1119"/>
                  </a:cubicBezTo>
                  <a:cubicBezTo>
                    <a:pt x="1175" y="1122"/>
                    <a:pt x="1192" y="1117"/>
                    <a:pt x="1192" y="1117"/>
                  </a:cubicBezTo>
                  <a:cubicBezTo>
                    <a:pt x="1210" y="1117"/>
                    <a:pt x="1210" y="1117"/>
                    <a:pt x="1210" y="1117"/>
                  </a:cubicBezTo>
                  <a:cubicBezTo>
                    <a:pt x="1208" y="1123"/>
                    <a:pt x="1208" y="1123"/>
                    <a:pt x="1208" y="1123"/>
                  </a:cubicBezTo>
                  <a:cubicBezTo>
                    <a:pt x="1208" y="1123"/>
                    <a:pt x="1215" y="1125"/>
                    <a:pt x="1221" y="1124"/>
                  </a:cubicBezTo>
                  <a:cubicBezTo>
                    <a:pt x="1227" y="1124"/>
                    <a:pt x="1233" y="1115"/>
                    <a:pt x="1233" y="1115"/>
                  </a:cubicBezTo>
                  <a:cubicBezTo>
                    <a:pt x="1233" y="1108"/>
                    <a:pt x="1233" y="1108"/>
                    <a:pt x="1233" y="1108"/>
                  </a:cubicBezTo>
                  <a:cubicBezTo>
                    <a:pt x="1233" y="1108"/>
                    <a:pt x="1239" y="1103"/>
                    <a:pt x="1243" y="1100"/>
                  </a:cubicBezTo>
                  <a:cubicBezTo>
                    <a:pt x="1248" y="1098"/>
                    <a:pt x="1259" y="1103"/>
                    <a:pt x="1259" y="1103"/>
                  </a:cubicBezTo>
                  <a:cubicBezTo>
                    <a:pt x="1259" y="1093"/>
                    <a:pt x="1259" y="1093"/>
                    <a:pt x="1259" y="1093"/>
                  </a:cubicBezTo>
                  <a:cubicBezTo>
                    <a:pt x="1266" y="1094"/>
                    <a:pt x="1266" y="1094"/>
                    <a:pt x="1266" y="1094"/>
                  </a:cubicBezTo>
                  <a:cubicBezTo>
                    <a:pt x="1274" y="1090"/>
                    <a:pt x="1274" y="1090"/>
                    <a:pt x="1274" y="1090"/>
                  </a:cubicBezTo>
                  <a:cubicBezTo>
                    <a:pt x="1285" y="1097"/>
                    <a:pt x="1285" y="1097"/>
                    <a:pt x="1285" y="1097"/>
                  </a:cubicBezTo>
                  <a:cubicBezTo>
                    <a:pt x="1291" y="1091"/>
                    <a:pt x="1291" y="1091"/>
                    <a:pt x="1291" y="1091"/>
                  </a:cubicBezTo>
                  <a:cubicBezTo>
                    <a:pt x="1302" y="1088"/>
                    <a:pt x="1302" y="1088"/>
                    <a:pt x="1302" y="1088"/>
                  </a:cubicBezTo>
                  <a:cubicBezTo>
                    <a:pt x="1302" y="1088"/>
                    <a:pt x="1305" y="1105"/>
                    <a:pt x="1309" y="1109"/>
                  </a:cubicBezTo>
                  <a:cubicBezTo>
                    <a:pt x="1315" y="1113"/>
                    <a:pt x="1337" y="1108"/>
                    <a:pt x="1347" y="1108"/>
                  </a:cubicBezTo>
                  <a:cubicBezTo>
                    <a:pt x="1357" y="1107"/>
                    <a:pt x="1359" y="1109"/>
                    <a:pt x="1359" y="1109"/>
                  </a:cubicBezTo>
                  <a:cubicBezTo>
                    <a:pt x="1367" y="1105"/>
                    <a:pt x="1367" y="1105"/>
                    <a:pt x="1367" y="1105"/>
                  </a:cubicBezTo>
                  <a:cubicBezTo>
                    <a:pt x="1367" y="1105"/>
                    <a:pt x="1371" y="1106"/>
                    <a:pt x="1378" y="1106"/>
                  </a:cubicBezTo>
                  <a:cubicBezTo>
                    <a:pt x="1383" y="1106"/>
                    <a:pt x="1388" y="1115"/>
                    <a:pt x="1388" y="1115"/>
                  </a:cubicBezTo>
                  <a:cubicBezTo>
                    <a:pt x="1390" y="1112"/>
                    <a:pt x="1390" y="1112"/>
                    <a:pt x="1390" y="1112"/>
                  </a:cubicBezTo>
                  <a:cubicBezTo>
                    <a:pt x="1390" y="1112"/>
                    <a:pt x="1407" y="1123"/>
                    <a:pt x="1408" y="1123"/>
                  </a:cubicBezTo>
                  <a:cubicBezTo>
                    <a:pt x="1411" y="1123"/>
                    <a:pt x="1417" y="1121"/>
                    <a:pt x="1429" y="1120"/>
                  </a:cubicBezTo>
                  <a:cubicBezTo>
                    <a:pt x="1440" y="1119"/>
                    <a:pt x="1435" y="1108"/>
                    <a:pt x="1435" y="1108"/>
                  </a:cubicBezTo>
                  <a:cubicBezTo>
                    <a:pt x="1438" y="1102"/>
                    <a:pt x="1438" y="1102"/>
                    <a:pt x="1438" y="1102"/>
                  </a:cubicBezTo>
                  <a:cubicBezTo>
                    <a:pt x="1437" y="1091"/>
                    <a:pt x="1437" y="1091"/>
                    <a:pt x="1437" y="1091"/>
                  </a:cubicBezTo>
                  <a:cubicBezTo>
                    <a:pt x="1446" y="1078"/>
                    <a:pt x="1446" y="1078"/>
                    <a:pt x="1446" y="1078"/>
                  </a:cubicBezTo>
                  <a:cubicBezTo>
                    <a:pt x="1445" y="1060"/>
                    <a:pt x="1445" y="1060"/>
                    <a:pt x="1445" y="1060"/>
                  </a:cubicBezTo>
                  <a:cubicBezTo>
                    <a:pt x="1434" y="1060"/>
                    <a:pt x="1434" y="1060"/>
                    <a:pt x="1434" y="1060"/>
                  </a:cubicBezTo>
                  <a:cubicBezTo>
                    <a:pt x="1417" y="1047"/>
                    <a:pt x="1417" y="1047"/>
                    <a:pt x="1417" y="1047"/>
                  </a:cubicBezTo>
                  <a:cubicBezTo>
                    <a:pt x="1417" y="1047"/>
                    <a:pt x="1406" y="1046"/>
                    <a:pt x="1404" y="1045"/>
                  </a:cubicBezTo>
                  <a:cubicBezTo>
                    <a:pt x="1402" y="1045"/>
                    <a:pt x="1391" y="1038"/>
                    <a:pt x="1391" y="1038"/>
                  </a:cubicBezTo>
                  <a:cubicBezTo>
                    <a:pt x="1391" y="1038"/>
                    <a:pt x="1387" y="1038"/>
                    <a:pt x="1382" y="1036"/>
                  </a:cubicBezTo>
                  <a:cubicBezTo>
                    <a:pt x="1378" y="1035"/>
                    <a:pt x="1380" y="1033"/>
                    <a:pt x="1376" y="1026"/>
                  </a:cubicBezTo>
                  <a:cubicBezTo>
                    <a:pt x="1372" y="1020"/>
                    <a:pt x="1365" y="1024"/>
                    <a:pt x="1358" y="1018"/>
                  </a:cubicBezTo>
                  <a:cubicBezTo>
                    <a:pt x="1352" y="1012"/>
                    <a:pt x="1356" y="999"/>
                    <a:pt x="1356" y="999"/>
                  </a:cubicBezTo>
                  <a:cubicBezTo>
                    <a:pt x="1350" y="999"/>
                    <a:pt x="1350" y="999"/>
                    <a:pt x="1350" y="999"/>
                  </a:cubicBezTo>
                  <a:cubicBezTo>
                    <a:pt x="1341" y="977"/>
                    <a:pt x="1341" y="977"/>
                    <a:pt x="1341" y="977"/>
                  </a:cubicBezTo>
                  <a:cubicBezTo>
                    <a:pt x="1341" y="964"/>
                    <a:pt x="1341" y="964"/>
                    <a:pt x="1341" y="964"/>
                  </a:cubicBezTo>
                  <a:cubicBezTo>
                    <a:pt x="1343" y="961"/>
                    <a:pt x="1343" y="961"/>
                    <a:pt x="1343" y="961"/>
                  </a:cubicBezTo>
                  <a:cubicBezTo>
                    <a:pt x="1343" y="961"/>
                    <a:pt x="1342" y="959"/>
                    <a:pt x="1339" y="959"/>
                  </a:cubicBezTo>
                  <a:cubicBezTo>
                    <a:pt x="1335" y="960"/>
                    <a:pt x="1338" y="972"/>
                    <a:pt x="1338" y="972"/>
                  </a:cubicBezTo>
                  <a:cubicBezTo>
                    <a:pt x="1342" y="993"/>
                    <a:pt x="1342" y="993"/>
                    <a:pt x="1342" y="993"/>
                  </a:cubicBezTo>
                  <a:cubicBezTo>
                    <a:pt x="1339" y="992"/>
                    <a:pt x="1339" y="992"/>
                    <a:pt x="1339" y="992"/>
                  </a:cubicBezTo>
                  <a:cubicBezTo>
                    <a:pt x="1337" y="974"/>
                    <a:pt x="1337" y="974"/>
                    <a:pt x="1337" y="974"/>
                  </a:cubicBezTo>
                  <a:cubicBezTo>
                    <a:pt x="1333" y="973"/>
                    <a:pt x="1333" y="973"/>
                    <a:pt x="1333" y="973"/>
                  </a:cubicBezTo>
                  <a:cubicBezTo>
                    <a:pt x="1313" y="957"/>
                    <a:pt x="1313" y="957"/>
                    <a:pt x="1313" y="957"/>
                  </a:cubicBezTo>
                  <a:cubicBezTo>
                    <a:pt x="1313" y="957"/>
                    <a:pt x="1310" y="960"/>
                    <a:pt x="1308" y="960"/>
                  </a:cubicBezTo>
                  <a:cubicBezTo>
                    <a:pt x="1306" y="960"/>
                    <a:pt x="1304" y="955"/>
                    <a:pt x="1301" y="952"/>
                  </a:cubicBezTo>
                  <a:cubicBezTo>
                    <a:pt x="1297" y="950"/>
                    <a:pt x="1286" y="956"/>
                    <a:pt x="1286" y="956"/>
                  </a:cubicBezTo>
                  <a:cubicBezTo>
                    <a:pt x="1286" y="956"/>
                    <a:pt x="1277" y="946"/>
                    <a:pt x="1275" y="942"/>
                  </a:cubicBezTo>
                  <a:cubicBezTo>
                    <a:pt x="1273" y="936"/>
                    <a:pt x="1281" y="930"/>
                    <a:pt x="1285" y="924"/>
                  </a:cubicBezTo>
                  <a:cubicBezTo>
                    <a:pt x="1290" y="917"/>
                    <a:pt x="1287" y="902"/>
                    <a:pt x="1287" y="902"/>
                  </a:cubicBezTo>
                  <a:cubicBezTo>
                    <a:pt x="1283" y="899"/>
                    <a:pt x="1283" y="899"/>
                    <a:pt x="1283" y="899"/>
                  </a:cubicBezTo>
                  <a:cubicBezTo>
                    <a:pt x="1287" y="894"/>
                    <a:pt x="1287" y="894"/>
                    <a:pt x="1287" y="894"/>
                  </a:cubicBezTo>
                  <a:cubicBezTo>
                    <a:pt x="1284" y="893"/>
                    <a:pt x="1284" y="893"/>
                    <a:pt x="1284" y="893"/>
                  </a:cubicBezTo>
                  <a:cubicBezTo>
                    <a:pt x="1283" y="877"/>
                    <a:pt x="1283" y="877"/>
                    <a:pt x="1283" y="877"/>
                  </a:cubicBezTo>
                  <a:cubicBezTo>
                    <a:pt x="1286" y="870"/>
                    <a:pt x="1286" y="870"/>
                    <a:pt x="1286" y="870"/>
                  </a:cubicBezTo>
                  <a:cubicBezTo>
                    <a:pt x="1286" y="870"/>
                    <a:pt x="1280" y="865"/>
                    <a:pt x="1281" y="862"/>
                  </a:cubicBezTo>
                  <a:cubicBezTo>
                    <a:pt x="1282" y="858"/>
                    <a:pt x="1291" y="864"/>
                    <a:pt x="1296" y="865"/>
                  </a:cubicBezTo>
                  <a:cubicBezTo>
                    <a:pt x="1300" y="865"/>
                    <a:pt x="1299" y="862"/>
                    <a:pt x="1299" y="862"/>
                  </a:cubicBezTo>
                  <a:cubicBezTo>
                    <a:pt x="1299" y="862"/>
                    <a:pt x="1291" y="856"/>
                    <a:pt x="1293" y="853"/>
                  </a:cubicBezTo>
                  <a:cubicBezTo>
                    <a:pt x="1296" y="850"/>
                    <a:pt x="1306" y="844"/>
                    <a:pt x="1306" y="844"/>
                  </a:cubicBezTo>
                  <a:cubicBezTo>
                    <a:pt x="1313" y="846"/>
                    <a:pt x="1313" y="846"/>
                    <a:pt x="1313" y="846"/>
                  </a:cubicBezTo>
                  <a:cubicBezTo>
                    <a:pt x="1317" y="845"/>
                    <a:pt x="1317" y="845"/>
                    <a:pt x="1317" y="845"/>
                  </a:cubicBezTo>
                  <a:cubicBezTo>
                    <a:pt x="1305" y="836"/>
                    <a:pt x="1305" y="836"/>
                    <a:pt x="1305" y="836"/>
                  </a:cubicBezTo>
                  <a:cubicBezTo>
                    <a:pt x="1308" y="831"/>
                    <a:pt x="1308" y="831"/>
                    <a:pt x="1308" y="831"/>
                  </a:cubicBezTo>
                  <a:cubicBezTo>
                    <a:pt x="1322" y="838"/>
                    <a:pt x="1322" y="838"/>
                    <a:pt x="1322" y="838"/>
                  </a:cubicBezTo>
                  <a:cubicBezTo>
                    <a:pt x="1327" y="836"/>
                    <a:pt x="1327" y="836"/>
                    <a:pt x="1327" y="836"/>
                  </a:cubicBezTo>
                  <a:cubicBezTo>
                    <a:pt x="1320" y="832"/>
                    <a:pt x="1320" y="832"/>
                    <a:pt x="1320" y="832"/>
                  </a:cubicBezTo>
                  <a:cubicBezTo>
                    <a:pt x="1323" y="825"/>
                    <a:pt x="1323" y="825"/>
                    <a:pt x="1323" y="825"/>
                  </a:cubicBezTo>
                  <a:cubicBezTo>
                    <a:pt x="1313" y="820"/>
                    <a:pt x="1313" y="820"/>
                    <a:pt x="1313" y="820"/>
                  </a:cubicBezTo>
                  <a:cubicBezTo>
                    <a:pt x="1314" y="815"/>
                    <a:pt x="1314" y="815"/>
                    <a:pt x="1314" y="815"/>
                  </a:cubicBezTo>
                  <a:cubicBezTo>
                    <a:pt x="1322" y="817"/>
                    <a:pt x="1322" y="817"/>
                    <a:pt x="1322" y="817"/>
                  </a:cubicBezTo>
                  <a:cubicBezTo>
                    <a:pt x="1325" y="817"/>
                    <a:pt x="1325" y="817"/>
                    <a:pt x="1325" y="817"/>
                  </a:cubicBezTo>
                  <a:cubicBezTo>
                    <a:pt x="1318" y="812"/>
                    <a:pt x="1318" y="812"/>
                    <a:pt x="1318" y="812"/>
                  </a:cubicBezTo>
                  <a:cubicBezTo>
                    <a:pt x="1323" y="809"/>
                    <a:pt x="1323" y="809"/>
                    <a:pt x="1323" y="809"/>
                  </a:cubicBezTo>
                  <a:cubicBezTo>
                    <a:pt x="1331" y="813"/>
                    <a:pt x="1331" y="813"/>
                    <a:pt x="1331" y="813"/>
                  </a:cubicBezTo>
                  <a:cubicBezTo>
                    <a:pt x="1331" y="813"/>
                    <a:pt x="1331" y="806"/>
                    <a:pt x="1329" y="803"/>
                  </a:cubicBezTo>
                  <a:cubicBezTo>
                    <a:pt x="1326" y="800"/>
                    <a:pt x="1319" y="801"/>
                    <a:pt x="1320" y="797"/>
                  </a:cubicBezTo>
                  <a:cubicBezTo>
                    <a:pt x="1321" y="791"/>
                    <a:pt x="1332" y="792"/>
                    <a:pt x="1332" y="792"/>
                  </a:cubicBezTo>
                  <a:cubicBezTo>
                    <a:pt x="1324" y="788"/>
                    <a:pt x="1324" y="788"/>
                    <a:pt x="1324" y="788"/>
                  </a:cubicBezTo>
                  <a:cubicBezTo>
                    <a:pt x="1324" y="788"/>
                    <a:pt x="1301" y="792"/>
                    <a:pt x="1290" y="791"/>
                  </a:cubicBezTo>
                  <a:cubicBezTo>
                    <a:pt x="1281" y="790"/>
                    <a:pt x="1280" y="784"/>
                    <a:pt x="1284" y="777"/>
                  </a:cubicBezTo>
                  <a:cubicBezTo>
                    <a:pt x="1288" y="772"/>
                    <a:pt x="1298" y="778"/>
                    <a:pt x="1302" y="774"/>
                  </a:cubicBezTo>
                  <a:cubicBezTo>
                    <a:pt x="1307" y="769"/>
                    <a:pt x="1288" y="762"/>
                    <a:pt x="1281" y="760"/>
                  </a:cubicBezTo>
                  <a:cubicBezTo>
                    <a:pt x="1273" y="758"/>
                    <a:pt x="1268" y="747"/>
                    <a:pt x="1263" y="744"/>
                  </a:cubicBezTo>
                  <a:cubicBezTo>
                    <a:pt x="1257" y="742"/>
                    <a:pt x="1256" y="746"/>
                    <a:pt x="1249" y="746"/>
                  </a:cubicBezTo>
                  <a:cubicBezTo>
                    <a:pt x="1242" y="746"/>
                    <a:pt x="1241" y="735"/>
                    <a:pt x="1232" y="732"/>
                  </a:cubicBezTo>
                  <a:cubicBezTo>
                    <a:pt x="1222" y="729"/>
                    <a:pt x="1225" y="741"/>
                    <a:pt x="1218" y="743"/>
                  </a:cubicBezTo>
                  <a:cubicBezTo>
                    <a:pt x="1211" y="745"/>
                    <a:pt x="1206" y="744"/>
                    <a:pt x="1206" y="744"/>
                  </a:cubicBezTo>
                  <a:cubicBezTo>
                    <a:pt x="1210" y="752"/>
                    <a:pt x="1210" y="752"/>
                    <a:pt x="1210" y="752"/>
                  </a:cubicBezTo>
                  <a:cubicBezTo>
                    <a:pt x="1210" y="752"/>
                    <a:pt x="1198" y="752"/>
                    <a:pt x="1192" y="750"/>
                  </a:cubicBezTo>
                  <a:cubicBezTo>
                    <a:pt x="1187" y="749"/>
                    <a:pt x="1188" y="742"/>
                    <a:pt x="1189" y="740"/>
                  </a:cubicBezTo>
                  <a:cubicBezTo>
                    <a:pt x="1191" y="737"/>
                    <a:pt x="1186" y="735"/>
                    <a:pt x="1184" y="732"/>
                  </a:cubicBezTo>
                  <a:cubicBezTo>
                    <a:pt x="1181" y="730"/>
                    <a:pt x="1181" y="726"/>
                    <a:pt x="1181" y="726"/>
                  </a:cubicBezTo>
                  <a:cubicBezTo>
                    <a:pt x="1152" y="732"/>
                    <a:pt x="1152" y="732"/>
                    <a:pt x="1152" y="732"/>
                  </a:cubicBezTo>
                  <a:cubicBezTo>
                    <a:pt x="1146" y="693"/>
                    <a:pt x="1146" y="693"/>
                    <a:pt x="1146" y="693"/>
                  </a:cubicBezTo>
                  <a:cubicBezTo>
                    <a:pt x="1146" y="693"/>
                    <a:pt x="1152" y="683"/>
                    <a:pt x="1149" y="675"/>
                  </a:cubicBezTo>
                  <a:cubicBezTo>
                    <a:pt x="1146" y="666"/>
                    <a:pt x="1136" y="668"/>
                    <a:pt x="1136" y="668"/>
                  </a:cubicBezTo>
                  <a:cubicBezTo>
                    <a:pt x="1124" y="633"/>
                    <a:pt x="1124" y="633"/>
                    <a:pt x="1124" y="633"/>
                  </a:cubicBezTo>
                  <a:cubicBezTo>
                    <a:pt x="1133" y="618"/>
                    <a:pt x="1133" y="618"/>
                    <a:pt x="1133" y="618"/>
                  </a:cubicBezTo>
                  <a:cubicBezTo>
                    <a:pt x="1134" y="613"/>
                    <a:pt x="1125" y="612"/>
                    <a:pt x="1125" y="604"/>
                  </a:cubicBezTo>
                  <a:cubicBezTo>
                    <a:pt x="1124" y="597"/>
                    <a:pt x="1128" y="590"/>
                    <a:pt x="1138" y="590"/>
                  </a:cubicBezTo>
                  <a:cubicBezTo>
                    <a:pt x="1146" y="590"/>
                    <a:pt x="1158" y="599"/>
                    <a:pt x="1161" y="604"/>
                  </a:cubicBezTo>
                  <a:cubicBezTo>
                    <a:pt x="1165" y="611"/>
                    <a:pt x="1172" y="610"/>
                    <a:pt x="1178" y="610"/>
                  </a:cubicBezTo>
                  <a:cubicBezTo>
                    <a:pt x="1184" y="610"/>
                    <a:pt x="1190" y="596"/>
                    <a:pt x="1191" y="586"/>
                  </a:cubicBezTo>
                  <a:cubicBezTo>
                    <a:pt x="1192" y="577"/>
                    <a:pt x="1185" y="585"/>
                    <a:pt x="1185" y="585"/>
                  </a:cubicBezTo>
                  <a:cubicBezTo>
                    <a:pt x="1185" y="585"/>
                    <a:pt x="1182" y="580"/>
                    <a:pt x="1177" y="578"/>
                  </a:cubicBezTo>
                  <a:cubicBezTo>
                    <a:pt x="1173" y="574"/>
                    <a:pt x="1163" y="562"/>
                    <a:pt x="1163" y="562"/>
                  </a:cubicBezTo>
                  <a:cubicBezTo>
                    <a:pt x="1159" y="562"/>
                    <a:pt x="1159" y="562"/>
                    <a:pt x="1159" y="562"/>
                  </a:cubicBezTo>
                  <a:cubicBezTo>
                    <a:pt x="1160" y="558"/>
                    <a:pt x="1160" y="558"/>
                    <a:pt x="1160" y="558"/>
                  </a:cubicBezTo>
                  <a:cubicBezTo>
                    <a:pt x="1160" y="558"/>
                    <a:pt x="1165" y="556"/>
                    <a:pt x="1171" y="555"/>
                  </a:cubicBezTo>
                  <a:cubicBezTo>
                    <a:pt x="1177" y="554"/>
                    <a:pt x="1175" y="538"/>
                    <a:pt x="1175" y="538"/>
                  </a:cubicBezTo>
                  <a:cubicBezTo>
                    <a:pt x="1175" y="538"/>
                    <a:pt x="1182" y="533"/>
                    <a:pt x="1183" y="527"/>
                  </a:cubicBezTo>
                  <a:cubicBezTo>
                    <a:pt x="1185" y="523"/>
                    <a:pt x="1175" y="524"/>
                    <a:pt x="1175" y="524"/>
                  </a:cubicBezTo>
                  <a:cubicBezTo>
                    <a:pt x="1173" y="514"/>
                    <a:pt x="1173" y="514"/>
                    <a:pt x="1173" y="514"/>
                  </a:cubicBezTo>
                  <a:cubicBezTo>
                    <a:pt x="1183" y="508"/>
                    <a:pt x="1183" y="508"/>
                    <a:pt x="1183" y="508"/>
                  </a:cubicBezTo>
                  <a:cubicBezTo>
                    <a:pt x="1189" y="497"/>
                    <a:pt x="1189" y="497"/>
                    <a:pt x="1189" y="497"/>
                  </a:cubicBezTo>
                  <a:cubicBezTo>
                    <a:pt x="1189" y="497"/>
                    <a:pt x="1202" y="489"/>
                    <a:pt x="1202" y="486"/>
                  </a:cubicBezTo>
                  <a:cubicBezTo>
                    <a:pt x="1203" y="482"/>
                    <a:pt x="1196" y="483"/>
                    <a:pt x="1195" y="479"/>
                  </a:cubicBezTo>
                  <a:cubicBezTo>
                    <a:pt x="1194" y="477"/>
                    <a:pt x="1204" y="475"/>
                    <a:pt x="1204" y="472"/>
                  </a:cubicBezTo>
                  <a:cubicBezTo>
                    <a:pt x="1204" y="470"/>
                    <a:pt x="1199" y="463"/>
                    <a:pt x="1201" y="461"/>
                  </a:cubicBezTo>
                  <a:cubicBezTo>
                    <a:pt x="1203" y="459"/>
                    <a:pt x="1208" y="456"/>
                    <a:pt x="1208" y="456"/>
                  </a:cubicBezTo>
                  <a:cubicBezTo>
                    <a:pt x="1201" y="450"/>
                    <a:pt x="1201" y="450"/>
                    <a:pt x="1201" y="450"/>
                  </a:cubicBezTo>
                  <a:cubicBezTo>
                    <a:pt x="1212" y="450"/>
                    <a:pt x="1212" y="450"/>
                    <a:pt x="1212" y="450"/>
                  </a:cubicBezTo>
                  <a:cubicBezTo>
                    <a:pt x="1212" y="450"/>
                    <a:pt x="1223" y="443"/>
                    <a:pt x="1226" y="444"/>
                  </a:cubicBezTo>
                  <a:cubicBezTo>
                    <a:pt x="1229" y="445"/>
                    <a:pt x="1223" y="455"/>
                    <a:pt x="1228" y="456"/>
                  </a:cubicBezTo>
                  <a:cubicBezTo>
                    <a:pt x="1234" y="458"/>
                    <a:pt x="1235" y="445"/>
                    <a:pt x="1235" y="445"/>
                  </a:cubicBezTo>
                  <a:cubicBezTo>
                    <a:pt x="1235" y="445"/>
                    <a:pt x="1240" y="446"/>
                    <a:pt x="1243" y="444"/>
                  </a:cubicBezTo>
                  <a:cubicBezTo>
                    <a:pt x="1247" y="442"/>
                    <a:pt x="1238" y="436"/>
                    <a:pt x="1240" y="431"/>
                  </a:cubicBezTo>
                  <a:cubicBezTo>
                    <a:pt x="1242" y="427"/>
                    <a:pt x="1251" y="427"/>
                    <a:pt x="1251" y="427"/>
                  </a:cubicBezTo>
                  <a:cubicBezTo>
                    <a:pt x="1249" y="420"/>
                    <a:pt x="1249" y="420"/>
                    <a:pt x="1249" y="420"/>
                  </a:cubicBezTo>
                  <a:cubicBezTo>
                    <a:pt x="1253" y="418"/>
                    <a:pt x="1253" y="418"/>
                    <a:pt x="1253" y="418"/>
                  </a:cubicBezTo>
                  <a:cubicBezTo>
                    <a:pt x="1253" y="418"/>
                    <a:pt x="1269" y="428"/>
                    <a:pt x="1275" y="427"/>
                  </a:cubicBezTo>
                  <a:cubicBezTo>
                    <a:pt x="1281" y="427"/>
                    <a:pt x="1277" y="421"/>
                    <a:pt x="1277" y="421"/>
                  </a:cubicBezTo>
                  <a:cubicBezTo>
                    <a:pt x="1285" y="421"/>
                    <a:pt x="1285" y="421"/>
                    <a:pt x="1285" y="421"/>
                  </a:cubicBezTo>
                  <a:cubicBezTo>
                    <a:pt x="1285" y="421"/>
                    <a:pt x="1298" y="409"/>
                    <a:pt x="1306" y="408"/>
                  </a:cubicBezTo>
                  <a:cubicBezTo>
                    <a:pt x="1315" y="407"/>
                    <a:pt x="1313" y="415"/>
                    <a:pt x="1318" y="416"/>
                  </a:cubicBezTo>
                  <a:cubicBezTo>
                    <a:pt x="1322" y="418"/>
                    <a:pt x="1323" y="416"/>
                    <a:pt x="1326" y="412"/>
                  </a:cubicBezTo>
                  <a:cubicBezTo>
                    <a:pt x="1329" y="409"/>
                    <a:pt x="1334" y="410"/>
                    <a:pt x="1339" y="414"/>
                  </a:cubicBezTo>
                  <a:cubicBezTo>
                    <a:pt x="1345" y="419"/>
                    <a:pt x="1351" y="418"/>
                    <a:pt x="1356" y="418"/>
                  </a:cubicBezTo>
                  <a:cubicBezTo>
                    <a:pt x="1362" y="418"/>
                    <a:pt x="1363" y="419"/>
                    <a:pt x="1363" y="423"/>
                  </a:cubicBezTo>
                  <a:cubicBezTo>
                    <a:pt x="1363" y="426"/>
                    <a:pt x="1366" y="432"/>
                    <a:pt x="1370" y="435"/>
                  </a:cubicBezTo>
                  <a:cubicBezTo>
                    <a:pt x="1375" y="438"/>
                    <a:pt x="1376" y="430"/>
                    <a:pt x="1378" y="426"/>
                  </a:cubicBezTo>
                  <a:cubicBezTo>
                    <a:pt x="1379" y="422"/>
                    <a:pt x="1371" y="422"/>
                    <a:pt x="1369" y="418"/>
                  </a:cubicBezTo>
                  <a:cubicBezTo>
                    <a:pt x="1367" y="412"/>
                    <a:pt x="1362" y="413"/>
                    <a:pt x="1358" y="413"/>
                  </a:cubicBezTo>
                  <a:cubicBezTo>
                    <a:pt x="1356" y="412"/>
                    <a:pt x="1356" y="409"/>
                    <a:pt x="1358" y="405"/>
                  </a:cubicBezTo>
                  <a:cubicBezTo>
                    <a:pt x="1360" y="400"/>
                    <a:pt x="1372" y="405"/>
                    <a:pt x="1372" y="405"/>
                  </a:cubicBezTo>
                  <a:cubicBezTo>
                    <a:pt x="1372" y="405"/>
                    <a:pt x="1375" y="403"/>
                    <a:pt x="1379" y="403"/>
                  </a:cubicBezTo>
                  <a:cubicBezTo>
                    <a:pt x="1382" y="404"/>
                    <a:pt x="1382" y="407"/>
                    <a:pt x="1382" y="407"/>
                  </a:cubicBezTo>
                  <a:cubicBezTo>
                    <a:pt x="1414" y="404"/>
                    <a:pt x="1414" y="404"/>
                    <a:pt x="1414" y="404"/>
                  </a:cubicBezTo>
                  <a:cubicBezTo>
                    <a:pt x="1414" y="404"/>
                    <a:pt x="1418" y="392"/>
                    <a:pt x="1420" y="387"/>
                  </a:cubicBezTo>
                  <a:cubicBezTo>
                    <a:pt x="1422" y="380"/>
                    <a:pt x="1416" y="374"/>
                    <a:pt x="1416" y="374"/>
                  </a:cubicBezTo>
                  <a:cubicBezTo>
                    <a:pt x="1421" y="372"/>
                    <a:pt x="1421" y="372"/>
                    <a:pt x="1421" y="372"/>
                  </a:cubicBezTo>
                  <a:cubicBezTo>
                    <a:pt x="1420" y="357"/>
                    <a:pt x="1420" y="357"/>
                    <a:pt x="1420" y="357"/>
                  </a:cubicBezTo>
                  <a:cubicBezTo>
                    <a:pt x="1420" y="357"/>
                    <a:pt x="1427" y="361"/>
                    <a:pt x="1431" y="361"/>
                  </a:cubicBezTo>
                  <a:cubicBezTo>
                    <a:pt x="1435" y="360"/>
                    <a:pt x="1430" y="352"/>
                    <a:pt x="1430" y="352"/>
                  </a:cubicBezTo>
                  <a:cubicBezTo>
                    <a:pt x="1442" y="343"/>
                    <a:pt x="1442" y="343"/>
                    <a:pt x="1442" y="343"/>
                  </a:cubicBezTo>
                  <a:cubicBezTo>
                    <a:pt x="1442" y="343"/>
                    <a:pt x="1456" y="348"/>
                    <a:pt x="1461" y="346"/>
                  </a:cubicBezTo>
                  <a:cubicBezTo>
                    <a:pt x="1464" y="344"/>
                    <a:pt x="1460" y="340"/>
                    <a:pt x="1461" y="337"/>
                  </a:cubicBezTo>
                  <a:cubicBezTo>
                    <a:pt x="1462" y="336"/>
                    <a:pt x="1469" y="336"/>
                    <a:pt x="1469" y="336"/>
                  </a:cubicBezTo>
                  <a:cubicBezTo>
                    <a:pt x="1460" y="327"/>
                    <a:pt x="1460" y="327"/>
                    <a:pt x="1460" y="327"/>
                  </a:cubicBezTo>
                  <a:cubicBezTo>
                    <a:pt x="1460" y="327"/>
                    <a:pt x="1477" y="320"/>
                    <a:pt x="1479" y="318"/>
                  </a:cubicBezTo>
                  <a:cubicBezTo>
                    <a:pt x="1482" y="316"/>
                    <a:pt x="1478" y="309"/>
                    <a:pt x="1478" y="309"/>
                  </a:cubicBezTo>
                  <a:cubicBezTo>
                    <a:pt x="1478" y="309"/>
                    <a:pt x="1483" y="308"/>
                    <a:pt x="1488" y="306"/>
                  </a:cubicBezTo>
                  <a:cubicBezTo>
                    <a:pt x="1494" y="306"/>
                    <a:pt x="1494" y="312"/>
                    <a:pt x="1503" y="317"/>
                  </a:cubicBezTo>
                  <a:cubicBezTo>
                    <a:pt x="1511" y="321"/>
                    <a:pt x="1523" y="314"/>
                    <a:pt x="1532" y="310"/>
                  </a:cubicBezTo>
                  <a:cubicBezTo>
                    <a:pt x="1532" y="229"/>
                    <a:pt x="1532" y="229"/>
                    <a:pt x="1532" y="229"/>
                  </a:cubicBezTo>
                  <a:lnTo>
                    <a:pt x="1522" y="230"/>
                  </a:lnTo>
                  <a:close/>
                  <a:moveTo>
                    <a:pt x="375" y="212"/>
                  </a:moveTo>
                  <a:cubicBezTo>
                    <a:pt x="373" y="220"/>
                    <a:pt x="367" y="219"/>
                    <a:pt x="367" y="219"/>
                  </a:cubicBezTo>
                  <a:cubicBezTo>
                    <a:pt x="367" y="219"/>
                    <a:pt x="377" y="237"/>
                    <a:pt x="372" y="240"/>
                  </a:cubicBezTo>
                  <a:cubicBezTo>
                    <a:pt x="366" y="243"/>
                    <a:pt x="357" y="240"/>
                    <a:pt x="357" y="240"/>
                  </a:cubicBezTo>
                  <a:cubicBezTo>
                    <a:pt x="346" y="241"/>
                    <a:pt x="346" y="241"/>
                    <a:pt x="346" y="241"/>
                  </a:cubicBezTo>
                  <a:cubicBezTo>
                    <a:pt x="340" y="250"/>
                    <a:pt x="340" y="250"/>
                    <a:pt x="340" y="250"/>
                  </a:cubicBezTo>
                  <a:cubicBezTo>
                    <a:pt x="340" y="250"/>
                    <a:pt x="350" y="264"/>
                    <a:pt x="341" y="264"/>
                  </a:cubicBezTo>
                  <a:cubicBezTo>
                    <a:pt x="334" y="265"/>
                    <a:pt x="324" y="264"/>
                    <a:pt x="324" y="264"/>
                  </a:cubicBezTo>
                  <a:cubicBezTo>
                    <a:pt x="324" y="252"/>
                    <a:pt x="324" y="252"/>
                    <a:pt x="324" y="252"/>
                  </a:cubicBezTo>
                  <a:cubicBezTo>
                    <a:pt x="316" y="248"/>
                    <a:pt x="316" y="248"/>
                    <a:pt x="316" y="248"/>
                  </a:cubicBezTo>
                  <a:cubicBezTo>
                    <a:pt x="316" y="248"/>
                    <a:pt x="319" y="242"/>
                    <a:pt x="313" y="237"/>
                  </a:cubicBezTo>
                  <a:cubicBezTo>
                    <a:pt x="307" y="232"/>
                    <a:pt x="299" y="226"/>
                    <a:pt x="299" y="226"/>
                  </a:cubicBezTo>
                  <a:cubicBezTo>
                    <a:pt x="299" y="226"/>
                    <a:pt x="299" y="220"/>
                    <a:pt x="295" y="215"/>
                  </a:cubicBezTo>
                  <a:cubicBezTo>
                    <a:pt x="291" y="209"/>
                    <a:pt x="266" y="203"/>
                    <a:pt x="266" y="198"/>
                  </a:cubicBezTo>
                  <a:cubicBezTo>
                    <a:pt x="267" y="192"/>
                    <a:pt x="277" y="188"/>
                    <a:pt x="277" y="188"/>
                  </a:cubicBezTo>
                  <a:cubicBezTo>
                    <a:pt x="275" y="178"/>
                    <a:pt x="275" y="178"/>
                    <a:pt x="275" y="178"/>
                  </a:cubicBezTo>
                  <a:cubicBezTo>
                    <a:pt x="275" y="178"/>
                    <a:pt x="285" y="174"/>
                    <a:pt x="285" y="170"/>
                  </a:cubicBezTo>
                  <a:cubicBezTo>
                    <a:pt x="285" y="164"/>
                    <a:pt x="286" y="156"/>
                    <a:pt x="286" y="156"/>
                  </a:cubicBezTo>
                  <a:cubicBezTo>
                    <a:pt x="291" y="157"/>
                    <a:pt x="297" y="158"/>
                    <a:pt x="297" y="158"/>
                  </a:cubicBezTo>
                  <a:cubicBezTo>
                    <a:pt x="301" y="163"/>
                    <a:pt x="301" y="163"/>
                    <a:pt x="301" y="163"/>
                  </a:cubicBezTo>
                  <a:cubicBezTo>
                    <a:pt x="302" y="160"/>
                    <a:pt x="302" y="160"/>
                    <a:pt x="302" y="160"/>
                  </a:cubicBezTo>
                  <a:cubicBezTo>
                    <a:pt x="310" y="160"/>
                    <a:pt x="310" y="160"/>
                    <a:pt x="310" y="160"/>
                  </a:cubicBezTo>
                  <a:cubicBezTo>
                    <a:pt x="316" y="169"/>
                    <a:pt x="316" y="169"/>
                    <a:pt x="316" y="169"/>
                  </a:cubicBezTo>
                  <a:cubicBezTo>
                    <a:pt x="319" y="166"/>
                    <a:pt x="319" y="166"/>
                    <a:pt x="319" y="166"/>
                  </a:cubicBezTo>
                  <a:cubicBezTo>
                    <a:pt x="325" y="173"/>
                    <a:pt x="325" y="173"/>
                    <a:pt x="325" y="173"/>
                  </a:cubicBezTo>
                  <a:cubicBezTo>
                    <a:pt x="315" y="173"/>
                    <a:pt x="315" y="173"/>
                    <a:pt x="315" y="173"/>
                  </a:cubicBezTo>
                  <a:cubicBezTo>
                    <a:pt x="315" y="173"/>
                    <a:pt x="313" y="176"/>
                    <a:pt x="316" y="177"/>
                  </a:cubicBezTo>
                  <a:cubicBezTo>
                    <a:pt x="319" y="178"/>
                    <a:pt x="321" y="175"/>
                    <a:pt x="321" y="175"/>
                  </a:cubicBezTo>
                  <a:cubicBezTo>
                    <a:pt x="321" y="175"/>
                    <a:pt x="341" y="173"/>
                    <a:pt x="349" y="178"/>
                  </a:cubicBezTo>
                  <a:cubicBezTo>
                    <a:pt x="355" y="185"/>
                    <a:pt x="356" y="189"/>
                    <a:pt x="356" y="189"/>
                  </a:cubicBezTo>
                  <a:cubicBezTo>
                    <a:pt x="366" y="194"/>
                    <a:pt x="366" y="194"/>
                    <a:pt x="366" y="194"/>
                  </a:cubicBezTo>
                  <a:cubicBezTo>
                    <a:pt x="369" y="204"/>
                    <a:pt x="369" y="204"/>
                    <a:pt x="369" y="204"/>
                  </a:cubicBezTo>
                  <a:cubicBezTo>
                    <a:pt x="369" y="204"/>
                    <a:pt x="376" y="205"/>
                    <a:pt x="375" y="212"/>
                  </a:cubicBezTo>
                  <a:close/>
                  <a:moveTo>
                    <a:pt x="464" y="146"/>
                  </a:moveTo>
                  <a:cubicBezTo>
                    <a:pt x="462" y="151"/>
                    <a:pt x="462" y="158"/>
                    <a:pt x="462" y="158"/>
                  </a:cubicBezTo>
                  <a:cubicBezTo>
                    <a:pt x="449" y="160"/>
                    <a:pt x="449" y="160"/>
                    <a:pt x="449" y="160"/>
                  </a:cubicBezTo>
                  <a:cubicBezTo>
                    <a:pt x="449" y="160"/>
                    <a:pt x="454" y="151"/>
                    <a:pt x="446" y="142"/>
                  </a:cubicBezTo>
                  <a:cubicBezTo>
                    <a:pt x="437" y="132"/>
                    <a:pt x="425" y="131"/>
                    <a:pt x="425" y="131"/>
                  </a:cubicBezTo>
                  <a:cubicBezTo>
                    <a:pt x="408" y="128"/>
                    <a:pt x="408" y="128"/>
                    <a:pt x="408" y="128"/>
                  </a:cubicBezTo>
                  <a:cubicBezTo>
                    <a:pt x="388" y="111"/>
                    <a:pt x="388" y="111"/>
                    <a:pt x="388" y="111"/>
                  </a:cubicBezTo>
                  <a:cubicBezTo>
                    <a:pt x="398" y="117"/>
                    <a:pt x="398" y="117"/>
                    <a:pt x="398" y="117"/>
                  </a:cubicBezTo>
                  <a:cubicBezTo>
                    <a:pt x="401" y="117"/>
                    <a:pt x="401" y="117"/>
                    <a:pt x="401" y="117"/>
                  </a:cubicBezTo>
                  <a:cubicBezTo>
                    <a:pt x="401" y="108"/>
                    <a:pt x="401" y="108"/>
                    <a:pt x="401" y="108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89" y="101"/>
                    <a:pt x="389" y="101"/>
                    <a:pt x="389" y="101"/>
                  </a:cubicBezTo>
                  <a:cubicBezTo>
                    <a:pt x="381" y="92"/>
                    <a:pt x="381" y="92"/>
                    <a:pt x="381" y="92"/>
                  </a:cubicBezTo>
                  <a:cubicBezTo>
                    <a:pt x="373" y="84"/>
                    <a:pt x="373" y="84"/>
                    <a:pt x="373" y="84"/>
                  </a:cubicBezTo>
                  <a:cubicBezTo>
                    <a:pt x="375" y="84"/>
                    <a:pt x="375" y="84"/>
                    <a:pt x="375" y="84"/>
                  </a:cubicBezTo>
                  <a:cubicBezTo>
                    <a:pt x="384" y="90"/>
                    <a:pt x="384" y="90"/>
                    <a:pt x="384" y="90"/>
                  </a:cubicBezTo>
                  <a:cubicBezTo>
                    <a:pt x="386" y="95"/>
                    <a:pt x="386" y="95"/>
                    <a:pt x="386" y="95"/>
                  </a:cubicBezTo>
                  <a:cubicBezTo>
                    <a:pt x="401" y="103"/>
                    <a:pt x="401" y="103"/>
                    <a:pt x="401" y="103"/>
                  </a:cubicBezTo>
                  <a:cubicBezTo>
                    <a:pt x="401" y="100"/>
                    <a:pt x="401" y="100"/>
                    <a:pt x="401" y="100"/>
                  </a:cubicBezTo>
                  <a:cubicBezTo>
                    <a:pt x="395" y="92"/>
                    <a:pt x="395" y="92"/>
                    <a:pt x="395" y="92"/>
                  </a:cubicBezTo>
                  <a:cubicBezTo>
                    <a:pt x="399" y="92"/>
                    <a:pt x="399" y="92"/>
                    <a:pt x="399" y="92"/>
                  </a:cubicBezTo>
                  <a:cubicBezTo>
                    <a:pt x="385" y="80"/>
                    <a:pt x="385" y="80"/>
                    <a:pt x="385" y="80"/>
                  </a:cubicBezTo>
                  <a:cubicBezTo>
                    <a:pt x="398" y="87"/>
                    <a:pt x="398" y="87"/>
                    <a:pt x="398" y="87"/>
                  </a:cubicBezTo>
                  <a:cubicBezTo>
                    <a:pt x="385" y="72"/>
                    <a:pt x="385" y="72"/>
                    <a:pt x="385" y="72"/>
                  </a:cubicBezTo>
                  <a:cubicBezTo>
                    <a:pt x="385" y="72"/>
                    <a:pt x="401" y="83"/>
                    <a:pt x="402" y="87"/>
                  </a:cubicBezTo>
                  <a:cubicBezTo>
                    <a:pt x="404" y="90"/>
                    <a:pt x="411" y="96"/>
                    <a:pt x="413" y="97"/>
                  </a:cubicBezTo>
                  <a:cubicBezTo>
                    <a:pt x="414" y="97"/>
                    <a:pt x="414" y="94"/>
                    <a:pt x="414" y="94"/>
                  </a:cubicBezTo>
                  <a:cubicBezTo>
                    <a:pt x="414" y="94"/>
                    <a:pt x="407" y="90"/>
                    <a:pt x="408" y="88"/>
                  </a:cubicBezTo>
                  <a:cubicBezTo>
                    <a:pt x="409" y="85"/>
                    <a:pt x="422" y="94"/>
                    <a:pt x="422" y="84"/>
                  </a:cubicBezTo>
                  <a:cubicBezTo>
                    <a:pt x="423" y="75"/>
                    <a:pt x="411" y="66"/>
                    <a:pt x="411" y="66"/>
                  </a:cubicBezTo>
                  <a:cubicBezTo>
                    <a:pt x="405" y="66"/>
                    <a:pt x="405" y="66"/>
                    <a:pt x="405" y="66"/>
                  </a:cubicBezTo>
                  <a:cubicBezTo>
                    <a:pt x="397" y="63"/>
                    <a:pt x="397" y="63"/>
                    <a:pt x="397" y="63"/>
                  </a:cubicBezTo>
                  <a:cubicBezTo>
                    <a:pt x="393" y="63"/>
                    <a:pt x="393" y="63"/>
                    <a:pt x="393" y="63"/>
                  </a:cubicBezTo>
                  <a:cubicBezTo>
                    <a:pt x="404" y="77"/>
                    <a:pt x="404" y="77"/>
                    <a:pt x="404" y="77"/>
                  </a:cubicBezTo>
                  <a:cubicBezTo>
                    <a:pt x="404" y="77"/>
                    <a:pt x="374" y="54"/>
                    <a:pt x="376" y="52"/>
                  </a:cubicBezTo>
                  <a:cubicBezTo>
                    <a:pt x="379" y="49"/>
                    <a:pt x="385" y="54"/>
                    <a:pt x="385" y="54"/>
                  </a:cubicBezTo>
                  <a:cubicBezTo>
                    <a:pt x="385" y="54"/>
                    <a:pt x="390" y="52"/>
                    <a:pt x="393" y="53"/>
                  </a:cubicBezTo>
                  <a:cubicBezTo>
                    <a:pt x="397" y="53"/>
                    <a:pt x="407" y="59"/>
                    <a:pt x="407" y="59"/>
                  </a:cubicBezTo>
                  <a:cubicBezTo>
                    <a:pt x="407" y="59"/>
                    <a:pt x="421" y="56"/>
                    <a:pt x="426" y="66"/>
                  </a:cubicBezTo>
                  <a:cubicBezTo>
                    <a:pt x="433" y="76"/>
                    <a:pt x="424" y="88"/>
                    <a:pt x="429" y="91"/>
                  </a:cubicBezTo>
                  <a:cubicBezTo>
                    <a:pt x="433" y="94"/>
                    <a:pt x="440" y="104"/>
                    <a:pt x="440" y="104"/>
                  </a:cubicBezTo>
                  <a:cubicBezTo>
                    <a:pt x="447" y="104"/>
                    <a:pt x="447" y="104"/>
                    <a:pt x="447" y="104"/>
                  </a:cubicBezTo>
                  <a:cubicBezTo>
                    <a:pt x="448" y="111"/>
                    <a:pt x="448" y="111"/>
                    <a:pt x="448" y="111"/>
                  </a:cubicBezTo>
                  <a:cubicBezTo>
                    <a:pt x="448" y="111"/>
                    <a:pt x="466" y="116"/>
                    <a:pt x="468" y="126"/>
                  </a:cubicBezTo>
                  <a:cubicBezTo>
                    <a:pt x="470" y="136"/>
                    <a:pt x="467" y="141"/>
                    <a:pt x="464" y="146"/>
                  </a:cubicBezTo>
                  <a:close/>
                  <a:moveTo>
                    <a:pt x="109" y="652"/>
                  </a:moveTo>
                  <a:cubicBezTo>
                    <a:pt x="109" y="652"/>
                    <a:pt x="117" y="647"/>
                    <a:pt x="113" y="644"/>
                  </a:cubicBezTo>
                  <a:cubicBezTo>
                    <a:pt x="110" y="642"/>
                    <a:pt x="101" y="635"/>
                    <a:pt x="101" y="635"/>
                  </a:cubicBezTo>
                  <a:cubicBezTo>
                    <a:pt x="90" y="635"/>
                    <a:pt x="90" y="635"/>
                    <a:pt x="90" y="635"/>
                  </a:cubicBezTo>
                  <a:cubicBezTo>
                    <a:pt x="80" y="639"/>
                    <a:pt x="80" y="639"/>
                    <a:pt x="80" y="639"/>
                  </a:cubicBezTo>
                  <a:cubicBezTo>
                    <a:pt x="79" y="635"/>
                    <a:pt x="79" y="635"/>
                    <a:pt x="79" y="635"/>
                  </a:cubicBezTo>
                  <a:cubicBezTo>
                    <a:pt x="79" y="635"/>
                    <a:pt x="73" y="637"/>
                    <a:pt x="69" y="634"/>
                  </a:cubicBezTo>
                  <a:cubicBezTo>
                    <a:pt x="64" y="632"/>
                    <a:pt x="62" y="631"/>
                    <a:pt x="62" y="631"/>
                  </a:cubicBezTo>
                  <a:cubicBezTo>
                    <a:pt x="56" y="632"/>
                    <a:pt x="56" y="632"/>
                    <a:pt x="56" y="632"/>
                  </a:cubicBezTo>
                  <a:cubicBezTo>
                    <a:pt x="51" y="628"/>
                    <a:pt x="51" y="628"/>
                    <a:pt x="51" y="628"/>
                  </a:cubicBezTo>
                  <a:cubicBezTo>
                    <a:pt x="49" y="633"/>
                    <a:pt x="49" y="633"/>
                    <a:pt x="49" y="633"/>
                  </a:cubicBezTo>
                  <a:cubicBezTo>
                    <a:pt x="46" y="633"/>
                    <a:pt x="46" y="633"/>
                    <a:pt x="46" y="633"/>
                  </a:cubicBezTo>
                  <a:cubicBezTo>
                    <a:pt x="51" y="649"/>
                    <a:pt x="51" y="649"/>
                    <a:pt x="51" y="649"/>
                  </a:cubicBezTo>
                  <a:cubicBezTo>
                    <a:pt x="44" y="653"/>
                    <a:pt x="44" y="653"/>
                    <a:pt x="44" y="653"/>
                  </a:cubicBezTo>
                  <a:cubicBezTo>
                    <a:pt x="37" y="653"/>
                    <a:pt x="37" y="653"/>
                    <a:pt x="37" y="653"/>
                  </a:cubicBezTo>
                  <a:cubicBezTo>
                    <a:pt x="37" y="653"/>
                    <a:pt x="33" y="652"/>
                    <a:pt x="32" y="652"/>
                  </a:cubicBezTo>
                  <a:cubicBezTo>
                    <a:pt x="31" y="652"/>
                    <a:pt x="24" y="653"/>
                    <a:pt x="24" y="653"/>
                  </a:cubicBezTo>
                  <a:cubicBezTo>
                    <a:pt x="36" y="636"/>
                    <a:pt x="36" y="636"/>
                    <a:pt x="36" y="636"/>
                  </a:cubicBezTo>
                  <a:cubicBezTo>
                    <a:pt x="36" y="632"/>
                    <a:pt x="36" y="632"/>
                    <a:pt x="36" y="632"/>
                  </a:cubicBezTo>
                  <a:cubicBezTo>
                    <a:pt x="41" y="627"/>
                    <a:pt x="41" y="627"/>
                    <a:pt x="41" y="627"/>
                  </a:cubicBezTo>
                  <a:cubicBezTo>
                    <a:pt x="39" y="625"/>
                    <a:pt x="39" y="625"/>
                    <a:pt x="39" y="625"/>
                  </a:cubicBezTo>
                  <a:cubicBezTo>
                    <a:pt x="37" y="626"/>
                    <a:pt x="37" y="626"/>
                    <a:pt x="37" y="626"/>
                  </a:cubicBezTo>
                  <a:cubicBezTo>
                    <a:pt x="32" y="636"/>
                    <a:pt x="32" y="636"/>
                    <a:pt x="32" y="636"/>
                  </a:cubicBezTo>
                  <a:cubicBezTo>
                    <a:pt x="23" y="649"/>
                    <a:pt x="23" y="649"/>
                    <a:pt x="23" y="649"/>
                  </a:cubicBezTo>
                  <a:cubicBezTo>
                    <a:pt x="20" y="652"/>
                    <a:pt x="20" y="652"/>
                    <a:pt x="20" y="652"/>
                  </a:cubicBezTo>
                  <a:cubicBezTo>
                    <a:pt x="2" y="655"/>
                    <a:pt x="2" y="655"/>
                    <a:pt x="2" y="655"/>
                  </a:cubicBezTo>
                  <a:cubicBezTo>
                    <a:pt x="0" y="660"/>
                    <a:pt x="0" y="660"/>
                    <a:pt x="0" y="660"/>
                  </a:cubicBezTo>
                  <a:cubicBezTo>
                    <a:pt x="3" y="664"/>
                    <a:pt x="3" y="664"/>
                    <a:pt x="3" y="664"/>
                  </a:cubicBezTo>
                  <a:cubicBezTo>
                    <a:pt x="0" y="675"/>
                    <a:pt x="0" y="675"/>
                    <a:pt x="0" y="675"/>
                  </a:cubicBezTo>
                  <a:cubicBezTo>
                    <a:pt x="3" y="676"/>
                    <a:pt x="3" y="676"/>
                    <a:pt x="3" y="676"/>
                  </a:cubicBezTo>
                  <a:cubicBezTo>
                    <a:pt x="4" y="673"/>
                    <a:pt x="4" y="673"/>
                    <a:pt x="4" y="673"/>
                  </a:cubicBezTo>
                  <a:cubicBezTo>
                    <a:pt x="6" y="671"/>
                    <a:pt x="6" y="671"/>
                    <a:pt x="6" y="671"/>
                  </a:cubicBezTo>
                  <a:cubicBezTo>
                    <a:pt x="8" y="674"/>
                    <a:pt x="8" y="674"/>
                    <a:pt x="8" y="674"/>
                  </a:cubicBezTo>
                  <a:cubicBezTo>
                    <a:pt x="13" y="669"/>
                    <a:pt x="13" y="669"/>
                    <a:pt x="13" y="669"/>
                  </a:cubicBezTo>
                  <a:cubicBezTo>
                    <a:pt x="21" y="671"/>
                    <a:pt x="21" y="671"/>
                    <a:pt x="21" y="671"/>
                  </a:cubicBezTo>
                  <a:cubicBezTo>
                    <a:pt x="16" y="673"/>
                    <a:pt x="16" y="673"/>
                    <a:pt x="16" y="673"/>
                  </a:cubicBezTo>
                  <a:cubicBezTo>
                    <a:pt x="16" y="675"/>
                    <a:pt x="16" y="675"/>
                    <a:pt x="16" y="675"/>
                  </a:cubicBezTo>
                  <a:cubicBezTo>
                    <a:pt x="8" y="680"/>
                    <a:pt x="8" y="680"/>
                    <a:pt x="8" y="680"/>
                  </a:cubicBezTo>
                  <a:cubicBezTo>
                    <a:pt x="6" y="679"/>
                    <a:pt x="6" y="679"/>
                    <a:pt x="6" y="679"/>
                  </a:cubicBezTo>
                  <a:cubicBezTo>
                    <a:pt x="3" y="687"/>
                    <a:pt x="3" y="687"/>
                    <a:pt x="3" y="687"/>
                  </a:cubicBezTo>
                  <a:cubicBezTo>
                    <a:pt x="11" y="687"/>
                    <a:pt x="45" y="689"/>
                    <a:pt x="58" y="688"/>
                  </a:cubicBezTo>
                  <a:cubicBezTo>
                    <a:pt x="74" y="688"/>
                    <a:pt x="113" y="678"/>
                    <a:pt x="113" y="678"/>
                  </a:cubicBezTo>
                  <a:cubicBezTo>
                    <a:pt x="113" y="678"/>
                    <a:pt x="106" y="671"/>
                    <a:pt x="107" y="663"/>
                  </a:cubicBezTo>
                  <a:cubicBezTo>
                    <a:pt x="107" y="657"/>
                    <a:pt x="109" y="652"/>
                    <a:pt x="109" y="652"/>
                  </a:cubicBezTo>
                  <a:close/>
                  <a:moveTo>
                    <a:pt x="244" y="266"/>
                  </a:moveTo>
                  <a:cubicBezTo>
                    <a:pt x="246" y="263"/>
                    <a:pt x="246" y="263"/>
                    <a:pt x="246" y="263"/>
                  </a:cubicBezTo>
                  <a:cubicBezTo>
                    <a:pt x="238" y="259"/>
                    <a:pt x="238" y="259"/>
                    <a:pt x="238" y="259"/>
                  </a:cubicBezTo>
                  <a:cubicBezTo>
                    <a:pt x="239" y="264"/>
                    <a:pt x="239" y="264"/>
                    <a:pt x="239" y="264"/>
                  </a:cubicBezTo>
                  <a:lnTo>
                    <a:pt x="244" y="266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6" name="Finnland" descr="© INSCALE GmbH, 05.05.2010&#10;http://www.presentationload.com/">
              <a:extLst>
                <a:ext uri="{FF2B5EF4-FFF2-40B4-BE49-F238E27FC236}">
                  <a16:creationId xmlns:a16="http://schemas.microsoft.com/office/drawing/2014/main" id="{98E8FB96-A794-40DC-89EC-44711FBB12E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377918" y="783432"/>
              <a:ext cx="1387108" cy="952644"/>
            </a:xfrm>
            <a:custGeom>
              <a:avLst/>
              <a:gdLst/>
              <a:ahLst/>
              <a:cxnLst>
                <a:cxn ang="0">
                  <a:pos x="25" y="116"/>
                </a:cxn>
                <a:cxn ang="0">
                  <a:pos x="27" y="322"/>
                </a:cxn>
                <a:cxn ang="0">
                  <a:pos x="19" y="322"/>
                </a:cxn>
                <a:cxn ang="0">
                  <a:pos x="54" y="282"/>
                </a:cxn>
                <a:cxn ang="0">
                  <a:pos x="62" y="289"/>
                </a:cxn>
                <a:cxn ang="0">
                  <a:pos x="60" y="109"/>
                </a:cxn>
                <a:cxn ang="0">
                  <a:pos x="17" y="312"/>
                </a:cxn>
                <a:cxn ang="0">
                  <a:pos x="18" y="305"/>
                </a:cxn>
                <a:cxn ang="0">
                  <a:pos x="11" y="312"/>
                </a:cxn>
                <a:cxn ang="0">
                  <a:pos x="13" y="325"/>
                </a:cxn>
                <a:cxn ang="0">
                  <a:pos x="17" y="312"/>
                </a:cxn>
                <a:cxn ang="0">
                  <a:pos x="76" y="309"/>
                </a:cxn>
                <a:cxn ang="0">
                  <a:pos x="76" y="309"/>
                </a:cxn>
                <a:cxn ang="0">
                  <a:pos x="230" y="272"/>
                </a:cxn>
                <a:cxn ang="0">
                  <a:pos x="329" y="59"/>
                </a:cxn>
                <a:cxn ang="0">
                  <a:pos x="289" y="25"/>
                </a:cxn>
                <a:cxn ang="0">
                  <a:pos x="110" y="10"/>
                </a:cxn>
                <a:cxn ang="0">
                  <a:pos x="92" y="50"/>
                </a:cxn>
                <a:cxn ang="0">
                  <a:pos x="77" y="73"/>
                </a:cxn>
                <a:cxn ang="0">
                  <a:pos x="68" y="76"/>
                </a:cxn>
                <a:cxn ang="0">
                  <a:pos x="65" y="91"/>
                </a:cxn>
                <a:cxn ang="0">
                  <a:pos x="61" y="99"/>
                </a:cxn>
                <a:cxn ang="0">
                  <a:pos x="43" y="117"/>
                </a:cxn>
                <a:cxn ang="0">
                  <a:pos x="38" y="137"/>
                </a:cxn>
                <a:cxn ang="0">
                  <a:pos x="35" y="159"/>
                </a:cxn>
                <a:cxn ang="0">
                  <a:pos x="46" y="201"/>
                </a:cxn>
                <a:cxn ang="0">
                  <a:pos x="57" y="217"/>
                </a:cxn>
                <a:cxn ang="0">
                  <a:pos x="52" y="227"/>
                </a:cxn>
                <a:cxn ang="0">
                  <a:pos x="58" y="253"/>
                </a:cxn>
                <a:cxn ang="0">
                  <a:pos x="50" y="268"/>
                </a:cxn>
                <a:cxn ang="0">
                  <a:pos x="60" y="283"/>
                </a:cxn>
                <a:cxn ang="0">
                  <a:pos x="73" y="290"/>
                </a:cxn>
                <a:cxn ang="0">
                  <a:pos x="94" y="293"/>
                </a:cxn>
                <a:cxn ang="0">
                  <a:pos x="114" y="294"/>
                </a:cxn>
                <a:cxn ang="0">
                  <a:pos x="120" y="311"/>
                </a:cxn>
                <a:cxn ang="0">
                  <a:pos x="122" y="317"/>
                </a:cxn>
                <a:cxn ang="0">
                  <a:pos x="132" y="318"/>
                </a:cxn>
                <a:cxn ang="0">
                  <a:pos x="164" y="305"/>
                </a:cxn>
                <a:cxn ang="0">
                  <a:pos x="185" y="290"/>
                </a:cxn>
                <a:cxn ang="0">
                  <a:pos x="208" y="279"/>
                </a:cxn>
                <a:cxn ang="0">
                  <a:pos x="223" y="272"/>
                </a:cxn>
                <a:cxn ang="0">
                  <a:pos x="246" y="257"/>
                </a:cxn>
                <a:cxn ang="0">
                  <a:pos x="286" y="221"/>
                </a:cxn>
                <a:cxn ang="0">
                  <a:pos x="326" y="140"/>
                </a:cxn>
                <a:cxn ang="0">
                  <a:pos x="207" y="289"/>
                </a:cxn>
                <a:cxn ang="0">
                  <a:pos x="228" y="274"/>
                </a:cxn>
                <a:cxn ang="0">
                  <a:pos x="85" y="309"/>
                </a:cxn>
                <a:cxn ang="0">
                  <a:pos x="73" y="298"/>
                </a:cxn>
                <a:cxn ang="0">
                  <a:pos x="76" y="293"/>
                </a:cxn>
                <a:cxn ang="0">
                  <a:pos x="138" y="322"/>
                </a:cxn>
                <a:cxn ang="0">
                  <a:pos x="102" y="305"/>
                </a:cxn>
                <a:cxn ang="0">
                  <a:pos x="96" y="319"/>
                </a:cxn>
                <a:cxn ang="0">
                  <a:pos x="112" y="299"/>
                </a:cxn>
              </a:cxnLst>
              <a:rect l="0" t="0" r="r" b="b"/>
              <a:pathLst>
                <a:path w="345" h="329">
                  <a:moveTo>
                    <a:pt x="35" y="117"/>
                  </a:moveTo>
                  <a:cubicBezTo>
                    <a:pt x="35" y="117"/>
                    <a:pt x="32" y="119"/>
                    <a:pt x="31" y="119"/>
                  </a:cubicBezTo>
                  <a:cubicBezTo>
                    <a:pt x="29" y="119"/>
                    <a:pt x="30" y="116"/>
                    <a:pt x="30" y="116"/>
                  </a:cubicBezTo>
                  <a:cubicBezTo>
                    <a:pt x="29" y="114"/>
                    <a:pt x="29" y="114"/>
                    <a:pt x="29" y="114"/>
                  </a:cubicBezTo>
                  <a:cubicBezTo>
                    <a:pt x="25" y="116"/>
                    <a:pt x="25" y="116"/>
                    <a:pt x="25" y="116"/>
                  </a:cubicBezTo>
                  <a:cubicBezTo>
                    <a:pt x="29" y="123"/>
                    <a:pt x="29" y="123"/>
                    <a:pt x="29" y="123"/>
                  </a:cubicBezTo>
                  <a:cubicBezTo>
                    <a:pt x="34" y="124"/>
                    <a:pt x="37" y="121"/>
                    <a:pt x="37" y="121"/>
                  </a:cubicBezTo>
                  <a:lnTo>
                    <a:pt x="35" y="117"/>
                  </a:lnTo>
                  <a:close/>
                  <a:moveTo>
                    <a:pt x="26" y="318"/>
                  </a:moveTo>
                  <a:cubicBezTo>
                    <a:pt x="24" y="319"/>
                    <a:pt x="24" y="322"/>
                    <a:pt x="27" y="322"/>
                  </a:cubicBezTo>
                  <a:cubicBezTo>
                    <a:pt x="29" y="321"/>
                    <a:pt x="29" y="317"/>
                    <a:pt x="26" y="318"/>
                  </a:cubicBezTo>
                  <a:close/>
                  <a:moveTo>
                    <a:pt x="18" y="325"/>
                  </a:moveTo>
                  <a:cubicBezTo>
                    <a:pt x="24" y="329"/>
                    <a:pt x="24" y="329"/>
                    <a:pt x="24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19" y="322"/>
                    <a:pt x="19" y="322"/>
                    <a:pt x="19" y="322"/>
                  </a:cubicBezTo>
                  <a:lnTo>
                    <a:pt x="18" y="325"/>
                  </a:lnTo>
                  <a:close/>
                  <a:moveTo>
                    <a:pt x="53" y="283"/>
                  </a:moveTo>
                  <a:cubicBezTo>
                    <a:pt x="56" y="286"/>
                    <a:pt x="56" y="286"/>
                    <a:pt x="56" y="286"/>
                  </a:cubicBezTo>
                  <a:cubicBezTo>
                    <a:pt x="57" y="283"/>
                    <a:pt x="57" y="283"/>
                    <a:pt x="57" y="283"/>
                  </a:cubicBezTo>
                  <a:cubicBezTo>
                    <a:pt x="54" y="282"/>
                    <a:pt x="54" y="282"/>
                    <a:pt x="54" y="282"/>
                  </a:cubicBezTo>
                  <a:lnTo>
                    <a:pt x="53" y="283"/>
                  </a:lnTo>
                  <a:close/>
                  <a:moveTo>
                    <a:pt x="62" y="289"/>
                  </a:moveTo>
                  <a:cubicBezTo>
                    <a:pt x="58" y="286"/>
                    <a:pt x="57" y="285"/>
                    <a:pt x="58" y="287"/>
                  </a:cubicBezTo>
                  <a:cubicBezTo>
                    <a:pt x="60" y="292"/>
                    <a:pt x="60" y="292"/>
                    <a:pt x="60" y="292"/>
                  </a:cubicBezTo>
                  <a:cubicBezTo>
                    <a:pt x="65" y="292"/>
                    <a:pt x="65" y="292"/>
                    <a:pt x="62" y="289"/>
                  </a:cubicBezTo>
                  <a:close/>
                  <a:moveTo>
                    <a:pt x="60" y="109"/>
                  </a:moveTo>
                  <a:cubicBezTo>
                    <a:pt x="56" y="107"/>
                    <a:pt x="56" y="107"/>
                    <a:pt x="56" y="107"/>
                  </a:cubicBezTo>
                  <a:cubicBezTo>
                    <a:pt x="53" y="111"/>
                    <a:pt x="53" y="111"/>
                    <a:pt x="53" y="111"/>
                  </a:cubicBezTo>
                  <a:cubicBezTo>
                    <a:pt x="57" y="111"/>
                    <a:pt x="57" y="111"/>
                    <a:pt x="57" y="111"/>
                  </a:cubicBezTo>
                  <a:lnTo>
                    <a:pt x="60" y="109"/>
                  </a:lnTo>
                  <a:close/>
                  <a:moveTo>
                    <a:pt x="35" y="111"/>
                  </a:moveTo>
                  <a:cubicBezTo>
                    <a:pt x="30" y="112"/>
                    <a:pt x="30" y="112"/>
                    <a:pt x="30" y="112"/>
                  </a:cubicBezTo>
                  <a:cubicBezTo>
                    <a:pt x="33" y="115"/>
                    <a:pt x="33" y="115"/>
                    <a:pt x="33" y="115"/>
                  </a:cubicBezTo>
                  <a:lnTo>
                    <a:pt x="35" y="111"/>
                  </a:lnTo>
                  <a:close/>
                  <a:moveTo>
                    <a:pt x="17" y="312"/>
                  </a:moveTo>
                  <a:cubicBezTo>
                    <a:pt x="17" y="312"/>
                    <a:pt x="17" y="314"/>
                    <a:pt x="18" y="316"/>
                  </a:cubicBezTo>
                  <a:cubicBezTo>
                    <a:pt x="19" y="317"/>
                    <a:pt x="24" y="315"/>
                    <a:pt x="24" y="315"/>
                  </a:cubicBezTo>
                  <a:cubicBezTo>
                    <a:pt x="23" y="308"/>
                    <a:pt x="23" y="308"/>
                    <a:pt x="23" y="308"/>
                  </a:cubicBezTo>
                  <a:cubicBezTo>
                    <a:pt x="18" y="308"/>
                    <a:pt x="18" y="308"/>
                    <a:pt x="18" y="308"/>
                  </a:cubicBezTo>
                  <a:cubicBezTo>
                    <a:pt x="18" y="305"/>
                    <a:pt x="18" y="305"/>
                    <a:pt x="18" y="305"/>
                  </a:cubicBezTo>
                  <a:cubicBezTo>
                    <a:pt x="14" y="306"/>
                    <a:pt x="14" y="306"/>
                    <a:pt x="14" y="306"/>
                  </a:cubicBezTo>
                  <a:cubicBezTo>
                    <a:pt x="14" y="306"/>
                    <a:pt x="13" y="304"/>
                    <a:pt x="13" y="302"/>
                  </a:cubicBezTo>
                  <a:cubicBezTo>
                    <a:pt x="13" y="301"/>
                    <a:pt x="10" y="299"/>
                    <a:pt x="8" y="303"/>
                  </a:cubicBezTo>
                  <a:cubicBezTo>
                    <a:pt x="8" y="306"/>
                    <a:pt x="8" y="306"/>
                    <a:pt x="8" y="306"/>
                  </a:cubicBezTo>
                  <a:cubicBezTo>
                    <a:pt x="11" y="312"/>
                    <a:pt x="11" y="312"/>
                    <a:pt x="11" y="312"/>
                  </a:cubicBezTo>
                  <a:cubicBezTo>
                    <a:pt x="8" y="314"/>
                    <a:pt x="8" y="314"/>
                    <a:pt x="8" y="314"/>
                  </a:cubicBezTo>
                  <a:cubicBezTo>
                    <a:pt x="7" y="310"/>
                    <a:pt x="7" y="310"/>
                    <a:pt x="7" y="310"/>
                  </a:cubicBezTo>
                  <a:cubicBezTo>
                    <a:pt x="4" y="313"/>
                    <a:pt x="4" y="313"/>
                    <a:pt x="4" y="313"/>
                  </a:cubicBezTo>
                  <a:cubicBezTo>
                    <a:pt x="9" y="324"/>
                    <a:pt x="9" y="324"/>
                    <a:pt x="9" y="324"/>
                  </a:cubicBezTo>
                  <a:cubicBezTo>
                    <a:pt x="13" y="325"/>
                    <a:pt x="13" y="325"/>
                    <a:pt x="13" y="325"/>
                  </a:cubicBezTo>
                  <a:cubicBezTo>
                    <a:pt x="17" y="321"/>
                    <a:pt x="17" y="321"/>
                    <a:pt x="17" y="321"/>
                  </a:cubicBezTo>
                  <a:cubicBezTo>
                    <a:pt x="17" y="317"/>
                    <a:pt x="17" y="317"/>
                    <a:pt x="17" y="317"/>
                  </a:cubicBezTo>
                  <a:cubicBezTo>
                    <a:pt x="15" y="317"/>
                    <a:pt x="15" y="317"/>
                    <a:pt x="15" y="317"/>
                  </a:cubicBezTo>
                  <a:cubicBezTo>
                    <a:pt x="15" y="313"/>
                    <a:pt x="15" y="313"/>
                    <a:pt x="15" y="313"/>
                  </a:cubicBezTo>
                  <a:lnTo>
                    <a:pt x="17" y="312"/>
                  </a:lnTo>
                  <a:close/>
                  <a:moveTo>
                    <a:pt x="0" y="321"/>
                  </a:moveTo>
                  <a:cubicBezTo>
                    <a:pt x="4" y="319"/>
                    <a:pt x="4" y="319"/>
                    <a:pt x="4" y="319"/>
                  </a:cubicBezTo>
                  <a:cubicBezTo>
                    <a:pt x="2" y="313"/>
                    <a:pt x="2" y="313"/>
                    <a:pt x="2" y="313"/>
                  </a:cubicBezTo>
                  <a:lnTo>
                    <a:pt x="0" y="321"/>
                  </a:lnTo>
                  <a:close/>
                  <a:moveTo>
                    <a:pt x="76" y="309"/>
                  </a:moveTo>
                  <a:cubicBezTo>
                    <a:pt x="74" y="310"/>
                    <a:pt x="75" y="312"/>
                    <a:pt x="75" y="312"/>
                  </a:cubicBezTo>
                  <a:cubicBezTo>
                    <a:pt x="73" y="314"/>
                    <a:pt x="73" y="314"/>
                    <a:pt x="73" y="314"/>
                  </a:cubicBezTo>
                  <a:cubicBezTo>
                    <a:pt x="74" y="315"/>
                    <a:pt x="74" y="315"/>
                    <a:pt x="74" y="315"/>
                  </a:cubicBezTo>
                  <a:cubicBezTo>
                    <a:pt x="80" y="310"/>
                    <a:pt x="80" y="310"/>
                    <a:pt x="80" y="310"/>
                  </a:cubicBezTo>
                  <a:cubicBezTo>
                    <a:pt x="80" y="310"/>
                    <a:pt x="78" y="308"/>
                    <a:pt x="76" y="309"/>
                  </a:cubicBezTo>
                  <a:close/>
                  <a:moveTo>
                    <a:pt x="70" y="312"/>
                  </a:moveTo>
                  <a:cubicBezTo>
                    <a:pt x="67" y="312"/>
                    <a:pt x="63" y="317"/>
                    <a:pt x="69" y="316"/>
                  </a:cubicBezTo>
                  <a:cubicBezTo>
                    <a:pt x="69" y="316"/>
                    <a:pt x="74" y="312"/>
                    <a:pt x="70" y="312"/>
                  </a:cubicBezTo>
                  <a:close/>
                  <a:moveTo>
                    <a:pt x="228" y="269"/>
                  </a:moveTo>
                  <a:cubicBezTo>
                    <a:pt x="230" y="272"/>
                    <a:pt x="230" y="272"/>
                    <a:pt x="230" y="272"/>
                  </a:cubicBezTo>
                  <a:cubicBezTo>
                    <a:pt x="234" y="270"/>
                    <a:pt x="234" y="270"/>
                    <a:pt x="234" y="270"/>
                  </a:cubicBezTo>
                  <a:cubicBezTo>
                    <a:pt x="233" y="268"/>
                    <a:pt x="233" y="268"/>
                    <a:pt x="233" y="268"/>
                  </a:cubicBezTo>
                  <a:lnTo>
                    <a:pt x="228" y="269"/>
                  </a:lnTo>
                  <a:close/>
                  <a:moveTo>
                    <a:pt x="332" y="67"/>
                  </a:moveTo>
                  <a:cubicBezTo>
                    <a:pt x="329" y="59"/>
                    <a:pt x="329" y="59"/>
                    <a:pt x="329" y="59"/>
                  </a:cubicBezTo>
                  <a:cubicBezTo>
                    <a:pt x="313" y="51"/>
                    <a:pt x="313" y="51"/>
                    <a:pt x="313" y="51"/>
                  </a:cubicBezTo>
                  <a:cubicBezTo>
                    <a:pt x="302" y="49"/>
                    <a:pt x="302" y="49"/>
                    <a:pt x="302" y="49"/>
                  </a:cubicBezTo>
                  <a:cubicBezTo>
                    <a:pt x="281" y="35"/>
                    <a:pt x="281" y="35"/>
                    <a:pt x="281" y="35"/>
                  </a:cubicBezTo>
                  <a:cubicBezTo>
                    <a:pt x="290" y="29"/>
                    <a:pt x="290" y="29"/>
                    <a:pt x="290" y="29"/>
                  </a:cubicBezTo>
                  <a:cubicBezTo>
                    <a:pt x="289" y="25"/>
                    <a:pt x="289" y="25"/>
                    <a:pt x="289" y="25"/>
                  </a:cubicBezTo>
                  <a:cubicBezTo>
                    <a:pt x="289" y="25"/>
                    <a:pt x="294" y="10"/>
                    <a:pt x="290" y="1"/>
                  </a:cubicBezTo>
                  <a:cubicBezTo>
                    <a:pt x="290" y="1"/>
                    <a:pt x="290" y="1"/>
                    <a:pt x="289" y="0"/>
                  </a:cubicBezTo>
                  <a:cubicBezTo>
                    <a:pt x="111" y="0"/>
                    <a:pt x="111" y="0"/>
                    <a:pt x="111" y="0"/>
                  </a:cubicBezTo>
                  <a:cubicBezTo>
                    <a:pt x="110" y="1"/>
                    <a:pt x="110" y="1"/>
                    <a:pt x="110" y="1"/>
                  </a:cubicBezTo>
                  <a:cubicBezTo>
                    <a:pt x="110" y="10"/>
                    <a:pt x="110" y="10"/>
                    <a:pt x="110" y="10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8" y="21"/>
                    <a:pt x="108" y="21"/>
                    <a:pt x="108" y="21"/>
                  </a:cubicBezTo>
                  <a:cubicBezTo>
                    <a:pt x="105" y="22"/>
                    <a:pt x="105" y="22"/>
                    <a:pt x="105" y="22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64"/>
                    <a:pt x="87" y="64"/>
                    <a:pt x="87" y="64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77" y="73"/>
                    <a:pt x="77" y="73"/>
                    <a:pt x="77" y="73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1" y="69"/>
                    <a:pt x="71" y="69"/>
                    <a:pt x="71" y="69"/>
                  </a:cubicBezTo>
                  <a:cubicBezTo>
                    <a:pt x="71" y="72"/>
                    <a:pt x="71" y="72"/>
                    <a:pt x="71" y="72"/>
                  </a:cubicBezTo>
                  <a:cubicBezTo>
                    <a:pt x="69" y="73"/>
                    <a:pt x="69" y="73"/>
                    <a:pt x="69" y="73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6" y="77"/>
                    <a:pt x="76" y="77"/>
                    <a:pt x="76" y="77"/>
                  </a:cubicBezTo>
                  <a:cubicBezTo>
                    <a:pt x="74" y="85"/>
                    <a:pt x="74" y="85"/>
                    <a:pt x="74" y="85"/>
                  </a:cubicBezTo>
                  <a:cubicBezTo>
                    <a:pt x="74" y="85"/>
                    <a:pt x="70" y="81"/>
                    <a:pt x="67" y="83"/>
                  </a:cubicBezTo>
                  <a:cubicBezTo>
                    <a:pt x="63" y="85"/>
                    <a:pt x="65" y="91"/>
                    <a:pt x="65" y="91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4" y="96"/>
                    <a:pt x="63" y="97"/>
                    <a:pt x="63" y="97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59" y="93"/>
                    <a:pt x="59" y="93"/>
                    <a:pt x="59" y="93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58" y="99"/>
                    <a:pt x="62" y="110"/>
                    <a:pt x="61" y="112"/>
                  </a:cubicBezTo>
                  <a:cubicBezTo>
                    <a:pt x="60" y="115"/>
                    <a:pt x="54" y="113"/>
                    <a:pt x="52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7"/>
                    <a:pt x="43" y="117"/>
                  </a:cubicBezTo>
                  <a:cubicBezTo>
                    <a:pt x="42" y="117"/>
                    <a:pt x="40" y="114"/>
                    <a:pt x="40" y="114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46" y="130"/>
                    <a:pt x="46" y="130"/>
                    <a:pt x="46" y="130"/>
                  </a:cubicBezTo>
                  <a:cubicBezTo>
                    <a:pt x="40" y="129"/>
                    <a:pt x="40" y="129"/>
                    <a:pt x="40" y="129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7"/>
                    <a:pt x="40" y="139"/>
                    <a:pt x="40" y="141"/>
                  </a:cubicBezTo>
                  <a:cubicBezTo>
                    <a:pt x="40" y="142"/>
                    <a:pt x="35" y="142"/>
                    <a:pt x="35" y="142"/>
                  </a:cubicBezTo>
                  <a:cubicBezTo>
                    <a:pt x="32" y="147"/>
                    <a:pt x="32" y="147"/>
                    <a:pt x="32" y="147"/>
                  </a:cubicBezTo>
                  <a:cubicBezTo>
                    <a:pt x="31" y="159"/>
                    <a:pt x="31" y="159"/>
                    <a:pt x="31" y="159"/>
                  </a:cubicBezTo>
                  <a:cubicBezTo>
                    <a:pt x="35" y="159"/>
                    <a:pt x="35" y="159"/>
                    <a:pt x="35" y="159"/>
                  </a:cubicBezTo>
                  <a:cubicBezTo>
                    <a:pt x="35" y="159"/>
                    <a:pt x="32" y="163"/>
                    <a:pt x="33" y="168"/>
                  </a:cubicBezTo>
                  <a:cubicBezTo>
                    <a:pt x="33" y="172"/>
                    <a:pt x="41" y="174"/>
                    <a:pt x="43" y="178"/>
                  </a:cubicBezTo>
                  <a:cubicBezTo>
                    <a:pt x="46" y="183"/>
                    <a:pt x="43" y="189"/>
                    <a:pt x="43" y="189"/>
                  </a:cubicBezTo>
                  <a:cubicBezTo>
                    <a:pt x="43" y="198"/>
                    <a:pt x="43" y="198"/>
                    <a:pt x="43" y="198"/>
                  </a:cubicBezTo>
                  <a:cubicBezTo>
                    <a:pt x="46" y="201"/>
                    <a:pt x="46" y="201"/>
                    <a:pt x="46" y="201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49" y="199"/>
                    <a:pt x="49" y="205"/>
                    <a:pt x="50" y="207"/>
                  </a:cubicBezTo>
                  <a:cubicBezTo>
                    <a:pt x="51" y="210"/>
                    <a:pt x="54" y="214"/>
                    <a:pt x="54" y="214"/>
                  </a:cubicBezTo>
                  <a:cubicBezTo>
                    <a:pt x="53" y="216"/>
                    <a:pt x="53" y="216"/>
                    <a:pt x="53" y="216"/>
                  </a:cubicBezTo>
                  <a:cubicBezTo>
                    <a:pt x="57" y="217"/>
                    <a:pt x="57" y="217"/>
                    <a:pt x="57" y="217"/>
                  </a:cubicBezTo>
                  <a:cubicBezTo>
                    <a:pt x="58" y="222"/>
                    <a:pt x="58" y="222"/>
                    <a:pt x="58" y="222"/>
                  </a:cubicBezTo>
                  <a:cubicBezTo>
                    <a:pt x="53" y="221"/>
                    <a:pt x="53" y="221"/>
                    <a:pt x="53" y="221"/>
                  </a:cubicBezTo>
                  <a:cubicBezTo>
                    <a:pt x="53" y="224"/>
                    <a:pt x="53" y="224"/>
                    <a:pt x="53" y="224"/>
                  </a:cubicBezTo>
                  <a:cubicBezTo>
                    <a:pt x="56" y="227"/>
                    <a:pt x="56" y="227"/>
                    <a:pt x="56" y="227"/>
                  </a:cubicBezTo>
                  <a:cubicBezTo>
                    <a:pt x="52" y="227"/>
                    <a:pt x="52" y="227"/>
                    <a:pt x="52" y="227"/>
                  </a:cubicBezTo>
                  <a:cubicBezTo>
                    <a:pt x="56" y="232"/>
                    <a:pt x="56" y="232"/>
                    <a:pt x="56" y="232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58" y="239"/>
                    <a:pt x="58" y="239"/>
                    <a:pt x="58" y="239"/>
                  </a:cubicBezTo>
                  <a:cubicBezTo>
                    <a:pt x="58" y="239"/>
                    <a:pt x="59" y="243"/>
                    <a:pt x="57" y="246"/>
                  </a:cubicBezTo>
                  <a:cubicBezTo>
                    <a:pt x="54" y="248"/>
                    <a:pt x="58" y="253"/>
                    <a:pt x="58" y="253"/>
                  </a:cubicBezTo>
                  <a:cubicBezTo>
                    <a:pt x="58" y="253"/>
                    <a:pt x="53" y="254"/>
                    <a:pt x="53" y="258"/>
                  </a:cubicBezTo>
                  <a:cubicBezTo>
                    <a:pt x="54" y="262"/>
                    <a:pt x="57" y="265"/>
                    <a:pt x="57" y="265"/>
                  </a:cubicBezTo>
                  <a:cubicBezTo>
                    <a:pt x="54" y="265"/>
                    <a:pt x="54" y="265"/>
                    <a:pt x="54" y="265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0" y="268"/>
                    <a:pt x="50" y="268"/>
                    <a:pt x="50" y="268"/>
                  </a:cubicBezTo>
                  <a:cubicBezTo>
                    <a:pt x="58" y="268"/>
                    <a:pt x="58" y="268"/>
                    <a:pt x="58" y="268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57" y="274"/>
                    <a:pt x="57" y="274"/>
                    <a:pt x="57" y="274"/>
                  </a:cubicBezTo>
                  <a:cubicBezTo>
                    <a:pt x="60" y="277"/>
                    <a:pt x="60" y="277"/>
                    <a:pt x="60" y="277"/>
                  </a:cubicBezTo>
                  <a:cubicBezTo>
                    <a:pt x="60" y="277"/>
                    <a:pt x="58" y="279"/>
                    <a:pt x="60" y="283"/>
                  </a:cubicBezTo>
                  <a:cubicBezTo>
                    <a:pt x="62" y="287"/>
                    <a:pt x="64" y="287"/>
                    <a:pt x="64" y="287"/>
                  </a:cubicBezTo>
                  <a:cubicBezTo>
                    <a:pt x="67" y="290"/>
                    <a:pt x="67" y="290"/>
                    <a:pt x="67" y="290"/>
                  </a:cubicBezTo>
                  <a:cubicBezTo>
                    <a:pt x="67" y="285"/>
                    <a:pt x="67" y="285"/>
                    <a:pt x="67" y="285"/>
                  </a:cubicBezTo>
                  <a:cubicBezTo>
                    <a:pt x="73" y="281"/>
                    <a:pt x="73" y="281"/>
                    <a:pt x="73" y="281"/>
                  </a:cubicBezTo>
                  <a:cubicBezTo>
                    <a:pt x="73" y="290"/>
                    <a:pt x="73" y="290"/>
                    <a:pt x="73" y="290"/>
                  </a:cubicBezTo>
                  <a:cubicBezTo>
                    <a:pt x="75" y="290"/>
                    <a:pt x="75" y="290"/>
                    <a:pt x="75" y="290"/>
                  </a:cubicBezTo>
                  <a:cubicBezTo>
                    <a:pt x="76" y="286"/>
                    <a:pt x="76" y="286"/>
                    <a:pt x="76" y="286"/>
                  </a:cubicBezTo>
                  <a:cubicBezTo>
                    <a:pt x="81" y="290"/>
                    <a:pt x="81" y="290"/>
                    <a:pt x="81" y="290"/>
                  </a:cubicBezTo>
                  <a:cubicBezTo>
                    <a:pt x="87" y="290"/>
                    <a:pt x="87" y="290"/>
                    <a:pt x="87" y="290"/>
                  </a:cubicBezTo>
                  <a:cubicBezTo>
                    <a:pt x="94" y="293"/>
                    <a:pt x="94" y="293"/>
                    <a:pt x="94" y="293"/>
                  </a:cubicBezTo>
                  <a:cubicBezTo>
                    <a:pt x="100" y="293"/>
                    <a:pt x="100" y="293"/>
                    <a:pt x="100" y="293"/>
                  </a:cubicBezTo>
                  <a:cubicBezTo>
                    <a:pt x="98" y="301"/>
                    <a:pt x="98" y="301"/>
                    <a:pt x="98" y="301"/>
                  </a:cubicBezTo>
                  <a:cubicBezTo>
                    <a:pt x="100" y="303"/>
                    <a:pt x="100" y="303"/>
                    <a:pt x="100" y="303"/>
                  </a:cubicBezTo>
                  <a:cubicBezTo>
                    <a:pt x="107" y="300"/>
                    <a:pt x="107" y="300"/>
                    <a:pt x="107" y="300"/>
                  </a:cubicBezTo>
                  <a:cubicBezTo>
                    <a:pt x="114" y="294"/>
                    <a:pt x="114" y="294"/>
                    <a:pt x="114" y="294"/>
                  </a:cubicBezTo>
                  <a:cubicBezTo>
                    <a:pt x="115" y="295"/>
                    <a:pt x="115" y="295"/>
                    <a:pt x="115" y="295"/>
                  </a:cubicBezTo>
                  <a:cubicBezTo>
                    <a:pt x="112" y="304"/>
                    <a:pt x="112" y="304"/>
                    <a:pt x="112" y="304"/>
                  </a:cubicBezTo>
                  <a:cubicBezTo>
                    <a:pt x="117" y="308"/>
                    <a:pt x="117" y="308"/>
                    <a:pt x="117" y="308"/>
                  </a:cubicBezTo>
                  <a:cubicBezTo>
                    <a:pt x="116" y="312"/>
                    <a:pt x="116" y="312"/>
                    <a:pt x="116" y="312"/>
                  </a:cubicBezTo>
                  <a:cubicBezTo>
                    <a:pt x="120" y="311"/>
                    <a:pt x="120" y="311"/>
                    <a:pt x="120" y="311"/>
                  </a:cubicBezTo>
                  <a:cubicBezTo>
                    <a:pt x="120" y="313"/>
                    <a:pt x="120" y="313"/>
                    <a:pt x="120" y="313"/>
                  </a:cubicBezTo>
                  <a:cubicBezTo>
                    <a:pt x="113" y="319"/>
                    <a:pt x="113" y="319"/>
                    <a:pt x="113" y="319"/>
                  </a:cubicBezTo>
                  <a:cubicBezTo>
                    <a:pt x="114" y="321"/>
                    <a:pt x="114" y="321"/>
                    <a:pt x="114" y="321"/>
                  </a:cubicBezTo>
                  <a:cubicBezTo>
                    <a:pt x="119" y="321"/>
                    <a:pt x="119" y="321"/>
                    <a:pt x="119" y="321"/>
                  </a:cubicBezTo>
                  <a:cubicBezTo>
                    <a:pt x="122" y="317"/>
                    <a:pt x="122" y="317"/>
                    <a:pt x="122" y="317"/>
                  </a:cubicBezTo>
                  <a:cubicBezTo>
                    <a:pt x="122" y="317"/>
                    <a:pt x="124" y="319"/>
                    <a:pt x="124" y="321"/>
                  </a:cubicBezTo>
                  <a:cubicBezTo>
                    <a:pt x="125" y="324"/>
                    <a:pt x="115" y="329"/>
                    <a:pt x="115" y="329"/>
                  </a:cubicBezTo>
                  <a:cubicBezTo>
                    <a:pt x="126" y="326"/>
                    <a:pt x="126" y="326"/>
                    <a:pt x="126" y="326"/>
                  </a:cubicBezTo>
                  <a:cubicBezTo>
                    <a:pt x="134" y="310"/>
                    <a:pt x="134" y="310"/>
                    <a:pt x="134" y="310"/>
                  </a:cubicBezTo>
                  <a:cubicBezTo>
                    <a:pt x="132" y="318"/>
                    <a:pt x="132" y="318"/>
                    <a:pt x="132" y="318"/>
                  </a:cubicBezTo>
                  <a:cubicBezTo>
                    <a:pt x="144" y="315"/>
                    <a:pt x="144" y="315"/>
                    <a:pt x="144" y="315"/>
                  </a:cubicBezTo>
                  <a:cubicBezTo>
                    <a:pt x="152" y="309"/>
                    <a:pt x="152" y="309"/>
                    <a:pt x="152" y="309"/>
                  </a:cubicBezTo>
                  <a:cubicBezTo>
                    <a:pt x="155" y="309"/>
                    <a:pt x="155" y="309"/>
                    <a:pt x="155" y="309"/>
                  </a:cubicBezTo>
                  <a:cubicBezTo>
                    <a:pt x="161" y="304"/>
                    <a:pt x="161" y="304"/>
                    <a:pt x="161" y="304"/>
                  </a:cubicBezTo>
                  <a:cubicBezTo>
                    <a:pt x="164" y="305"/>
                    <a:pt x="164" y="305"/>
                    <a:pt x="164" y="305"/>
                  </a:cubicBezTo>
                  <a:cubicBezTo>
                    <a:pt x="166" y="310"/>
                    <a:pt x="166" y="310"/>
                    <a:pt x="166" y="310"/>
                  </a:cubicBezTo>
                  <a:cubicBezTo>
                    <a:pt x="169" y="308"/>
                    <a:pt x="169" y="308"/>
                    <a:pt x="169" y="308"/>
                  </a:cubicBezTo>
                  <a:cubicBezTo>
                    <a:pt x="169" y="300"/>
                    <a:pt x="169" y="300"/>
                    <a:pt x="169" y="300"/>
                  </a:cubicBezTo>
                  <a:cubicBezTo>
                    <a:pt x="184" y="293"/>
                    <a:pt x="184" y="293"/>
                    <a:pt x="184" y="293"/>
                  </a:cubicBezTo>
                  <a:cubicBezTo>
                    <a:pt x="185" y="290"/>
                    <a:pt x="185" y="290"/>
                    <a:pt x="185" y="290"/>
                  </a:cubicBezTo>
                  <a:cubicBezTo>
                    <a:pt x="198" y="284"/>
                    <a:pt x="198" y="284"/>
                    <a:pt x="198" y="284"/>
                  </a:cubicBezTo>
                  <a:cubicBezTo>
                    <a:pt x="198" y="277"/>
                    <a:pt x="198" y="277"/>
                    <a:pt x="198" y="277"/>
                  </a:cubicBezTo>
                  <a:cubicBezTo>
                    <a:pt x="198" y="277"/>
                    <a:pt x="200" y="283"/>
                    <a:pt x="204" y="283"/>
                  </a:cubicBezTo>
                  <a:cubicBezTo>
                    <a:pt x="207" y="283"/>
                    <a:pt x="211" y="281"/>
                    <a:pt x="211" y="281"/>
                  </a:cubicBezTo>
                  <a:cubicBezTo>
                    <a:pt x="208" y="279"/>
                    <a:pt x="208" y="279"/>
                    <a:pt x="208" y="279"/>
                  </a:cubicBezTo>
                  <a:cubicBezTo>
                    <a:pt x="209" y="275"/>
                    <a:pt x="209" y="275"/>
                    <a:pt x="209" y="275"/>
                  </a:cubicBezTo>
                  <a:cubicBezTo>
                    <a:pt x="214" y="279"/>
                    <a:pt x="214" y="279"/>
                    <a:pt x="214" y="279"/>
                  </a:cubicBezTo>
                  <a:cubicBezTo>
                    <a:pt x="214" y="277"/>
                    <a:pt x="214" y="277"/>
                    <a:pt x="214" y="277"/>
                  </a:cubicBezTo>
                  <a:cubicBezTo>
                    <a:pt x="208" y="268"/>
                    <a:pt x="208" y="268"/>
                    <a:pt x="208" y="268"/>
                  </a:cubicBezTo>
                  <a:cubicBezTo>
                    <a:pt x="208" y="268"/>
                    <a:pt x="217" y="274"/>
                    <a:pt x="223" y="272"/>
                  </a:cubicBezTo>
                  <a:cubicBezTo>
                    <a:pt x="227" y="269"/>
                    <a:pt x="225" y="266"/>
                    <a:pt x="225" y="266"/>
                  </a:cubicBezTo>
                  <a:cubicBezTo>
                    <a:pt x="231" y="265"/>
                    <a:pt x="231" y="265"/>
                    <a:pt x="231" y="265"/>
                  </a:cubicBezTo>
                  <a:cubicBezTo>
                    <a:pt x="236" y="263"/>
                    <a:pt x="236" y="263"/>
                    <a:pt x="236" y="263"/>
                  </a:cubicBezTo>
                  <a:cubicBezTo>
                    <a:pt x="242" y="263"/>
                    <a:pt x="242" y="263"/>
                    <a:pt x="242" y="263"/>
                  </a:cubicBezTo>
                  <a:cubicBezTo>
                    <a:pt x="246" y="257"/>
                    <a:pt x="246" y="257"/>
                    <a:pt x="246" y="257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67" y="253"/>
                    <a:pt x="267" y="253"/>
                    <a:pt x="267" y="253"/>
                  </a:cubicBezTo>
                  <a:cubicBezTo>
                    <a:pt x="267" y="252"/>
                    <a:pt x="267" y="252"/>
                    <a:pt x="267" y="252"/>
                  </a:cubicBezTo>
                  <a:cubicBezTo>
                    <a:pt x="275" y="236"/>
                    <a:pt x="275" y="236"/>
                    <a:pt x="275" y="236"/>
                  </a:cubicBezTo>
                  <a:cubicBezTo>
                    <a:pt x="286" y="221"/>
                    <a:pt x="286" y="221"/>
                    <a:pt x="286" y="221"/>
                  </a:cubicBezTo>
                  <a:cubicBezTo>
                    <a:pt x="290" y="218"/>
                    <a:pt x="290" y="218"/>
                    <a:pt x="290" y="218"/>
                  </a:cubicBezTo>
                  <a:cubicBezTo>
                    <a:pt x="291" y="209"/>
                    <a:pt x="291" y="209"/>
                    <a:pt x="291" y="209"/>
                  </a:cubicBezTo>
                  <a:cubicBezTo>
                    <a:pt x="304" y="195"/>
                    <a:pt x="304" y="195"/>
                    <a:pt x="304" y="195"/>
                  </a:cubicBezTo>
                  <a:cubicBezTo>
                    <a:pt x="304" y="195"/>
                    <a:pt x="309" y="182"/>
                    <a:pt x="312" y="176"/>
                  </a:cubicBezTo>
                  <a:cubicBezTo>
                    <a:pt x="315" y="171"/>
                    <a:pt x="323" y="151"/>
                    <a:pt x="326" y="140"/>
                  </a:cubicBezTo>
                  <a:cubicBezTo>
                    <a:pt x="329" y="128"/>
                    <a:pt x="338" y="115"/>
                    <a:pt x="338" y="115"/>
                  </a:cubicBezTo>
                  <a:cubicBezTo>
                    <a:pt x="338" y="115"/>
                    <a:pt x="340" y="111"/>
                    <a:pt x="341" y="107"/>
                  </a:cubicBezTo>
                  <a:cubicBezTo>
                    <a:pt x="343" y="103"/>
                    <a:pt x="345" y="79"/>
                    <a:pt x="345" y="73"/>
                  </a:cubicBezTo>
                  <a:cubicBezTo>
                    <a:pt x="344" y="67"/>
                    <a:pt x="332" y="67"/>
                    <a:pt x="332" y="67"/>
                  </a:cubicBezTo>
                  <a:close/>
                  <a:moveTo>
                    <a:pt x="207" y="289"/>
                  </a:moveTo>
                  <a:cubicBezTo>
                    <a:pt x="210" y="285"/>
                    <a:pt x="210" y="285"/>
                    <a:pt x="210" y="285"/>
                  </a:cubicBezTo>
                  <a:cubicBezTo>
                    <a:pt x="206" y="286"/>
                    <a:pt x="206" y="286"/>
                    <a:pt x="206" y="286"/>
                  </a:cubicBezTo>
                  <a:lnTo>
                    <a:pt x="207" y="289"/>
                  </a:lnTo>
                  <a:close/>
                  <a:moveTo>
                    <a:pt x="223" y="273"/>
                  </a:moveTo>
                  <a:cubicBezTo>
                    <a:pt x="228" y="274"/>
                    <a:pt x="228" y="274"/>
                    <a:pt x="228" y="274"/>
                  </a:cubicBezTo>
                  <a:cubicBezTo>
                    <a:pt x="226" y="271"/>
                    <a:pt x="226" y="271"/>
                    <a:pt x="226" y="271"/>
                  </a:cubicBezTo>
                  <a:lnTo>
                    <a:pt x="223" y="273"/>
                  </a:lnTo>
                  <a:close/>
                  <a:moveTo>
                    <a:pt x="83" y="312"/>
                  </a:moveTo>
                  <a:cubicBezTo>
                    <a:pt x="85" y="311"/>
                    <a:pt x="85" y="311"/>
                    <a:pt x="85" y="311"/>
                  </a:cubicBezTo>
                  <a:cubicBezTo>
                    <a:pt x="85" y="309"/>
                    <a:pt x="85" y="309"/>
                    <a:pt x="85" y="309"/>
                  </a:cubicBezTo>
                  <a:cubicBezTo>
                    <a:pt x="82" y="309"/>
                    <a:pt x="82" y="309"/>
                    <a:pt x="82" y="309"/>
                  </a:cubicBezTo>
                  <a:lnTo>
                    <a:pt x="83" y="312"/>
                  </a:lnTo>
                  <a:close/>
                  <a:moveTo>
                    <a:pt x="74" y="294"/>
                  </a:moveTo>
                  <a:cubicBezTo>
                    <a:pt x="75" y="295"/>
                    <a:pt x="75" y="295"/>
                    <a:pt x="75" y="295"/>
                  </a:cubicBezTo>
                  <a:cubicBezTo>
                    <a:pt x="73" y="298"/>
                    <a:pt x="73" y="298"/>
                    <a:pt x="73" y="298"/>
                  </a:cubicBezTo>
                  <a:cubicBezTo>
                    <a:pt x="75" y="298"/>
                    <a:pt x="75" y="298"/>
                    <a:pt x="75" y="298"/>
                  </a:cubicBezTo>
                  <a:cubicBezTo>
                    <a:pt x="77" y="297"/>
                    <a:pt x="77" y="297"/>
                    <a:pt x="77" y="297"/>
                  </a:cubicBezTo>
                  <a:cubicBezTo>
                    <a:pt x="80" y="299"/>
                    <a:pt x="80" y="299"/>
                    <a:pt x="80" y="299"/>
                  </a:cubicBezTo>
                  <a:cubicBezTo>
                    <a:pt x="81" y="296"/>
                    <a:pt x="81" y="296"/>
                    <a:pt x="81" y="296"/>
                  </a:cubicBezTo>
                  <a:cubicBezTo>
                    <a:pt x="76" y="293"/>
                    <a:pt x="76" y="293"/>
                    <a:pt x="76" y="293"/>
                  </a:cubicBezTo>
                  <a:lnTo>
                    <a:pt x="74" y="294"/>
                  </a:lnTo>
                  <a:close/>
                  <a:moveTo>
                    <a:pt x="138" y="322"/>
                  </a:moveTo>
                  <a:cubicBezTo>
                    <a:pt x="138" y="319"/>
                    <a:pt x="138" y="319"/>
                    <a:pt x="138" y="319"/>
                  </a:cubicBezTo>
                  <a:cubicBezTo>
                    <a:pt x="133" y="321"/>
                    <a:pt x="133" y="321"/>
                    <a:pt x="133" y="321"/>
                  </a:cubicBezTo>
                  <a:lnTo>
                    <a:pt x="138" y="322"/>
                  </a:lnTo>
                  <a:close/>
                  <a:moveTo>
                    <a:pt x="112" y="299"/>
                  </a:moveTo>
                  <a:cubicBezTo>
                    <a:pt x="111" y="298"/>
                    <a:pt x="111" y="298"/>
                    <a:pt x="111" y="298"/>
                  </a:cubicBezTo>
                  <a:cubicBezTo>
                    <a:pt x="109" y="302"/>
                    <a:pt x="109" y="302"/>
                    <a:pt x="109" y="302"/>
                  </a:cubicBezTo>
                  <a:cubicBezTo>
                    <a:pt x="105" y="303"/>
                    <a:pt x="105" y="303"/>
                    <a:pt x="105" y="303"/>
                  </a:cubicBezTo>
                  <a:cubicBezTo>
                    <a:pt x="102" y="305"/>
                    <a:pt x="102" y="305"/>
                    <a:pt x="102" y="305"/>
                  </a:cubicBezTo>
                  <a:cubicBezTo>
                    <a:pt x="97" y="306"/>
                    <a:pt x="97" y="306"/>
                    <a:pt x="97" y="306"/>
                  </a:cubicBezTo>
                  <a:cubicBezTo>
                    <a:pt x="96" y="310"/>
                    <a:pt x="96" y="310"/>
                    <a:pt x="96" y="310"/>
                  </a:cubicBezTo>
                  <a:cubicBezTo>
                    <a:pt x="99" y="310"/>
                    <a:pt x="99" y="310"/>
                    <a:pt x="99" y="310"/>
                  </a:cubicBezTo>
                  <a:cubicBezTo>
                    <a:pt x="96" y="314"/>
                    <a:pt x="96" y="314"/>
                    <a:pt x="96" y="314"/>
                  </a:cubicBezTo>
                  <a:cubicBezTo>
                    <a:pt x="96" y="319"/>
                    <a:pt x="96" y="319"/>
                    <a:pt x="96" y="319"/>
                  </a:cubicBezTo>
                  <a:cubicBezTo>
                    <a:pt x="102" y="316"/>
                    <a:pt x="102" y="316"/>
                    <a:pt x="102" y="316"/>
                  </a:cubicBezTo>
                  <a:cubicBezTo>
                    <a:pt x="108" y="316"/>
                    <a:pt x="108" y="316"/>
                    <a:pt x="108" y="316"/>
                  </a:cubicBezTo>
                  <a:cubicBezTo>
                    <a:pt x="112" y="309"/>
                    <a:pt x="112" y="309"/>
                    <a:pt x="112" y="309"/>
                  </a:cubicBezTo>
                  <a:cubicBezTo>
                    <a:pt x="110" y="304"/>
                    <a:pt x="110" y="304"/>
                    <a:pt x="110" y="304"/>
                  </a:cubicBezTo>
                  <a:lnTo>
                    <a:pt x="112" y="299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7" name="Schweden" descr="© INSCALE GmbH, 05.05.2010&#10;http://www.presentationload.com/">
              <a:extLst>
                <a:ext uri="{FF2B5EF4-FFF2-40B4-BE49-F238E27FC236}">
                  <a16:creationId xmlns:a16="http://schemas.microsoft.com/office/drawing/2014/main" id="{26F2CD3A-C1B4-4222-AE88-52AEF381C06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7433926" y="783432"/>
              <a:ext cx="1245850" cy="1875204"/>
            </a:xfrm>
            <a:custGeom>
              <a:avLst/>
              <a:gdLst/>
              <a:ahLst/>
              <a:cxnLst>
                <a:cxn ang="0">
                  <a:pos x="256" y="378"/>
                </a:cxn>
                <a:cxn ang="0">
                  <a:pos x="261" y="377"/>
                </a:cxn>
                <a:cxn ang="0">
                  <a:pos x="253" y="368"/>
                </a:cxn>
                <a:cxn ang="0">
                  <a:pos x="249" y="381"/>
                </a:cxn>
                <a:cxn ang="0">
                  <a:pos x="13" y="478"/>
                </a:cxn>
                <a:cxn ang="0">
                  <a:pos x="207" y="521"/>
                </a:cxn>
                <a:cxn ang="0">
                  <a:pos x="190" y="569"/>
                </a:cxn>
                <a:cxn ang="0">
                  <a:pos x="206" y="544"/>
                </a:cxn>
                <a:cxn ang="0">
                  <a:pos x="211" y="514"/>
                </a:cxn>
                <a:cxn ang="0">
                  <a:pos x="16" y="460"/>
                </a:cxn>
                <a:cxn ang="0">
                  <a:pos x="238" y="400"/>
                </a:cxn>
                <a:cxn ang="0">
                  <a:pos x="248" y="494"/>
                </a:cxn>
                <a:cxn ang="0">
                  <a:pos x="255" y="526"/>
                </a:cxn>
                <a:cxn ang="0">
                  <a:pos x="261" y="520"/>
                </a:cxn>
                <a:cxn ang="0">
                  <a:pos x="271" y="483"/>
                </a:cxn>
                <a:cxn ang="0">
                  <a:pos x="232" y="414"/>
                </a:cxn>
                <a:cxn ang="0">
                  <a:pos x="200" y="444"/>
                </a:cxn>
                <a:cxn ang="0">
                  <a:pos x="217" y="169"/>
                </a:cxn>
                <a:cxn ang="0">
                  <a:pos x="246" y="317"/>
                </a:cxn>
                <a:cxn ang="0">
                  <a:pos x="246" y="315"/>
                </a:cxn>
                <a:cxn ang="0">
                  <a:pos x="286" y="459"/>
                </a:cxn>
                <a:cxn ang="0">
                  <a:pos x="206" y="230"/>
                </a:cxn>
                <a:cxn ang="0">
                  <a:pos x="253" y="319"/>
                </a:cxn>
                <a:cxn ang="0">
                  <a:pos x="286" y="463"/>
                </a:cxn>
                <a:cxn ang="0">
                  <a:pos x="293" y="83"/>
                </a:cxn>
                <a:cxn ang="0">
                  <a:pos x="308" y="33"/>
                </a:cxn>
                <a:cxn ang="0">
                  <a:pos x="301" y="0"/>
                </a:cxn>
                <a:cxn ang="0">
                  <a:pos x="89" y="85"/>
                </a:cxn>
                <a:cxn ang="0">
                  <a:pos x="33" y="177"/>
                </a:cxn>
                <a:cxn ang="0">
                  <a:pos x="41" y="286"/>
                </a:cxn>
                <a:cxn ang="0">
                  <a:pos x="25" y="391"/>
                </a:cxn>
                <a:cxn ang="0">
                  <a:pos x="5" y="444"/>
                </a:cxn>
                <a:cxn ang="0">
                  <a:pos x="10" y="458"/>
                </a:cxn>
                <a:cxn ang="0">
                  <a:pos x="17" y="494"/>
                </a:cxn>
                <a:cxn ang="0">
                  <a:pos x="37" y="527"/>
                </a:cxn>
                <a:cxn ang="0">
                  <a:pos x="64" y="573"/>
                </a:cxn>
                <a:cxn ang="0">
                  <a:pos x="48" y="592"/>
                </a:cxn>
                <a:cxn ang="0">
                  <a:pos x="66" y="642"/>
                </a:cxn>
                <a:cxn ang="0">
                  <a:pos x="118" y="628"/>
                </a:cxn>
                <a:cxn ang="0">
                  <a:pos x="172" y="595"/>
                </a:cxn>
                <a:cxn ang="0">
                  <a:pos x="191" y="523"/>
                </a:cxn>
                <a:cxn ang="0">
                  <a:pos x="191" y="473"/>
                </a:cxn>
                <a:cxn ang="0">
                  <a:pos x="192" y="440"/>
                </a:cxn>
                <a:cxn ang="0">
                  <a:pos x="204" y="423"/>
                </a:cxn>
                <a:cxn ang="0">
                  <a:pos x="226" y="396"/>
                </a:cxn>
                <a:cxn ang="0">
                  <a:pos x="245" y="387"/>
                </a:cxn>
                <a:cxn ang="0">
                  <a:pos x="267" y="348"/>
                </a:cxn>
                <a:cxn ang="0">
                  <a:pos x="242" y="318"/>
                </a:cxn>
                <a:cxn ang="0">
                  <a:pos x="213" y="296"/>
                </a:cxn>
                <a:cxn ang="0">
                  <a:pos x="193" y="250"/>
                </a:cxn>
                <a:cxn ang="0">
                  <a:pos x="197" y="212"/>
                </a:cxn>
                <a:cxn ang="0">
                  <a:pos x="196" y="180"/>
                </a:cxn>
                <a:cxn ang="0">
                  <a:pos x="212" y="166"/>
                </a:cxn>
                <a:cxn ang="0">
                  <a:pos x="225" y="145"/>
                </a:cxn>
                <a:cxn ang="0">
                  <a:pos x="233" y="123"/>
                </a:cxn>
                <a:cxn ang="0">
                  <a:pos x="261" y="111"/>
                </a:cxn>
                <a:cxn ang="0">
                  <a:pos x="278" y="88"/>
                </a:cxn>
                <a:cxn ang="0">
                  <a:pos x="299" y="50"/>
                </a:cxn>
              </a:cxnLst>
              <a:rect l="0" t="0" r="r" b="b"/>
              <a:pathLst>
                <a:path w="310" h="647">
                  <a:moveTo>
                    <a:pt x="266" y="358"/>
                  </a:moveTo>
                  <a:cubicBezTo>
                    <a:pt x="265" y="355"/>
                    <a:pt x="265" y="355"/>
                    <a:pt x="265" y="355"/>
                  </a:cubicBezTo>
                  <a:cubicBezTo>
                    <a:pt x="259" y="358"/>
                    <a:pt x="259" y="358"/>
                    <a:pt x="259" y="358"/>
                  </a:cubicBezTo>
                  <a:cubicBezTo>
                    <a:pt x="262" y="360"/>
                    <a:pt x="262" y="360"/>
                    <a:pt x="262" y="360"/>
                  </a:cubicBezTo>
                  <a:lnTo>
                    <a:pt x="266" y="358"/>
                  </a:lnTo>
                  <a:close/>
                  <a:moveTo>
                    <a:pt x="243" y="378"/>
                  </a:moveTo>
                  <a:cubicBezTo>
                    <a:pt x="255" y="379"/>
                    <a:pt x="255" y="379"/>
                    <a:pt x="255" y="379"/>
                  </a:cubicBezTo>
                  <a:cubicBezTo>
                    <a:pt x="256" y="378"/>
                    <a:pt x="256" y="378"/>
                    <a:pt x="256" y="378"/>
                  </a:cubicBezTo>
                  <a:cubicBezTo>
                    <a:pt x="254" y="374"/>
                    <a:pt x="254" y="374"/>
                    <a:pt x="254" y="374"/>
                  </a:cubicBezTo>
                  <a:cubicBezTo>
                    <a:pt x="251" y="373"/>
                    <a:pt x="251" y="373"/>
                    <a:pt x="251" y="373"/>
                  </a:cubicBezTo>
                  <a:cubicBezTo>
                    <a:pt x="248" y="374"/>
                    <a:pt x="248" y="374"/>
                    <a:pt x="248" y="374"/>
                  </a:cubicBezTo>
                  <a:cubicBezTo>
                    <a:pt x="249" y="376"/>
                    <a:pt x="249" y="376"/>
                    <a:pt x="249" y="376"/>
                  </a:cubicBezTo>
                  <a:cubicBezTo>
                    <a:pt x="243" y="376"/>
                    <a:pt x="243" y="376"/>
                    <a:pt x="243" y="376"/>
                  </a:cubicBezTo>
                  <a:lnTo>
                    <a:pt x="243" y="378"/>
                  </a:lnTo>
                  <a:close/>
                  <a:moveTo>
                    <a:pt x="258" y="378"/>
                  </a:moveTo>
                  <a:cubicBezTo>
                    <a:pt x="261" y="377"/>
                    <a:pt x="261" y="377"/>
                    <a:pt x="261" y="377"/>
                  </a:cubicBezTo>
                  <a:cubicBezTo>
                    <a:pt x="258" y="374"/>
                    <a:pt x="258" y="374"/>
                    <a:pt x="258" y="374"/>
                  </a:cubicBezTo>
                  <a:lnTo>
                    <a:pt x="258" y="378"/>
                  </a:lnTo>
                  <a:close/>
                  <a:moveTo>
                    <a:pt x="249" y="399"/>
                  </a:moveTo>
                  <a:cubicBezTo>
                    <a:pt x="253" y="392"/>
                    <a:pt x="253" y="392"/>
                    <a:pt x="253" y="392"/>
                  </a:cubicBezTo>
                  <a:cubicBezTo>
                    <a:pt x="250" y="391"/>
                    <a:pt x="250" y="391"/>
                    <a:pt x="250" y="391"/>
                  </a:cubicBezTo>
                  <a:cubicBezTo>
                    <a:pt x="246" y="397"/>
                    <a:pt x="246" y="397"/>
                    <a:pt x="246" y="397"/>
                  </a:cubicBezTo>
                  <a:lnTo>
                    <a:pt x="249" y="399"/>
                  </a:lnTo>
                  <a:close/>
                  <a:moveTo>
                    <a:pt x="253" y="368"/>
                  </a:moveTo>
                  <a:cubicBezTo>
                    <a:pt x="258" y="365"/>
                    <a:pt x="258" y="365"/>
                    <a:pt x="258" y="365"/>
                  </a:cubicBezTo>
                  <a:cubicBezTo>
                    <a:pt x="254" y="363"/>
                    <a:pt x="254" y="363"/>
                    <a:pt x="254" y="363"/>
                  </a:cubicBezTo>
                  <a:lnTo>
                    <a:pt x="253" y="368"/>
                  </a:lnTo>
                  <a:close/>
                  <a:moveTo>
                    <a:pt x="245" y="401"/>
                  </a:moveTo>
                  <a:cubicBezTo>
                    <a:pt x="244" y="404"/>
                    <a:pt x="245" y="406"/>
                    <a:pt x="247" y="404"/>
                  </a:cubicBezTo>
                  <a:cubicBezTo>
                    <a:pt x="249" y="401"/>
                    <a:pt x="246" y="399"/>
                    <a:pt x="245" y="401"/>
                  </a:cubicBezTo>
                  <a:close/>
                  <a:moveTo>
                    <a:pt x="251" y="380"/>
                  </a:moveTo>
                  <a:cubicBezTo>
                    <a:pt x="249" y="381"/>
                    <a:pt x="249" y="381"/>
                    <a:pt x="249" y="381"/>
                  </a:cubicBezTo>
                  <a:cubicBezTo>
                    <a:pt x="246" y="383"/>
                    <a:pt x="246" y="383"/>
                    <a:pt x="246" y="383"/>
                  </a:cubicBezTo>
                  <a:cubicBezTo>
                    <a:pt x="251" y="384"/>
                    <a:pt x="251" y="384"/>
                    <a:pt x="251" y="384"/>
                  </a:cubicBezTo>
                  <a:lnTo>
                    <a:pt x="251" y="380"/>
                  </a:lnTo>
                  <a:close/>
                  <a:moveTo>
                    <a:pt x="20" y="475"/>
                  </a:moveTo>
                  <a:cubicBezTo>
                    <a:pt x="19" y="471"/>
                    <a:pt x="19" y="471"/>
                    <a:pt x="19" y="471"/>
                  </a:cubicBezTo>
                  <a:cubicBezTo>
                    <a:pt x="11" y="473"/>
                    <a:pt x="11" y="473"/>
                    <a:pt x="11" y="473"/>
                  </a:cubicBezTo>
                  <a:cubicBezTo>
                    <a:pt x="13" y="476"/>
                    <a:pt x="13" y="476"/>
                    <a:pt x="13" y="476"/>
                  </a:cubicBezTo>
                  <a:cubicBezTo>
                    <a:pt x="13" y="478"/>
                    <a:pt x="13" y="478"/>
                    <a:pt x="13" y="478"/>
                  </a:cubicBezTo>
                  <a:cubicBezTo>
                    <a:pt x="16" y="478"/>
                    <a:pt x="16" y="478"/>
                    <a:pt x="16" y="478"/>
                  </a:cubicBezTo>
                  <a:cubicBezTo>
                    <a:pt x="17" y="475"/>
                    <a:pt x="17" y="475"/>
                    <a:pt x="17" y="475"/>
                  </a:cubicBezTo>
                  <a:lnTo>
                    <a:pt x="20" y="475"/>
                  </a:lnTo>
                  <a:close/>
                  <a:moveTo>
                    <a:pt x="211" y="508"/>
                  </a:moveTo>
                  <a:cubicBezTo>
                    <a:pt x="207" y="513"/>
                    <a:pt x="207" y="513"/>
                    <a:pt x="207" y="513"/>
                  </a:cubicBezTo>
                  <a:cubicBezTo>
                    <a:pt x="208" y="519"/>
                    <a:pt x="208" y="519"/>
                    <a:pt x="208" y="519"/>
                  </a:cubicBezTo>
                  <a:cubicBezTo>
                    <a:pt x="207" y="519"/>
                    <a:pt x="207" y="519"/>
                    <a:pt x="207" y="519"/>
                  </a:cubicBezTo>
                  <a:cubicBezTo>
                    <a:pt x="207" y="521"/>
                    <a:pt x="207" y="521"/>
                    <a:pt x="207" y="521"/>
                  </a:cubicBezTo>
                  <a:cubicBezTo>
                    <a:pt x="205" y="531"/>
                    <a:pt x="205" y="531"/>
                    <a:pt x="205" y="531"/>
                  </a:cubicBezTo>
                  <a:cubicBezTo>
                    <a:pt x="202" y="532"/>
                    <a:pt x="202" y="532"/>
                    <a:pt x="202" y="532"/>
                  </a:cubicBezTo>
                  <a:cubicBezTo>
                    <a:pt x="200" y="540"/>
                    <a:pt x="200" y="540"/>
                    <a:pt x="200" y="540"/>
                  </a:cubicBezTo>
                  <a:cubicBezTo>
                    <a:pt x="198" y="540"/>
                    <a:pt x="198" y="540"/>
                    <a:pt x="198" y="540"/>
                  </a:cubicBezTo>
                  <a:cubicBezTo>
                    <a:pt x="198" y="540"/>
                    <a:pt x="195" y="545"/>
                    <a:pt x="194" y="549"/>
                  </a:cubicBezTo>
                  <a:cubicBezTo>
                    <a:pt x="193" y="552"/>
                    <a:pt x="194" y="555"/>
                    <a:pt x="193" y="556"/>
                  </a:cubicBezTo>
                  <a:cubicBezTo>
                    <a:pt x="193" y="558"/>
                    <a:pt x="190" y="560"/>
                    <a:pt x="190" y="564"/>
                  </a:cubicBezTo>
                  <a:cubicBezTo>
                    <a:pt x="190" y="569"/>
                    <a:pt x="190" y="569"/>
                    <a:pt x="190" y="569"/>
                  </a:cubicBezTo>
                  <a:cubicBezTo>
                    <a:pt x="193" y="571"/>
                    <a:pt x="193" y="571"/>
                    <a:pt x="193" y="571"/>
                  </a:cubicBezTo>
                  <a:cubicBezTo>
                    <a:pt x="192" y="584"/>
                    <a:pt x="192" y="584"/>
                    <a:pt x="192" y="584"/>
                  </a:cubicBezTo>
                  <a:cubicBezTo>
                    <a:pt x="192" y="584"/>
                    <a:pt x="196" y="581"/>
                    <a:pt x="197" y="578"/>
                  </a:cubicBezTo>
                  <a:cubicBezTo>
                    <a:pt x="198" y="573"/>
                    <a:pt x="197" y="572"/>
                    <a:pt x="197" y="570"/>
                  </a:cubicBezTo>
                  <a:cubicBezTo>
                    <a:pt x="197" y="568"/>
                    <a:pt x="199" y="565"/>
                    <a:pt x="200" y="563"/>
                  </a:cubicBezTo>
                  <a:cubicBezTo>
                    <a:pt x="201" y="561"/>
                    <a:pt x="200" y="555"/>
                    <a:pt x="200" y="555"/>
                  </a:cubicBezTo>
                  <a:cubicBezTo>
                    <a:pt x="204" y="544"/>
                    <a:pt x="204" y="544"/>
                    <a:pt x="204" y="544"/>
                  </a:cubicBezTo>
                  <a:cubicBezTo>
                    <a:pt x="206" y="544"/>
                    <a:pt x="206" y="544"/>
                    <a:pt x="206" y="544"/>
                  </a:cubicBezTo>
                  <a:cubicBezTo>
                    <a:pt x="208" y="536"/>
                    <a:pt x="208" y="536"/>
                    <a:pt x="208" y="536"/>
                  </a:cubicBezTo>
                  <a:cubicBezTo>
                    <a:pt x="207" y="533"/>
                    <a:pt x="207" y="533"/>
                    <a:pt x="207" y="533"/>
                  </a:cubicBezTo>
                  <a:cubicBezTo>
                    <a:pt x="209" y="531"/>
                    <a:pt x="209" y="531"/>
                    <a:pt x="209" y="531"/>
                  </a:cubicBezTo>
                  <a:cubicBezTo>
                    <a:pt x="208" y="530"/>
                    <a:pt x="208" y="530"/>
                    <a:pt x="208" y="530"/>
                  </a:cubicBezTo>
                  <a:cubicBezTo>
                    <a:pt x="210" y="527"/>
                    <a:pt x="210" y="527"/>
                    <a:pt x="210" y="527"/>
                  </a:cubicBezTo>
                  <a:cubicBezTo>
                    <a:pt x="209" y="525"/>
                    <a:pt x="209" y="525"/>
                    <a:pt x="209" y="525"/>
                  </a:cubicBezTo>
                  <a:cubicBezTo>
                    <a:pt x="212" y="520"/>
                    <a:pt x="212" y="520"/>
                    <a:pt x="212" y="520"/>
                  </a:cubicBezTo>
                  <a:cubicBezTo>
                    <a:pt x="211" y="514"/>
                    <a:pt x="211" y="514"/>
                    <a:pt x="211" y="514"/>
                  </a:cubicBezTo>
                  <a:cubicBezTo>
                    <a:pt x="214" y="511"/>
                    <a:pt x="214" y="511"/>
                    <a:pt x="214" y="511"/>
                  </a:cubicBezTo>
                  <a:lnTo>
                    <a:pt x="211" y="508"/>
                  </a:lnTo>
                  <a:close/>
                  <a:moveTo>
                    <a:pt x="14" y="466"/>
                  </a:moveTo>
                  <a:cubicBezTo>
                    <a:pt x="21" y="467"/>
                    <a:pt x="21" y="467"/>
                    <a:pt x="21" y="467"/>
                  </a:cubicBezTo>
                  <a:cubicBezTo>
                    <a:pt x="22" y="460"/>
                    <a:pt x="22" y="460"/>
                    <a:pt x="22" y="460"/>
                  </a:cubicBezTo>
                  <a:cubicBezTo>
                    <a:pt x="19" y="457"/>
                    <a:pt x="19" y="457"/>
                    <a:pt x="19" y="457"/>
                  </a:cubicBezTo>
                  <a:cubicBezTo>
                    <a:pt x="17" y="460"/>
                    <a:pt x="17" y="460"/>
                    <a:pt x="17" y="460"/>
                  </a:cubicBezTo>
                  <a:cubicBezTo>
                    <a:pt x="16" y="460"/>
                    <a:pt x="16" y="460"/>
                    <a:pt x="16" y="460"/>
                  </a:cubicBezTo>
                  <a:cubicBezTo>
                    <a:pt x="8" y="468"/>
                    <a:pt x="8" y="468"/>
                    <a:pt x="8" y="468"/>
                  </a:cubicBezTo>
                  <a:cubicBezTo>
                    <a:pt x="14" y="469"/>
                    <a:pt x="14" y="469"/>
                    <a:pt x="14" y="469"/>
                  </a:cubicBezTo>
                  <a:lnTo>
                    <a:pt x="14" y="466"/>
                  </a:lnTo>
                  <a:close/>
                  <a:moveTo>
                    <a:pt x="238" y="400"/>
                  </a:moveTo>
                  <a:cubicBezTo>
                    <a:pt x="241" y="401"/>
                    <a:pt x="241" y="401"/>
                    <a:pt x="241" y="401"/>
                  </a:cubicBezTo>
                  <a:cubicBezTo>
                    <a:pt x="243" y="397"/>
                    <a:pt x="243" y="397"/>
                    <a:pt x="243" y="397"/>
                  </a:cubicBezTo>
                  <a:cubicBezTo>
                    <a:pt x="242" y="397"/>
                    <a:pt x="242" y="397"/>
                    <a:pt x="242" y="397"/>
                  </a:cubicBezTo>
                  <a:lnTo>
                    <a:pt x="238" y="400"/>
                  </a:lnTo>
                  <a:close/>
                  <a:moveTo>
                    <a:pt x="272" y="467"/>
                  </a:moveTo>
                  <a:cubicBezTo>
                    <a:pt x="270" y="472"/>
                    <a:pt x="270" y="472"/>
                    <a:pt x="270" y="472"/>
                  </a:cubicBezTo>
                  <a:cubicBezTo>
                    <a:pt x="270" y="467"/>
                    <a:pt x="270" y="467"/>
                    <a:pt x="270" y="467"/>
                  </a:cubicBezTo>
                  <a:cubicBezTo>
                    <a:pt x="270" y="467"/>
                    <a:pt x="267" y="467"/>
                    <a:pt x="266" y="468"/>
                  </a:cubicBezTo>
                  <a:cubicBezTo>
                    <a:pt x="264" y="469"/>
                    <a:pt x="263" y="472"/>
                    <a:pt x="263" y="472"/>
                  </a:cubicBezTo>
                  <a:cubicBezTo>
                    <a:pt x="263" y="472"/>
                    <a:pt x="262" y="471"/>
                    <a:pt x="259" y="474"/>
                  </a:cubicBezTo>
                  <a:cubicBezTo>
                    <a:pt x="257" y="477"/>
                    <a:pt x="253" y="487"/>
                    <a:pt x="253" y="487"/>
                  </a:cubicBezTo>
                  <a:cubicBezTo>
                    <a:pt x="253" y="487"/>
                    <a:pt x="248" y="489"/>
                    <a:pt x="248" y="494"/>
                  </a:cubicBezTo>
                  <a:cubicBezTo>
                    <a:pt x="247" y="501"/>
                    <a:pt x="253" y="501"/>
                    <a:pt x="253" y="505"/>
                  </a:cubicBezTo>
                  <a:cubicBezTo>
                    <a:pt x="251" y="510"/>
                    <a:pt x="249" y="511"/>
                    <a:pt x="249" y="511"/>
                  </a:cubicBezTo>
                  <a:cubicBezTo>
                    <a:pt x="251" y="513"/>
                    <a:pt x="251" y="513"/>
                    <a:pt x="251" y="513"/>
                  </a:cubicBezTo>
                  <a:cubicBezTo>
                    <a:pt x="251" y="520"/>
                    <a:pt x="251" y="520"/>
                    <a:pt x="251" y="520"/>
                  </a:cubicBezTo>
                  <a:cubicBezTo>
                    <a:pt x="254" y="521"/>
                    <a:pt x="254" y="521"/>
                    <a:pt x="254" y="521"/>
                  </a:cubicBezTo>
                  <a:cubicBezTo>
                    <a:pt x="254" y="524"/>
                    <a:pt x="254" y="524"/>
                    <a:pt x="254" y="524"/>
                  </a:cubicBezTo>
                  <a:cubicBezTo>
                    <a:pt x="254" y="524"/>
                    <a:pt x="257" y="523"/>
                    <a:pt x="257" y="524"/>
                  </a:cubicBezTo>
                  <a:cubicBezTo>
                    <a:pt x="257" y="525"/>
                    <a:pt x="255" y="526"/>
                    <a:pt x="255" y="526"/>
                  </a:cubicBezTo>
                  <a:cubicBezTo>
                    <a:pt x="255" y="530"/>
                    <a:pt x="255" y="530"/>
                    <a:pt x="255" y="530"/>
                  </a:cubicBezTo>
                  <a:cubicBezTo>
                    <a:pt x="255" y="531"/>
                    <a:pt x="253" y="535"/>
                    <a:pt x="253" y="535"/>
                  </a:cubicBezTo>
                  <a:cubicBezTo>
                    <a:pt x="258" y="533"/>
                    <a:pt x="258" y="533"/>
                    <a:pt x="258" y="533"/>
                  </a:cubicBezTo>
                  <a:cubicBezTo>
                    <a:pt x="261" y="527"/>
                    <a:pt x="261" y="527"/>
                    <a:pt x="261" y="527"/>
                  </a:cubicBezTo>
                  <a:cubicBezTo>
                    <a:pt x="260" y="527"/>
                    <a:pt x="260" y="527"/>
                    <a:pt x="260" y="527"/>
                  </a:cubicBezTo>
                  <a:cubicBezTo>
                    <a:pt x="261" y="522"/>
                    <a:pt x="261" y="522"/>
                    <a:pt x="261" y="522"/>
                  </a:cubicBezTo>
                  <a:cubicBezTo>
                    <a:pt x="262" y="520"/>
                    <a:pt x="262" y="520"/>
                    <a:pt x="262" y="520"/>
                  </a:cubicBezTo>
                  <a:cubicBezTo>
                    <a:pt x="261" y="520"/>
                    <a:pt x="261" y="520"/>
                    <a:pt x="261" y="520"/>
                  </a:cubicBezTo>
                  <a:cubicBezTo>
                    <a:pt x="266" y="514"/>
                    <a:pt x="266" y="514"/>
                    <a:pt x="266" y="514"/>
                  </a:cubicBezTo>
                  <a:cubicBezTo>
                    <a:pt x="271" y="511"/>
                    <a:pt x="271" y="511"/>
                    <a:pt x="271" y="511"/>
                  </a:cubicBezTo>
                  <a:cubicBezTo>
                    <a:pt x="271" y="506"/>
                    <a:pt x="271" y="506"/>
                    <a:pt x="271" y="506"/>
                  </a:cubicBezTo>
                  <a:cubicBezTo>
                    <a:pt x="277" y="498"/>
                    <a:pt x="277" y="498"/>
                    <a:pt x="277" y="498"/>
                  </a:cubicBezTo>
                  <a:cubicBezTo>
                    <a:pt x="274" y="498"/>
                    <a:pt x="274" y="498"/>
                    <a:pt x="274" y="498"/>
                  </a:cubicBezTo>
                  <a:cubicBezTo>
                    <a:pt x="271" y="494"/>
                    <a:pt x="271" y="494"/>
                    <a:pt x="271" y="494"/>
                  </a:cubicBezTo>
                  <a:cubicBezTo>
                    <a:pt x="271" y="494"/>
                    <a:pt x="273" y="491"/>
                    <a:pt x="274" y="488"/>
                  </a:cubicBezTo>
                  <a:cubicBezTo>
                    <a:pt x="274" y="486"/>
                    <a:pt x="271" y="483"/>
                    <a:pt x="271" y="483"/>
                  </a:cubicBezTo>
                  <a:cubicBezTo>
                    <a:pt x="272" y="478"/>
                    <a:pt x="272" y="478"/>
                    <a:pt x="272" y="478"/>
                  </a:cubicBezTo>
                  <a:cubicBezTo>
                    <a:pt x="277" y="479"/>
                    <a:pt x="277" y="479"/>
                    <a:pt x="277" y="479"/>
                  </a:cubicBezTo>
                  <a:cubicBezTo>
                    <a:pt x="281" y="472"/>
                    <a:pt x="281" y="472"/>
                    <a:pt x="281" y="472"/>
                  </a:cubicBezTo>
                  <a:cubicBezTo>
                    <a:pt x="278" y="466"/>
                    <a:pt x="278" y="466"/>
                    <a:pt x="278" y="466"/>
                  </a:cubicBezTo>
                  <a:lnTo>
                    <a:pt x="272" y="467"/>
                  </a:lnTo>
                  <a:close/>
                  <a:moveTo>
                    <a:pt x="229" y="410"/>
                  </a:moveTo>
                  <a:cubicBezTo>
                    <a:pt x="229" y="412"/>
                    <a:pt x="229" y="412"/>
                    <a:pt x="229" y="412"/>
                  </a:cubicBezTo>
                  <a:cubicBezTo>
                    <a:pt x="232" y="414"/>
                    <a:pt x="232" y="414"/>
                    <a:pt x="232" y="414"/>
                  </a:cubicBezTo>
                  <a:cubicBezTo>
                    <a:pt x="231" y="409"/>
                    <a:pt x="231" y="409"/>
                    <a:pt x="231" y="409"/>
                  </a:cubicBezTo>
                  <a:lnTo>
                    <a:pt x="229" y="410"/>
                  </a:lnTo>
                  <a:close/>
                  <a:moveTo>
                    <a:pt x="200" y="444"/>
                  </a:moveTo>
                  <a:cubicBezTo>
                    <a:pt x="199" y="441"/>
                    <a:pt x="199" y="441"/>
                    <a:pt x="199" y="441"/>
                  </a:cubicBezTo>
                  <a:cubicBezTo>
                    <a:pt x="198" y="441"/>
                    <a:pt x="198" y="441"/>
                    <a:pt x="198" y="441"/>
                  </a:cubicBezTo>
                  <a:cubicBezTo>
                    <a:pt x="198" y="447"/>
                    <a:pt x="198" y="447"/>
                    <a:pt x="198" y="447"/>
                  </a:cubicBezTo>
                  <a:cubicBezTo>
                    <a:pt x="202" y="446"/>
                    <a:pt x="202" y="446"/>
                    <a:pt x="202" y="446"/>
                  </a:cubicBezTo>
                  <a:lnTo>
                    <a:pt x="200" y="444"/>
                  </a:lnTo>
                  <a:close/>
                  <a:moveTo>
                    <a:pt x="195" y="488"/>
                  </a:moveTo>
                  <a:cubicBezTo>
                    <a:pt x="198" y="487"/>
                    <a:pt x="198" y="487"/>
                    <a:pt x="198" y="487"/>
                  </a:cubicBezTo>
                  <a:cubicBezTo>
                    <a:pt x="195" y="484"/>
                    <a:pt x="195" y="484"/>
                    <a:pt x="195" y="484"/>
                  </a:cubicBezTo>
                  <a:lnTo>
                    <a:pt x="195" y="488"/>
                  </a:lnTo>
                  <a:close/>
                  <a:moveTo>
                    <a:pt x="214" y="167"/>
                  </a:moveTo>
                  <a:cubicBezTo>
                    <a:pt x="214" y="169"/>
                    <a:pt x="214" y="169"/>
                    <a:pt x="214" y="169"/>
                  </a:cubicBezTo>
                  <a:cubicBezTo>
                    <a:pt x="214" y="173"/>
                    <a:pt x="214" y="173"/>
                    <a:pt x="214" y="173"/>
                  </a:cubicBezTo>
                  <a:cubicBezTo>
                    <a:pt x="217" y="169"/>
                    <a:pt x="217" y="169"/>
                    <a:pt x="217" y="169"/>
                  </a:cubicBezTo>
                  <a:cubicBezTo>
                    <a:pt x="216" y="167"/>
                    <a:pt x="216" y="167"/>
                    <a:pt x="216" y="167"/>
                  </a:cubicBezTo>
                  <a:lnTo>
                    <a:pt x="214" y="167"/>
                  </a:lnTo>
                  <a:close/>
                  <a:moveTo>
                    <a:pt x="234" y="140"/>
                  </a:moveTo>
                  <a:cubicBezTo>
                    <a:pt x="232" y="132"/>
                    <a:pt x="232" y="132"/>
                    <a:pt x="232" y="132"/>
                  </a:cubicBezTo>
                  <a:cubicBezTo>
                    <a:pt x="231" y="141"/>
                    <a:pt x="231" y="141"/>
                    <a:pt x="231" y="141"/>
                  </a:cubicBezTo>
                  <a:lnTo>
                    <a:pt x="234" y="140"/>
                  </a:lnTo>
                  <a:close/>
                  <a:moveTo>
                    <a:pt x="245" y="319"/>
                  </a:moveTo>
                  <a:cubicBezTo>
                    <a:pt x="248" y="320"/>
                    <a:pt x="249" y="317"/>
                    <a:pt x="246" y="317"/>
                  </a:cubicBezTo>
                  <a:cubicBezTo>
                    <a:pt x="243" y="317"/>
                    <a:pt x="243" y="319"/>
                    <a:pt x="245" y="319"/>
                  </a:cubicBezTo>
                  <a:close/>
                  <a:moveTo>
                    <a:pt x="246" y="310"/>
                  </a:moveTo>
                  <a:cubicBezTo>
                    <a:pt x="244" y="310"/>
                    <a:pt x="244" y="310"/>
                    <a:pt x="244" y="310"/>
                  </a:cubicBezTo>
                  <a:cubicBezTo>
                    <a:pt x="243" y="306"/>
                    <a:pt x="243" y="306"/>
                    <a:pt x="243" y="306"/>
                  </a:cubicBezTo>
                  <a:cubicBezTo>
                    <a:pt x="241" y="302"/>
                    <a:pt x="241" y="302"/>
                    <a:pt x="241" y="302"/>
                  </a:cubicBezTo>
                  <a:cubicBezTo>
                    <a:pt x="240" y="302"/>
                    <a:pt x="240" y="302"/>
                    <a:pt x="240" y="302"/>
                  </a:cubicBezTo>
                  <a:cubicBezTo>
                    <a:pt x="241" y="308"/>
                    <a:pt x="241" y="308"/>
                    <a:pt x="241" y="308"/>
                  </a:cubicBezTo>
                  <a:cubicBezTo>
                    <a:pt x="246" y="315"/>
                    <a:pt x="246" y="315"/>
                    <a:pt x="246" y="315"/>
                  </a:cubicBezTo>
                  <a:lnTo>
                    <a:pt x="246" y="310"/>
                  </a:lnTo>
                  <a:close/>
                  <a:moveTo>
                    <a:pt x="220" y="159"/>
                  </a:moveTo>
                  <a:cubicBezTo>
                    <a:pt x="215" y="160"/>
                    <a:pt x="214" y="163"/>
                    <a:pt x="216" y="164"/>
                  </a:cubicBezTo>
                  <a:cubicBezTo>
                    <a:pt x="220" y="166"/>
                    <a:pt x="223" y="159"/>
                    <a:pt x="220" y="159"/>
                  </a:cubicBezTo>
                  <a:close/>
                  <a:moveTo>
                    <a:pt x="281" y="460"/>
                  </a:moveTo>
                  <a:cubicBezTo>
                    <a:pt x="280" y="467"/>
                    <a:pt x="280" y="467"/>
                    <a:pt x="280" y="467"/>
                  </a:cubicBezTo>
                  <a:cubicBezTo>
                    <a:pt x="282" y="469"/>
                    <a:pt x="282" y="469"/>
                    <a:pt x="282" y="469"/>
                  </a:cubicBezTo>
                  <a:cubicBezTo>
                    <a:pt x="286" y="459"/>
                    <a:pt x="286" y="459"/>
                    <a:pt x="286" y="459"/>
                  </a:cubicBezTo>
                  <a:lnTo>
                    <a:pt x="281" y="460"/>
                  </a:lnTo>
                  <a:close/>
                  <a:moveTo>
                    <a:pt x="199" y="187"/>
                  </a:moveTo>
                  <a:cubicBezTo>
                    <a:pt x="201" y="187"/>
                    <a:pt x="201" y="187"/>
                    <a:pt x="201" y="187"/>
                  </a:cubicBezTo>
                  <a:cubicBezTo>
                    <a:pt x="200" y="180"/>
                    <a:pt x="200" y="180"/>
                    <a:pt x="200" y="180"/>
                  </a:cubicBezTo>
                  <a:cubicBezTo>
                    <a:pt x="198" y="179"/>
                    <a:pt x="198" y="179"/>
                    <a:pt x="198" y="179"/>
                  </a:cubicBezTo>
                  <a:lnTo>
                    <a:pt x="199" y="187"/>
                  </a:lnTo>
                  <a:close/>
                  <a:moveTo>
                    <a:pt x="205" y="233"/>
                  </a:moveTo>
                  <a:cubicBezTo>
                    <a:pt x="206" y="230"/>
                    <a:pt x="206" y="230"/>
                    <a:pt x="206" y="230"/>
                  </a:cubicBezTo>
                  <a:cubicBezTo>
                    <a:pt x="202" y="227"/>
                    <a:pt x="202" y="227"/>
                    <a:pt x="202" y="227"/>
                  </a:cubicBezTo>
                  <a:cubicBezTo>
                    <a:pt x="200" y="230"/>
                    <a:pt x="200" y="230"/>
                    <a:pt x="200" y="230"/>
                  </a:cubicBezTo>
                  <a:lnTo>
                    <a:pt x="205" y="233"/>
                  </a:lnTo>
                  <a:close/>
                  <a:moveTo>
                    <a:pt x="266" y="346"/>
                  </a:moveTo>
                  <a:cubicBezTo>
                    <a:pt x="263" y="344"/>
                    <a:pt x="263" y="344"/>
                    <a:pt x="263" y="344"/>
                  </a:cubicBezTo>
                  <a:cubicBezTo>
                    <a:pt x="261" y="346"/>
                    <a:pt x="261" y="346"/>
                    <a:pt x="261" y="346"/>
                  </a:cubicBezTo>
                  <a:lnTo>
                    <a:pt x="266" y="346"/>
                  </a:lnTo>
                  <a:close/>
                  <a:moveTo>
                    <a:pt x="253" y="319"/>
                  </a:moveTo>
                  <a:cubicBezTo>
                    <a:pt x="250" y="319"/>
                    <a:pt x="250" y="322"/>
                    <a:pt x="253" y="324"/>
                  </a:cubicBezTo>
                  <a:cubicBezTo>
                    <a:pt x="255" y="325"/>
                    <a:pt x="256" y="324"/>
                    <a:pt x="256" y="321"/>
                  </a:cubicBezTo>
                  <a:cubicBezTo>
                    <a:pt x="255" y="319"/>
                    <a:pt x="254" y="319"/>
                    <a:pt x="253" y="319"/>
                  </a:cubicBezTo>
                  <a:close/>
                  <a:moveTo>
                    <a:pt x="286" y="463"/>
                  </a:moveTo>
                  <a:cubicBezTo>
                    <a:pt x="290" y="463"/>
                    <a:pt x="290" y="463"/>
                    <a:pt x="290" y="463"/>
                  </a:cubicBezTo>
                  <a:cubicBezTo>
                    <a:pt x="291" y="460"/>
                    <a:pt x="291" y="460"/>
                    <a:pt x="291" y="460"/>
                  </a:cubicBezTo>
                  <a:cubicBezTo>
                    <a:pt x="288" y="460"/>
                    <a:pt x="288" y="460"/>
                    <a:pt x="288" y="460"/>
                  </a:cubicBezTo>
                  <a:lnTo>
                    <a:pt x="286" y="463"/>
                  </a:lnTo>
                  <a:close/>
                  <a:moveTo>
                    <a:pt x="282" y="439"/>
                  </a:moveTo>
                  <a:cubicBezTo>
                    <a:pt x="287" y="436"/>
                    <a:pt x="287" y="436"/>
                    <a:pt x="287" y="436"/>
                  </a:cubicBezTo>
                  <a:cubicBezTo>
                    <a:pt x="280" y="432"/>
                    <a:pt x="280" y="432"/>
                    <a:pt x="280" y="432"/>
                  </a:cubicBezTo>
                  <a:cubicBezTo>
                    <a:pt x="281" y="437"/>
                    <a:pt x="281" y="437"/>
                    <a:pt x="281" y="437"/>
                  </a:cubicBezTo>
                  <a:lnTo>
                    <a:pt x="282" y="439"/>
                  </a:lnTo>
                  <a:close/>
                  <a:moveTo>
                    <a:pt x="293" y="83"/>
                  </a:moveTo>
                  <a:cubicBezTo>
                    <a:pt x="290" y="88"/>
                    <a:pt x="294" y="84"/>
                    <a:pt x="294" y="84"/>
                  </a:cubicBezTo>
                  <a:cubicBezTo>
                    <a:pt x="296" y="81"/>
                    <a:pt x="295" y="79"/>
                    <a:pt x="293" y="83"/>
                  </a:cubicBezTo>
                  <a:close/>
                  <a:moveTo>
                    <a:pt x="294" y="88"/>
                  </a:moveTo>
                  <a:cubicBezTo>
                    <a:pt x="294" y="91"/>
                    <a:pt x="294" y="91"/>
                    <a:pt x="294" y="91"/>
                  </a:cubicBezTo>
                  <a:cubicBezTo>
                    <a:pt x="297" y="90"/>
                    <a:pt x="297" y="90"/>
                    <a:pt x="297" y="90"/>
                  </a:cubicBezTo>
                  <a:cubicBezTo>
                    <a:pt x="296" y="84"/>
                    <a:pt x="296" y="84"/>
                    <a:pt x="296" y="84"/>
                  </a:cubicBezTo>
                  <a:lnTo>
                    <a:pt x="294" y="88"/>
                  </a:lnTo>
                  <a:close/>
                  <a:moveTo>
                    <a:pt x="306" y="36"/>
                  </a:moveTo>
                  <a:cubicBezTo>
                    <a:pt x="304" y="34"/>
                    <a:pt x="304" y="34"/>
                    <a:pt x="304" y="34"/>
                  </a:cubicBezTo>
                  <a:cubicBezTo>
                    <a:pt x="308" y="33"/>
                    <a:pt x="308" y="33"/>
                    <a:pt x="308" y="33"/>
                  </a:cubicBezTo>
                  <a:cubicBezTo>
                    <a:pt x="309" y="31"/>
                    <a:pt x="309" y="31"/>
                    <a:pt x="309" y="31"/>
                  </a:cubicBezTo>
                  <a:cubicBezTo>
                    <a:pt x="299" y="31"/>
                    <a:pt x="299" y="31"/>
                    <a:pt x="299" y="31"/>
                  </a:cubicBezTo>
                  <a:cubicBezTo>
                    <a:pt x="295" y="25"/>
                    <a:pt x="295" y="25"/>
                    <a:pt x="295" y="25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3" y="17"/>
                    <a:pt x="293" y="17"/>
                    <a:pt x="293" y="17"/>
                  </a:cubicBezTo>
                  <a:cubicBezTo>
                    <a:pt x="295" y="9"/>
                    <a:pt x="295" y="9"/>
                    <a:pt x="295" y="9"/>
                  </a:cubicBezTo>
                  <a:cubicBezTo>
                    <a:pt x="298" y="7"/>
                    <a:pt x="298" y="7"/>
                    <a:pt x="298" y="7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99" y="6"/>
                    <a:pt x="99" y="6"/>
                    <a:pt x="99" y="6"/>
                  </a:cubicBezTo>
                  <a:cubicBezTo>
                    <a:pt x="98" y="16"/>
                    <a:pt x="98" y="16"/>
                    <a:pt x="98" y="16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4" y="73"/>
                    <a:pt x="94" y="73"/>
                    <a:pt x="94" y="73"/>
                  </a:cubicBezTo>
                  <a:cubicBezTo>
                    <a:pt x="89" y="85"/>
                    <a:pt x="89" y="85"/>
                    <a:pt x="89" y="85"/>
                  </a:cubicBezTo>
                  <a:cubicBezTo>
                    <a:pt x="89" y="85"/>
                    <a:pt x="69" y="79"/>
                    <a:pt x="59" y="82"/>
                  </a:cubicBezTo>
                  <a:cubicBezTo>
                    <a:pt x="47" y="85"/>
                    <a:pt x="35" y="113"/>
                    <a:pt x="35" y="113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0" y="133"/>
                    <a:pt x="30" y="133"/>
                    <a:pt x="30" y="133"/>
                  </a:cubicBezTo>
                  <a:cubicBezTo>
                    <a:pt x="37" y="152"/>
                    <a:pt x="37" y="152"/>
                    <a:pt x="37" y="152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36" y="169"/>
                    <a:pt x="36" y="169"/>
                    <a:pt x="36" y="169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41" y="200"/>
                    <a:pt x="41" y="200"/>
                    <a:pt x="41" y="200"/>
                  </a:cubicBezTo>
                  <a:cubicBezTo>
                    <a:pt x="35" y="235"/>
                    <a:pt x="35" y="235"/>
                    <a:pt x="35" y="235"/>
                  </a:cubicBezTo>
                  <a:cubicBezTo>
                    <a:pt x="45" y="245"/>
                    <a:pt x="45" y="245"/>
                    <a:pt x="45" y="245"/>
                  </a:cubicBezTo>
                  <a:cubicBezTo>
                    <a:pt x="45" y="245"/>
                    <a:pt x="50" y="248"/>
                    <a:pt x="54" y="251"/>
                  </a:cubicBezTo>
                  <a:cubicBezTo>
                    <a:pt x="58" y="255"/>
                    <a:pt x="59" y="259"/>
                    <a:pt x="55" y="271"/>
                  </a:cubicBezTo>
                  <a:cubicBezTo>
                    <a:pt x="53" y="283"/>
                    <a:pt x="45" y="277"/>
                    <a:pt x="45" y="27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41" y="286"/>
                    <a:pt x="41" y="286"/>
                    <a:pt x="41" y="286"/>
                  </a:cubicBezTo>
                  <a:cubicBezTo>
                    <a:pt x="43" y="295"/>
                    <a:pt x="43" y="295"/>
                    <a:pt x="43" y="295"/>
                  </a:cubicBezTo>
                  <a:cubicBezTo>
                    <a:pt x="43" y="295"/>
                    <a:pt x="49" y="309"/>
                    <a:pt x="51" y="316"/>
                  </a:cubicBezTo>
                  <a:cubicBezTo>
                    <a:pt x="54" y="324"/>
                    <a:pt x="46" y="320"/>
                    <a:pt x="45" y="325"/>
                  </a:cubicBezTo>
                  <a:cubicBezTo>
                    <a:pt x="44" y="329"/>
                    <a:pt x="48" y="332"/>
                    <a:pt x="45" y="345"/>
                  </a:cubicBezTo>
                  <a:cubicBezTo>
                    <a:pt x="41" y="357"/>
                    <a:pt x="30" y="351"/>
                    <a:pt x="26" y="355"/>
                  </a:cubicBezTo>
                  <a:cubicBezTo>
                    <a:pt x="21" y="358"/>
                    <a:pt x="28" y="359"/>
                    <a:pt x="27" y="364"/>
                  </a:cubicBezTo>
                  <a:cubicBezTo>
                    <a:pt x="27" y="368"/>
                    <a:pt x="21" y="367"/>
                    <a:pt x="19" y="371"/>
                  </a:cubicBezTo>
                  <a:cubicBezTo>
                    <a:pt x="16" y="373"/>
                    <a:pt x="25" y="391"/>
                    <a:pt x="25" y="391"/>
                  </a:cubicBezTo>
                  <a:cubicBezTo>
                    <a:pt x="25" y="391"/>
                    <a:pt x="21" y="399"/>
                    <a:pt x="19" y="406"/>
                  </a:cubicBezTo>
                  <a:cubicBezTo>
                    <a:pt x="17" y="413"/>
                    <a:pt x="16" y="419"/>
                    <a:pt x="12" y="419"/>
                  </a:cubicBezTo>
                  <a:cubicBezTo>
                    <a:pt x="8" y="419"/>
                    <a:pt x="11" y="410"/>
                    <a:pt x="10" y="405"/>
                  </a:cubicBezTo>
                  <a:cubicBezTo>
                    <a:pt x="9" y="400"/>
                    <a:pt x="1" y="405"/>
                    <a:pt x="1" y="405"/>
                  </a:cubicBezTo>
                  <a:cubicBezTo>
                    <a:pt x="0" y="412"/>
                    <a:pt x="0" y="412"/>
                    <a:pt x="0" y="412"/>
                  </a:cubicBezTo>
                  <a:cubicBezTo>
                    <a:pt x="0" y="412"/>
                    <a:pt x="3" y="416"/>
                    <a:pt x="3" y="421"/>
                  </a:cubicBezTo>
                  <a:cubicBezTo>
                    <a:pt x="3" y="424"/>
                    <a:pt x="0" y="427"/>
                    <a:pt x="0" y="427"/>
                  </a:cubicBezTo>
                  <a:cubicBezTo>
                    <a:pt x="0" y="427"/>
                    <a:pt x="5" y="441"/>
                    <a:pt x="5" y="444"/>
                  </a:cubicBezTo>
                  <a:cubicBezTo>
                    <a:pt x="5" y="447"/>
                    <a:pt x="1" y="447"/>
                    <a:pt x="1" y="447"/>
                  </a:cubicBezTo>
                  <a:cubicBezTo>
                    <a:pt x="2" y="451"/>
                    <a:pt x="2" y="451"/>
                    <a:pt x="2" y="451"/>
                  </a:cubicBezTo>
                  <a:cubicBezTo>
                    <a:pt x="2" y="451"/>
                    <a:pt x="6" y="448"/>
                    <a:pt x="9" y="450"/>
                  </a:cubicBezTo>
                  <a:cubicBezTo>
                    <a:pt x="10" y="451"/>
                    <a:pt x="9" y="455"/>
                    <a:pt x="9" y="455"/>
                  </a:cubicBezTo>
                  <a:cubicBezTo>
                    <a:pt x="11" y="455"/>
                    <a:pt x="11" y="455"/>
                    <a:pt x="11" y="455"/>
                  </a:cubicBezTo>
                  <a:cubicBezTo>
                    <a:pt x="14" y="445"/>
                    <a:pt x="14" y="445"/>
                    <a:pt x="14" y="445"/>
                  </a:cubicBezTo>
                  <a:cubicBezTo>
                    <a:pt x="17" y="448"/>
                    <a:pt x="17" y="448"/>
                    <a:pt x="17" y="448"/>
                  </a:cubicBezTo>
                  <a:cubicBezTo>
                    <a:pt x="10" y="458"/>
                    <a:pt x="10" y="458"/>
                    <a:pt x="10" y="458"/>
                  </a:cubicBezTo>
                  <a:cubicBezTo>
                    <a:pt x="10" y="460"/>
                    <a:pt x="10" y="460"/>
                    <a:pt x="10" y="460"/>
                  </a:cubicBezTo>
                  <a:cubicBezTo>
                    <a:pt x="25" y="452"/>
                    <a:pt x="25" y="452"/>
                    <a:pt x="25" y="452"/>
                  </a:cubicBezTo>
                  <a:cubicBezTo>
                    <a:pt x="22" y="457"/>
                    <a:pt x="22" y="457"/>
                    <a:pt x="22" y="457"/>
                  </a:cubicBezTo>
                  <a:cubicBezTo>
                    <a:pt x="25" y="461"/>
                    <a:pt x="25" y="461"/>
                    <a:pt x="25" y="461"/>
                  </a:cubicBezTo>
                  <a:cubicBezTo>
                    <a:pt x="21" y="478"/>
                    <a:pt x="21" y="478"/>
                    <a:pt x="21" y="478"/>
                  </a:cubicBezTo>
                  <a:cubicBezTo>
                    <a:pt x="18" y="485"/>
                    <a:pt x="18" y="485"/>
                    <a:pt x="18" y="485"/>
                  </a:cubicBezTo>
                  <a:cubicBezTo>
                    <a:pt x="22" y="489"/>
                    <a:pt x="22" y="489"/>
                    <a:pt x="22" y="489"/>
                  </a:cubicBezTo>
                  <a:cubicBezTo>
                    <a:pt x="17" y="494"/>
                    <a:pt x="17" y="494"/>
                    <a:pt x="17" y="494"/>
                  </a:cubicBezTo>
                  <a:cubicBezTo>
                    <a:pt x="22" y="494"/>
                    <a:pt x="22" y="494"/>
                    <a:pt x="22" y="494"/>
                  </a:cubicBezTo>
                  <a:cubicBezTo>
                    <a:pt x="24" y="494"/>
                    <a:pt x="26" y="502"/>
                    <a:pt x="26" y="505"/>
                  </a:cubicBezTo>
                  <a:cubicBezTo>
                    <a:pt x="26" y="509"/>
                    <a:pt x="27" y="516"/>
                    <a:pt x="29" y="516"/>
                  </a:cubicBezTo>
                  <a:cubicBezTo>
                    <a:pt x="31" y="516"/>
                    <a:pt x="32" y="509"/>
                    <a:pt x="32" y="509"/>
                  </a:cubicBezTo>
                  <a:cubicBezTo>
                    <a:pt x="32" y="518"/>
                    <a:pt x="32" y="518"/>
                    <a:pt x="32" y="518"/>
                  </a:cubicBezTo>
                  <a:cubicBezTo>
                    <a:pt x="34" y="519"/>
                    <a:pt x="34" y="519"/>
                    <a:pt x="34" y="519"/>
                  </a:cubicBezTo>
                  <a:cubicBezTo>
                    <a:pt x="32" y="525"/>
                    <a:pt x="32" y="525"/>
                    <a:pt x="32" y="525"/>
                  </a:cubicBezTo>
                  <a:cubicBezTo>
                    <a:pt x="37" y="527"/>
                    <a:pt x="37" y="527"/>
                    <a:pt x="37" y="527"/>
                  </a:cubicBezTo>
                  <a:cubicBezTo>
                    <a:pt x="37" y="534"/>
                    <a:pt x="37" y="534"/>
                    <a:pt x="37" y="534"/>
                  </a:cubicBezTo>
                  <a:cubicBezTo>
                    <a:pt x="42" y="539"/>
                    <a:pt x="42" y="539"/>
                    <a:pt x="42" y="539"/>
                  </a:cubicBezTo>
                  <a:cubicBezTo>
                    <a:pt x="42" y="544"/>
                    <a:pt x="42" y="544"/>
                    <a:pt x="42" y="544"/>
                  </a:cubicBezTo>
                  <a:cubicBezTo>
                    <a:pt x="48" y="552"/>
                    <a:pt x="48" y="552"/>
                    <a:pt x="48" y="552"/>
                  </a:cubicBezTo>
                  <a:cubicBezTo>
                    <a:pt x="50" y="551"/>
                    <a:pt x="50" y="551"/>
                    <a:pt x="50" y="551"/>
                  </a:cubicBezTo>
                  <a:cubicBezTo>
                    <a:pt x="50" y="551"/>
                    <a:pt x="52" y="563"/>
                    <a:pt x="55" y="564"/>
                  </a:cubicBezTo>
                  <a:cubicBezTo>
                    <a:pt x="60" y="566"/>
                    <a:pt x="61" y="562"/>
                    <a:pt x="61" y="562"/>
                  </a:cubicBezTo>
                  <a:cubicBezTo>
                    <a:pt x="61" y="562"/>
                    <a:pt x="64" y="570"/>
                    <a:pt x="64" y="573"/>
                  </a:cubicBezTo>
                  <a:cubicBezTo>
                    <a:pt x="64" y="577"/>
                    <a:pt x="58" y="576"/>
                    <a:pt x="58" y="576"/>
                  </a:cubicBezTo>
                  <a:cubicBezTo>
                    <a:pt x="58" y="576"/>
                    <a:pt x="57" y="571"/>
                    <a:pt x="52" y="574"/>
                  </a:cubicBezTo>
                  <a:cubicBezTo>
                    <a:pt x="48" y="578"/>
                    <a:pt x="58" y="582"/>
                    <a:pt x="58" y="582"/>
                  </a:cubicBezTo>
                  <a:cubicBezTo>
                    <a:pt x="58" y="582"/>
                    <a:pt x="61" y="587"/>
                    <a:pt x="59" y="589"/>
                  </a:cubicBezTo>
                  <a:cubicBezTo>
                    <a:pt x="55" y="592"/>
                    <a:pt x="51" y="586"/>
                    <a:pt x="49" y="585"/>
                  </a:cubicBezTo>
                  <a:cubicBezTo>
                    <a:pt x="47" y="583"/>
                    <a:pt x="44" y="583"/>
                    <a:pt x="43" y="584"/>
                  </a:cubicBezTo>
                  <a:cubicBezTo>
                    <a:pt x="42" y="585"/>
                    <a:pt x="47" y="587"/>
                    <a:pt x="47" y="587"/>
                  </a:cubicBezTo>
                  <a:cubicBezTo>
                    <a:pt x="48" y="592"/>
                    <a:pt x="48" y="592"/>
                    <a:pt x="48" y="592"/>
                  </a:cubicBezTo>
                  <a:cubicBezTo>
                    <a:pt x="48" y="592"/>
                    <a:pt x="54" y="600"/>
                    <a:pt x="58" y="604"/>
                  </a:cubicBezTo>
                  <a:cubicBezTo>
                    <a:pt x="61" y="609"/>
                    <a:pt x="61" y="613"/>
                    <a:pt x="61" y="613"/>
                  </a:cubicBezTo>
                  <a:cubicBezTo>
                    <a:pt x="65" y="614"/>
                    <a:pt x="65" y="614"/>
                    <a:pt x="65" y="614"/>
                  </a:cubicBezTo>
                  <a:cubicBezTo>
                    <a:pt x="64" y="619"/>
                    <a:pt x="64" y="619"/>
                    <a:pt x="64" y="619"/>
                  </a:cubicBezTo>
                  <a:cubicBezTo>
                    <a:pt x="64" y="619"/>
                    <a:pt x="67" y="619"/>
                    <a:pt x="69" y="625"/>
                  </a:cubicBezTo>
                  <a:cubicBezTo>
                    <a:pt x="71" y="629"/>
                    <a:pt x="64" y="630"/>
                    <a:pt x="64" y="630"/>
                  </a:cubicBezTo>
                  <a:cubicBezTo>
                    <a:pt x="64" y="636"/>
                    <a:pt x="64" y="636"/>
                    <a:pt x="64" y="636"/>
                  </a:cubicBezTo>
                  <a:cubicBezTo>
                    <a:pt x="64" y="636"/>
                    <a:pt x="67" y="639"/>
                    <a:pt x="66" y="642"/>
                  </a:cubicBezTo>
                  <a:cubicBezTo>
                    <a:pt x="65" y="644"/>
                    <a:pt x="62" y="641"/>
                    <a:pt x="62" y="641"/>
                  </a:cubicBezTo>
                  <a:cubicBezTo>
                    <a:pt x="61" y="645"/>
                    <a:pt x="61" y="645"/>
                    <a:pt x="61" y="645"/>
                  </a:cubicBezTo>
                  <a:cubicBezTo>
                    <a:pt x="65" y="644"/>
                    <a:pt x="65" y="644"/>
                    <a:pt x="65" y="644"/>
                  </a:cubicBezTo>
                  <a:cubicBezTo>
                    <a:pt x="65" y="644"/>
                    <a:pt x="78" y="647"/>
                    <a:pt x="82" y="647"/>
                  </a:cubicBezTo>
                  <a:cubicBezTo>
                    <a:pt x="85" y="647"/>
                    <a:pt x="91" y="643"/>
                    <a:pt x="97" y="641"/>
                  </a:cubicBezTo>
                  <a:cubicBezTo>
                    <a:pt x="103" y="639"/>
                    <a:pt x="106" y="643"/>
                    <a:pt x="106" y="643"/>
                  </a:cubicBezTo>
                  <a:cubicBezTo>
                    <a:pt x="112" y="642"/>
                    <a:pt x="112" y="642"/>
                    <a:pt x="112" y="642"/>
                  </a:cubicBezTo>
                  <a:cubicBezTo>
                    <a:pt x="112" y="642"/>
                    <a:pt x="117" y="633"/>
                    <a:pt x="118" y="628"/>
                  </a:cubicBezTo>
                  <a:cubicBezTo>
                    <a:pt x="119" y="624"/>
                    <a:pt x="111" y="623"/>
                    <a:pt x="111" y="617"/>
                  </a:cubicBezTo>
                  <a:cubicBezTo>
                    <a:pt x="111" y="613"/>
                    <a:pt x="118" y="602"/>
                    <a:pt x="120" y="600"/>
                  </a:cubicBezTo>
                  <a:cubicBezTo>
                    <a:pt x="123" y="599"/>
                    <a:pt x="129" y="603"/>
                    <a:pt x="131" y="602"/>
                  </a:cubicBezTo>
                  <a:cubicBezTo>
                    <a:pt x="133" y="600"/>
                    <a:pt x="129" y="592"/>
                    <a:pt x="129" y="592"/>
                  </a:cubicBezTo>
                  <a:cubicBezTo>
                    <a:pt x="147" y="590"/>
                    <a:pt x="147" y="590"/>
                    <a:pt x="147" y="590"/>
                  </a:cubicBezTo>
                  <a:cubicBezTo>
                    <a:pt x="155" y="592"/>
                    <a:pt x="155" y="592"/>
                    <a:pt x="155" y="592"/>
                  </a:cubicBezTo>
                  <a:cubicBezTo>
                    <a:pt x="161" y="587"/>
                    <a:pt x="161" y="587"/>
                    <a:pt x="161" y="587"/>
                  </a:cubicBezTo>
                  <a:cubicBezTo>
                    <a:pt x="172" y="595"/>
                    <a:pt x="172" y="595"/>
                    <a:pt x="172" y="595"/>
                  </a:cubicBezTo>
                  <a:cubicBezTo>
                    <a:pt x="172" y="595"/>
                    <a:pt x="176" y="586"/>
                    <a:pt x="178" y="585"/>
                  </a:cubicBezTo>
                  <a:cubicBezTo>
                    <a:pt x="179" y="583"/>
                    <a:pt x="181" y="568"/>
                    <a:pt x="181" y="568"/>
                  </a:cubicBezTo>
                  <a:cubicBezTo>
                    <a:pt x="184" y="558"/>
                    <a:pt x="184" y="558"/>
                    <a:pt x="184" y="558"/>
                  </a:cubicBezTo>
                  <a:cubicBezTo>
                    <a:pt x="188" y="555"/>
                    <a:pt x="188" y="555"/>
                    <a:pt x="188" y="555"/>
                  </a:cubicBezTo>
                  <a:cubicBezTo>
                    <a:pt x="192" y="539"/>
                    <a:pt x="192" y="539"/>
                    <a:pt x="192" y="539"/>
                  </a:cubicBezTo>
                  <a:cubicBezTo>
                    <a:pt x="190" y="533"/>
                    <a:pt x="190" y="533"/>
                    <a:pt x="190" y="533"/>
                  </a:cubicBezTo>
                  <a:cubicBezTo>
                    <a:pt x="190" y="533"/>
                    <a:pt x="193" y="532"/>
                    <a:pt x="194" y="529"/>
                  </a:cubicBezTo>
                  <a:cubicBezTo>
                    <a:pt x="195" y="525"/>
                    <a:pt x="191" y="523"/>
                    <a:pt x="191" y="523"/>
                  </a:cubicBezTo>
                  <a:cubicBezTo>
                    <a:pt x="192" y="509"/>
                    <a:pt x="192" y="509"/>
                    <a:pt x="192" y="509"/>
                  </a:cubicBezTo>
                  <a:cubicBezTo>
                    <a:pt x="192" y="509"/>
                    <a:pt x="195" y="510"/>
                    <a:pt x="197" y="504"/>
                  </a:cubicBezTo>
                  <a:cubicBezTo>
                    <a:pt x="200" y="499"/>
                    <a:pt x="191" y="494"/>
                    <a:pt x="191" y="494"/>
                  </a:cubicBezTo>
                  <a:cubicBezTo>
                    <a:pt x="193" y="492"/>
                    <a:pt x="193" y="492"/>
                    <a:pt x="193" y="492"/>
                  </a:cubicBezTo>
                  <a:cubicBezTo>
                    <a:pt x="194" y="483"/>
                    <a:pt x="194" y="483"/>
                    <a:pt x="194" y="483"/>
                  </a:cubicBezTo>
                  <a:cubicBezTo>
                    <a:pt x="192" y="476"/>
                    <a:pt x="192" y="476"/>
                    <a:pt x="192" y="476"/>
                  </a:cubicBezTo>
                  <a:cubicBezTo>
                    <a:pt x="188" y="476"/>
                    <a:pt x="188" y="476"/>
                    <a:pt x="188" y="476"/>
                  </a:cubicBezTo>
                  <a:cubicBezTo>
                    <a:pt x="188" y="476"/>
                    <a:pt x="188" y="474"/>
                    <a:pt x="191" y="473"/>
                  </a:cubicBezTo>
                  <a:cubicBezTo>
                    <a:pt x="195" y="473"/>
                    <a:pt x="198" y="476"/>
                    <a:pt x="198" y="476"/>
                  </a:cubicBezTo>
                  <a:cubicBezTo>
                    <a:pt x="197" y="470"/>
                    <a:pt x="197" y="470"/>
                    <a:pt x="197" y="470"/>
                  </a:cubicBezTo>
                  <a:cubicBezTo>
                    <a:pt x="193" y="468"/>
                    <a:pt x="193" y="468"/>
                    <a:pt x="193" y="468"/>
                  </a:cubicBezTo>
                  <a:cubicBezTo>
                    <a:pt x="196" y="467"/>
                    <a:pt x="196" y="467"/>
                    <a:pt x="196" y="467"/>
                  </a:cubicBezTo>
                  <a:cubicBezTo>
                    <a:pt x="196" y="467"/>
                    <a:pt x="196" y="459"/>
                    <a:pt x="198" y="455"/>
                  </a:cubicBezTo>
                  <a:cubicBezTo>
                    <a:pt x="201" y="451"/>
                    <a:pt x="192" y="446"/>
                    <a:pt x="192" y="446"/>
                  </a:cubicBezTo>
                  <a:cubicBezTo>
                    <a:pt x="195" y="445"/>
                    <a:pt x="195" y="445"/>
                    <a:pt x="195" y="445"/>
                  </a:cubicBezTo>
                  <a:cubicBezTo>
                    <a:pt x="192" y="440"/>
                    <a:pt x="192" y="440"/>
                    <a:pt x="192" y="440"/>
                  </a:cubicBezTo>
                  <a:cubicBezTo>
                    <a:pt x="192" y="440"/>
                    <a:pt x="198" y="442"/>
                    <a:pt x="201" y="435"/>
                  </a:cubicBezTo>
                  <a:cubicBezTo>
                    <a:pt x="204" y="427"/>
                    <a:pt x="183" y="427"/>
                    <a:pt x="183" y="427"/>
                  </a:cubicBezTo>
                  <a:cubicBezTo>
                    <a:pt x="182" y="430"/>
                    <a:pt x="182" y="430"/>
                    <a:pt x="182" y="430"/>
                  </a:cubicBezTo>
                  <a:cubicBezTo>
                    <a:pt x="176" y="429"/>
                    <a:pt x="176" y="429"/>
                    <a:pt x="176" y="429"/>
                  </a:cubicBezTo>
                  <a:cubicBezTo>
                    <a:pt x="176" y="425"/>
                    <a:pt x="176" y="425"/>
                    <a:pt x="176" y="425"/>
                  </a:cubicBezTo>
                  <a:cubicBezTo>
                    <a:pt x="192" y="425"/>
                    <a:pt x="192" y="425"/>
                    <a:pt x="192" y="425"/>
                  </a:cubicBezTo>
                  <a:cubicBezTo>
                    <a:pt x="195" y="425"/>
                    <a:pt x="201" y="428"/>
                    <a:pt x="201" y="428"/>
                  </a:cubicBezTo>
                  <a:cubicBezTo>
                    <a:pt x="204" y="423"/>
                    <a:pt x="204" y="423"/>
                    <a:pt x="204" y="423"/>
                  </a:cubicBezTo>
                  <a:cubicBezTo>
                    <a:pt x="202" y="416"/>
                    <a:pt x="202" y="416"/>
                    <a:pt x="202" y="416"/>
                  </a:cubicBezTo>
                  <a:cubicBezTo>
                    <a:pt x="208" y="420"/>
                    <a:pt x="208" y="420"/>
                    <a:pt x="208" y="420"/>
                  </a:cubicBezTo>
                  <a:cubicBezTo>
                    <a:pt x="208" y="420"/>
                    <a:pt x="212" y="419"/>
                    <a:pt x="213" y="419"/>
                  </a:cubicBezTo>
                  <a:cubicBezTo>
                    <a:pt x="214" y="419"/>
                    <a:pt x="218" y="414"/>
                    <a:pt x="218" y="414"/>
                  </a:cubicBezTo>
                  <a:cubicBezTo>
                    <a:pt x="218" y="409"/>
                    <a:pt x="218" y="409"/>
                    <a:pt x="218" y="409"/>
                  </a:cubicBezTo>
                  <a:cubicBezTo>
                    <a:pt x="222" y="410"/>
                    <a:pt x="222" y="410"/>
                    <a:pt x="222" y="410"/>
                  </a:cubicBezTo>
                  <a:cubicBezTo>
                    <a:pt x="223" y="395"/>
                    <a:pt x="223" y="395"/>
                    <a:pt x="223" y="395"/>
                  </a:cubicBezTo>
                  <a:cubicBezTo>
                    <a:pt x="226" y="396"/>
                    <a:pt x="226" y="396"/>
                    <a:pt x="226" y="396"/>
                  </a:cubicBezTo>
                  <a:cubicBezTo>
                    <a:pt x="228" y="406"/>
                    <a:pt x="228" y="406"/>
                    <a:pt x="228" y="406"/>
                  </a:cubicBezTo>
                  <a:cubicBezTo>
                    <a:pt x="235" y="407"/>
                    <a:pt x="235" y="407"/>
                    <a:pt x="235" y="407"/>
                  </a:cubicBezTo>
                  <a:cubicBezTo>
                    <a:pt x="237" y="397"/>
                    <a:pt x="237" y="397"/>
                    <a:pt x="237" y="397"/>
                  </a:cubicBezTo>
                  <a:cubicBezTo>
                    <a:pt x="237" y="397"/>
                    <a:pt x="239" y="397"/>
                    <a:pt x="241" y="396"/>
                  </a:cubicBezTo>
                  <a:cubicBezTo>
                    <a:pt x="242" y="395"/>
                    <a:pt x="242" y="391"/>
                    <a:pt x="242" y="391"/>
                  </a:cubicBezTo>
                  <a:cubicBezTo>
                    <a:pt x="246" y="390"/>
                    <a:pt x="246" y="390"/>
                    <a:pt x="246" y="390"/>
                  </a:cubicBezTo>
                  <a:cubicBezTo>
                    <a:pt x="248" y="388"/>
                    <a:pt x="248" y="388"/>
                    <a:pt x="248" y="388"/>
                  </a:cubicBezTo>
                  <a:cubicBezTo>
                    <a:pt x="245" y="387"/>
                    <a:pt x="245" y="387"/>
                    <a:pt x="245" y="387"/>
                  </a:cubicBezTo>
                  <a:cubicBezTo>
                    <a:pt x="243" y="381"/>
                    <a:pt x="243" y="381"/>
                    <a:pt x="243" y="381"/>
                  </a:cubicBezTo>
                  <a:cubicBezTo>
                    <a:pt x="237" y="376"/>
                    <a:pt x="237" y="376"/>
                    <a:pt x="237" y="376"/>
                  </a:cubicBezTo>
                  <a:cubicBezTo>
                    <a:pt x="239" y="373"/>
                    <a:pt x="239" y="373"/>
                    <a:pt x="239" y="373"/>
                  </a:cubicBezTo>
                  <a:cubicBezTo>
                    <a:pt x="244" y="373"/>
                    <a:pt x="244" y="373"/>
                    <a:pt x="244" y="37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58" y="355"/>
                    <a:pt x="258" y="355"/>
                    <a:pt x="258" y="355"/>
                  </a:cubicBezTo>
                  <a:cubicBezTo>
                    <a:pt x="266" y="349"/>
                    <a:pt x="266" y="349"/>
                    <a:pt x="266" y="349"/>
                  </a:cubicBezTo>
                  <a:cubicBezTo>
                    <a:pt x="267" y="348"/>
                    <a:pt x="267" y="348"/>
                    <a:pt x="267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61" y="342"/>
                    <a:pt x="261" y="342"/>
                    <a:pt x="261" y="342"/>
                  </a:cubicBezTo>
                  <a:cubicBezTo>
                    <a:pt x="266" y="343"/>
                    <a:pt x="266" y="343"/>
                    <a:pt x="266" y="343"/>
                  </a:cubicBezTo>
                  <a:cubicBezTo>
                    <a:pt x="267" y="340"/>
                    <a:pt x="267" y="340"/>
                    <a:pt x="267" y="340"/>
                  </a:cubicBezTo>
                  <a:cubicBezTo>
                    <a:pt x="261" y="336"/>
                    <a:pt x="261" y="336"/>
                    <a:pt x="261" y="336"/>
                  </a:cubicBezTo>
                  <a:cubicBezTo>
                    <a:pt x="256" y="326"/>
                    <a:pt x="256" y="326"/>
                    <a:pt x="256" y="326"/>
                  </a:cubicBezTo>
                  <a:cubicBezTo>
                    <a:pt x="247" y="326"/>
                    <a:pt x="247" y="326"/>
                    <a:pt x="247" y="326"/>
                  </a:cubicBezTo>
                  <a:cubicBezTo>
                    <a:pt x="245" y="326"/>
                    <a:pt x="242" y="318"/>
                    <a:pt x="242" y="318"/>
                  </a:cubicBezTo>
                  <a:cubicBezTo>
                    <a:pt x="242" y="314"/>
                    <a:pt x="242" y="314"/>
                    <a:pt x="242" y="314"/>
                  </a:cubicBezTo>
                  <a:cubicBezTo>
                    <a:pt x="241" y="312"/>
                    <a:pt x="241" y="312"/>
                    <a:pt x="241" y="312"/>
                  </a:cubicBezTo>
                  <a:cubicBezTo>
                    <a:pt x="237" y="313"/>
                    <a:pt x="237" y="313"/>
                    <a:pt x="237" y="313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7" y="302"/>
                    <a:pt x="228" y="298"/>
                    <a:pt x="225" y="297"/>
                  </a:cubicBezTo>
                  <a:cubicBezTo>
                    <a:pt x="221" y="296"/>
                    <a:pt x="216" y="305"/>
                    <a:pt x="216" y="305"/>
                  </a:cubicBezTo>
                  <a:cubicBezTo>
                    <a:pt x="213" y="300"/>
                    <a:pt x="213" y="300"/>
                    <a:pt x="213" y="300"/>
                  </a:cubicBezTo>
                  <a:cubicBezTo>
                    <a:pt x="213" y="300"/>
                    <a:pt x="215" y="298"/>
                    <a:pt x="213" y="296"/>
                  </a:cubicBezTo>
                  <a:cubicBezTo>
                    <a:pt x="210" y="294"/>
                    <a:pt x="198" y="296"/>
                    <a:pt x="198" y="296"/>
                  </a:cubicBezTo>
                  <a:cubicBezTo>
                    <a:pt x="205" y="289"/>
                    <a:pt x="205" y="289"/>
                    <a:pt x="205" y="289"/>
                  </a:cubicBezTo>
                  <a:cubicBezTo>
                    <a:pt x="200" y="282"/>
                    <a:pt x="200" y="282"/>
                    <a:pt x="200" y="282"/>
                  </a:cubicBezTo>
                  <a:cubicBezTo>
                    <a:pt x="196" y="281"/>
                    <a:pt x="196" y="281"/>
                    <a:pt x="196" y="281"/>
                  </a:cubicBezTo>
                  <a:cubicBezTo>
                    <a:pt x="198" y="273"/>
                    <a:pt x="198" y="273"/>
                    <a:pt x="198" y="273"/>
                  </a:cubicBezTo>
                  <a:cubicBezTo>
                    <a:pt x="196" y="263"/>
                    <a:pt x="196" y="263"/>
                    <a:pt x="196" y="263"/>
                  </a:cubicBezTo>
                  <a:cubicBezTo>
                    <a:pt x="196" y="263"/>
                    <a:pt x="198" y="257"/>
                    <a:pt x="198" y="254"/>
                  </a:cubicBezTo>
                  <a:cubicBezTo>
                    <a:pt x="198" y="252"/>
                    <a:pt x="193" y="250"/>
                    <a:pt x="193" y="250"/>
                  </a:cubicBezTo>
                  <a:cubicBezTo>
                    <a:pt x="195" y="239"/>
                    <a:pt x="195" y="239"/>
                    <a:pt x="195" y="239"/>
                  </a:cubicBezTo>
                  <a:cubicBezTo>
                    <a:pt x="193" y="238"/>
                    <a:pt x="193" y="238"/>
                    <a:pt x="193" y="238"/>
                  </a:cubicBezTo>
                  <a:cubicBezTo>
                    <a:pt x="196" y="236"/>
                    <a:pt x="196" y="236"/>
                    <a:pt x="196" y="236"/>
                  </a:cubicBezTo>
                  <a:cubicBezTo>
                    <a:pt x="192" y="227"/>
                    <a:pt x="192" y="227"/>
                    <a:pt x="192" y="227"/>
                  </a:cubicBezTo>
                  <a:cubicBezTo>
                    <a:pt x="198" y="231"/>
                    <a:pt x="198" y="231"/>
                    <a:pt x="198" y="231"/>
                  </a:cubicBezTo>
                  <a:cubicBezTo>
                    <a:pt x="201" y="227"/>
                    <a:pt x="201" y="227"/>
                    <a:pt x="201" y="227"/>
                  </a:cubicBezTo>
                  <a:cubicBezTo>
                    <a:pt x="201" y="227"/>
                    <a:pt x="200" y="223"/>
                    <a:pt x="198" y="221"/>
                  </a:cubicBezTo>
                  <a:cubicBezTo>
                    <a:pt x="195" y="220"/>
                    <a:pt x="197" y="212"/>
                    <a:pt x="197" y="212"/>
                  </a:cubicBezTo>
                  <a:cubicBezTo>
                    <a:pt x="200" y="209"/>
                    <a:pt x="200" y="209"/>
                    <a:pt x="200" y="209"/>
                  </a:cubicBezTo>
                  <a:cubicBezTo>
                    <a:pt x="201" y="198"/>
                    <a:pt x="201" y="198"/>
                    <a:pt x="201" y="198"/>
                  </a:cubicBezTo>
                  <a:cubicBezTo>
                    <a:pt x="206" y="196"/>
                    <a:pt x="206" y="196"/>
                    <a:pt x="206" y="196"/>
                  </a:cubicBezTo>
                  <a:cubicBezTo>
                    <a:pt x="206" y="193"/>
                    <a:pt x="206" y="193"/>
                    <a:pt x="206" y="193"/>
                  </a:cubicBezTo>
                  <a:cubicBezTo>
                    <a:pt x="200" y="193"/>
                    <a:pt x="200" y="193"/>
                    <a:pt x="200" y="193"/>
                  </a:cubicBezTo>
                  <a:cubicBezTo>
                    <a:pt x="199" y="189"/>
                    <a:pt x="199" y="189"/>
                    <a:pt x="199" y="189"/>
                  </a:cubicBezTo>
                  <a:cubicBezTo>
                    <a:pt x="197" y="190"/>
                    <a:pt x="197" y="190"/>
                    <a:pt x="197" y="190"/>
                  </a:cubicBezTo>
                  <a:cubicBezTo>
                    <a:pt x="196" y="180"/>
                    <a:pt x="196" y="180"/>
                    <a:pt x="196" y="180"/>
                  </a:cubicBezTo>
                  <a:cubicBezTo>
                    <a:pt x="194" y="178"/>
                    <a:pt x="194" y="178"/>
                    <a:pt x="194" y="178"/>
                  </a:cubicBezTo>
                  <a:cubicBezTo>
                    <a:pt x="199" y="176"/>
                    <a:pt x="199" y="176"/>
                    <a:pt x="199" y="176"/>
                  </a:cubicBezTo>
                  <a:cubicBezTo>
                    <a:pt x="202" y="182"/>
                    <a:pt x="202" y="182"/>
                    <a:pt x="202" y="182"/>
                  </a:cubicBezTo>
                  <a:cubicBezTo>
                    <a:pt x="207" y="180"/>
                    <a:pt x="207" y="180"/>
                    <a:pt x="207" y="180"/>
                  </a:cubicBezTo>
                  <a:cubicBezTo>
                    <a:pt x="205" y="178"/>
                    <a:pt x="205" y="178"/>
                    <a:pt x="205" y="178"/>
                  </a:cubicBezTo>
                  <a:cubicBezTo>
                    <a:pt x="207" y="175"/>
                    <a:pt x="207" y="175"/>
                    <a:pt x="207" y="175"/>
                  </a:cubicBezTo>
                  <a:cubicBezTo>
                    <a:pt x="207" y="175"/>
                    <a:pt x="212" y="175"/>
                    <a:pt x="212" y="173"/>
                  </a:cubicBezTo>
                  <a:cubicBezTo>
                    <a:pt x="212" y="166"/>
                    <a:pt x="212" y="166"/>
                    <a:pt x="212" y="166"/>
                  </a:cubicBezTo>
                  <a:cubicBezTo>
                    <a:pt x="213" y="162"/>
                    <a:pt x="213" y="162"/>
                    <a:pt x="213" y="162"/>
                  </a:cubicBezTo>
                  <a:cubicBezTo>
                    <a:pt x="213" y="162"/>
                    <a:pt x="211" y="156"/>
                    <a:pt x="213" y="156"/>
                  </a:cubicBezTo>
                  <a:cubicBezTo>
                    <a:pt x="215" y="155"/>
                    <a:pt x="216" y="158"/>
                    <a:pt x="216" y="158"/>
                  </a:cubicBezTo>
                  <a:cubicBezTo>
                    <a:pt x="221" y="155"/>
                    <a:pt x="221" y="155"/>
                    <a:pt x="221" y="155"/>
                  </a:cubicBezTo>
                  <a:cubicBezTo>
                    <a:pt x="221" y="155"/>
                    <a:pt x="218" y="151"/>
                    <a:pt x="221" y="149"/>
                  </a:cubicBezTo>
                  <a:cubicBezTo>
                    <a:pt x="222" y="148"/>
                    <a:pt x="225" y="153"/>
                    <a:pt x="225" y="153"/>
                  </a:cubicBezTo>
                  <a:cubicBezTo>
                    <a:pt x="229" y="147"/>
                    <a:pt x="229" y="147"/>
                    <a:pt x="229" y="147"/>
                  </a:cubicBezTo>
                  <a:cubicBezTo>
                    <a:pt x="225" y="145"/>
                    <a:pt x="225" y="145"/>
                    <a:pt x="225" y="145"/>
                  </a:cubicBezTo>
                  <a:cubicBezTo>
                    <a:pt x="228" y="144"/>
                    <a:pt x="228" y="144"/>
                    <a:pt x="228" y="144"/>
                  </a:cubicBezTo>
                  <a:cubicBezTo>
                    <a:pt x="228" y="143"/>
                    <a:pt x="228" y="143"/>
                    <a:pt x="228" y="143"/>
                  </a:cubicBezTo>
                  <a:cubicBezTo>
                    <a:pt x="222" y="143"/>
                    <a:pt x="222" y="143"/>
                    <a:pt x="222" y="143"/>
                  </a:cubicBezTo>
                  <a:cubicBezTo>
                    <a:pt x="226" y="140"/>
                    <a:pt x="226" y="140"/>
                    <a:pt x="226" y="140"/>
                  </a:cubicBezTo>
                  <a:cubicBezTo>
                    <a:pt x="231" y="128"/>
                    <a:pt x="231" y="128"/>
                    <a:pt x="231" y="128"/>
                  </a:cubicBezTo>
                  <a:cubicBezTo>
                    <a:pt x="234" y="128"/>
                    <a:pt x="234" y="128"/>
                    <a:pt x="234" y="128"/>
                  </a:cubicBezTo>
                  <a:cubicBezTo>
                    <a:pt x="239" y="125"/>
                    <a:pt x="239" y="125"/>
                    <a:pt x="239" y="125"/>
                  </a:cubicBezTo>
                  <a:cubicBezTo>
                    <a:pt x="233" y="123"/>
                    <a:pt x="233" y="123"/>
                    <a:pt x="233" y="123"/>
                  </a:cubicBezTo>
                  <a:cubicBezTo>
                    <a:pt x="239" y="122"/>
                    <a:pt x="239" y="122"/>
                    <a:pt x="239" y="122"/>
                  </a:cubicBezTo>
                  <a:cubicBezTo>
                    <a:pt x="243" y="126"/>
                    <a:pt x="243" y="126"/>
                    <a:pt x="243" y="126"/>
                  </a:cubicBezTo>
                  <a:cubicBezTo>
                    <a:pt x="243" y="126"/>
                    <a:pt x="244" y="122"/>
                    <a:pt x="246" y="119"/>
                  </a:cubicBezTo>
                  <a:cubicBezTo>
                    <a:pt x="248" y="116"/>
                    <a:pt x="249" y="109"/>
                    <a:pt x="249" y="109"/>
                  </a:cubicBezTo>
                  <a:cubicBezTo>
                    <a:pt x="249" y="109"/>
                    <a:pt x="251" y="110"/>
                    <a:pt x="254" y="108"/>
                  </a:cubicBezTo>
                  <a:cubicBezTo>
                    <a:pt x="256" y="107"/>
                    <a:pt x="255" y="101"/>
                    <a:pt x="255" y="101"/>
                  </a:cubicBezTo>
                  <a:cubicBezTo>
                    <a:pt x="258" y="106"/>
                    <a:pt x="258" y="106"/>
                    <a:pt x="258" y="106"/>
                  </a:cubicBezTo>
                  <a:cubicBezTo>
                    <a:pt x="261" y="111"/>
                    <a:pt x="261" y="111"/>
                    <a:pt x="261" y="111"/>
                  </a:cubicBezTo>
                  <a:cubicBezTo>
                    <a:pt x="263" y="109"/>
                    <a:pt x="263" y="109"/>
                    <a:pt x="263" y="109"/>
                  </a:cubicBezTo>
                  <a:cubicBezTo>
                    <a:pt x="262" y="105"/>
                    <a:pt x="262" y="105"/>
                    <a:pt x="262" y="105"/>
                  </a:cubicBezTo>
                  <a:cubicBezTo>
                    <a:pt x="270" y="96"/>
                    <a:pt x="270" y="96"/>
                    <a:pt x="270" y="96"/>
                  </a:cubicBezTo>
                  <a:cubicBezTo>
                    <a:pt x="268" y="94"/>
                    <a:pt x="268" y="94"/>
                    <a:pt x="268" y="94"/>
                  </a:cubicBezTo>
                  <a:cubicBezTo>
                    <a:pt x="271" y="93"/>
                    <a:pt x="271" y="93"/>
                    <a:pt x="271" y="93"/>
                  </a:cubicBezTo>
                  <a:cubicBezTo>
                    <a:pt x="272" y="94"/>
                    <a:pt x="272" y="94"/>
                    <a:pt x="272" y="94"/>
                  </a:cubicBezTo>
                  <a:cubicBezTo>
                    <a:pt x="278" y="92"/>
                    <a:pt x="278" y="92"/>
                    <a:pt x="278" y="92"/>
                  </a:cubicBezTo>
                  <a:cubicBezTo>
                    <a:pt x="278" y="88"/>
                    <a:pt x="278" y="88"/>
                    <a:pt x="278" y="88"/>
                  </a:cubicBezTo>
                  <a:cubicBezTo>
                    <a:pt x="280" y="92"/>
                    <a:pt x="280" y="92"/>
                    <a:pt x="280" y="92"/>
                  </a:cubicBezTo>
                  <a:cubicBezTo>
                    <a:pt x="281" y="82"/>
                    <a:pt x="281" y="82"/>
                    <a:pt x="281" y="82"/>
                  </a:cubicBezTo>
                  <a:cubicBezTo>
                    <a:pt x="284" y="87"/>
                    <a:pt x="284" y="87"/>
                    <a:pt x="284" y="87"/>
                  </a:cubicBezTo>
                  <a:cubicBezTo>
                    <a:pt x="290" y="81"/>
                    <a:pt x="290" y="81"/>
                    <a:pt x="290" y="81"/>
                  </a:cubicBezTo>
                  <a:cubicBezTo>
                    <a:pt x="290" y="81"/>
                    <a:pt x="293" y="73"/>
                    <a:pt x="294" y="69"/>
                  </a:cubicBezTo>
                  <a:cubicBezTo>
                    <a:pt x="295" y="66"/>
                    <a:pt x="293" y="61"/>
                    <a:pt x="293" y="61"/>
                  </a:cubicBezTo>
                  <a:cubicBezTo>
                    <a:pt x="298" y="56"/>
                    <a:pt x="298" y="56"/>
                    <a:pt x="298" y="56"/>
                  </a:cubicBezTo>
                  <a:cubicBezTo>
                    <a:pt x="299" y="50"/>
                    <a:pt x="299" y="50"/>
                    <a:pt x="299" y="50"/>
                  </a:cubicBezTo>
                  <a:cubicBezTo>
                    <a:pt x="309" y="41"/>
                    <a:pt x="309" y="41"/>
                    <a:pt x="309" y="41"/>
                  </a:cubicBezTo>
                  <a:cubicBezTo>
                    <a:pt x="310" y="35"/>
                    <a:pt x="310" y="35"/>
                    <a:pt x="310" y="35"/>
                  </a:cubicBezTo>
                  <a:lnTo>
                    <a:pt x="306" y="36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8" name="Norwegen" descr="© INSCALE GmbH, 05.05.2010&#10;http://www.presentationload.com/">
              <a:extLst>
                <a:ext uri="{FF2B5EF4-FFF2-40B4-BE49-F238E27FC236}">
                  <a16:creationId xmlns:a16="http://schemas.microsoft.com/office/drawing/2014/main" id="{8A1FF969-569D-42CB-84C0-E273A157138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586373" y="783432"/>
              <a:ext cx="1262060" cy="1365458"/>
            </a:xfrm>
            <a:custGeom>
              <a:avLst/>
              <a:gdLst/>
              <a:ahLst/>
              <a:cxnLst>
                <a:cxn ang="0">
                  <a:pos x="60" y="187"/>
                </a:cxn>
                <a:cxn ang="0">
                  <a:pos x="17" y="296"/>
                </a:cxn>
                <a:cxn ang="0">
                  <a:pos x="14" y="237"/>
                </a:cxn>
                <a:cxn ang="0">
                  <a:pos x="22" y="238"/>
                </a:cxn>
                <a:cxn ang="0">
                  <a:pos x="42" y="189"/>
                </a:cxn>
                <a:cxn ang="0">
                  <a:pos x="162" y="112"/>
                </a:cxn>
                <a:cxn ang="0">
                  <a:pos x="82" y="158"/>
                </a:cxn>
                <a:cxn ang="0">
                  <a:pos x="207" y="31"/>
                </a:cxn>
                <a:cxn ang="0">
                  <a:pos x="132" y="107"/>
                </a:cxn>
                <a:cxn ang="0">
                  <a:pos x="150" y="109"/>
                </a:cxn>
                <a:cxn ang="0">
                  <a:pos x="123" y="140"/>
                </a:cxn>
                <a:cxn ang="0">
                  <a:pos x="10" y="302"/>
                </a:cxn>
                <a:cxn ang="0">
                  <a:pos x="24" y="220"/>
                </a:cxn>
                <a:cxn ang="0">
                  <a:pos x="10" y="262"/>
                </a:cxn>
                <a:cxn ang="0">
                  <a:pos x="14" y="230"/>
                </a:cxn>
                <a:cxn ang="0">
                  <a:pos x="43" y="332"/>
                </a:cxn>
                <a:cxn ang="0">
                  <a:pos x="10" y="376"/>
                </a:cxn>
                <a:cxn ang="0">
                  <a:pos x="256" y="16"/>
                </a:cxn>
                <a:cxn ang="0">
                  <a:pos x="231" y="32"/>
                </a:cxn>
                <a:cxn ang="0">
                  <a:pos x="213" y="50"/>
                </a:cxn>
                <a:cxn ang="0">
                  <a:pos x="169" y="108"/>
                </a:cxn>
                <a:cxn ang="0">
                  <a:pos x="221" y="85"/>
                </a:cxn>
                <a:cxn ang="0">
                  <a:pos x="180" y="129"/>
                </a:cxn>
                <a:cxn ang="0">
                  <a:pos x="155" y="123"/>
                </a:cxn>
                <a:cxn ang="0">
                  <a:pos x="126" y="146"/>
                </a:cxn>
                <a:cxn ang="0">
                  <a:pos x="123" y="154"/>
                </a:cxn>
                <a:cxn ang="0">
                  <a:pos x="85" y="153"/>
                </a:cxn>
                <a:cxn ang="0">
                  <a:pos x="100" y="173"/>
                </a:cxn>
                <a:cxn ang="0">
                  <a:pos x="74" y="177"/>
                </a:cxn>
                <a:cxn ang="0">
                  <a:pos x="82" y="193"/>
                </a:cxn>
                <a:cxn ang="0">
                  <a:pos x="50" y="198"/>
                </a:cxn>
                <a:cxn ang="0">
                  <a:pos x="31" y="202"/>
                </a:cxn>
                <a:cxn ang="0">
                  <a:pos x="78" y="223"/>
                </a:cxn>
                <a:cxn ang="0">
                  <a:pos x="26" y="235"/>
                </a:cxn>
                <a:cxn ang="0">
                  <a:pos x="22" y="261"/>
                </a:cxn>
                <a:cxn ang="0">
                  <a:pos x="67" y="261"/>
                </a:cxn>
                <a:cxn ang="0">
                  <a:pos x="90" y="259"/>
                </a:cxn>
                <a:cxn ang="0">
                  <a:pos x="76" y="281"/>
                </a:cxn>
                <a:cxn ang="0">
                  <a:pos x="31" y="272"/>
                </a:cxn>
                <a:cxn ang="0">
                  <a:pos x="27" y="298"/>
                </a:cxn>
                <a:cxn ang="0">
                  <a:pos x="22" y="329"/>
                </a:cxn>
                <a:cxn ang="0">
                  <a:pos x="40" y="328"/>
                </a:cxn>
                <a:cxn ang="0">
                  <a:pos x="62" y="329"/>
                </a:cxn>
                <a:cxn ang="0">
                  <a:pos x="39" y="350"/>
                </a:cxn>
                <a:cxn ang="0">
                  <a:pos x="22" y="357"/>
                </a:cxn>
                <a:cxn ang="0">
                  <a:pos x="23" y="385"/>
                </a:cxn>
                <a:cxn ang="0">
                  <a:pos x="45" y="369"/>
                </a:cxn>
                <a:cxn ang="0">
                  <a:pos x="41" y="389"/>
                </a:cxn>
                <a:cxn ang="0">
                  <a:pos x="25" y="405"/>
                </a:cxn>
                <a:cxn ang="0">
                  <a:pos x="50" y="467"/>
                </a:cxn>
                <a:cxn ang="0">
                  <a:pos x="124" y="444"/>
                </a:cxn>
                <a:cxn ang="0">
                  <a:pos x="188" y="397"/>
                </a:cxn>
                <a:cxn ang="0">
                  <a:pos x="189" y="364"/>
                </a:cxn>
                <a:cxn ang="0">
                  <a:pos x="211" y="399"/>
                </a:cxn>
                <a:cxn ang="0">
                  <a:pos x="252" y="286"/>
                </a:cxn>
                <a:cxn ang="0">
                  <a:pos x="249" y="122"/>
                </a:cxn>
                <a:cxn ang="0">
                  <a:pos x="19" y="334"/>
                </a:cxn>
                <a:cxn ang="0">
                  <a:pos x="9" y="364"/>
                </a:cxn>
                <a:cxn ang="0">
                  <a:pos x="16" y="344"/>
                </a:cxn>
                <a:cxn ang="0">
                  <a:pos x="34" y="297"/>
                </a:cxn>
                <a:cxn ang="0">
                  <a:pos x="14" y="334"/>
                </a:cxn>
                <a:cxn ang="0">
                  <a:pos x="11" y="337"/>
                </a:cxn>
                <a:cxn ang="0">
                  <a:pos x="7" y="286"/>
                </a:cxn>
              </a:cxnLst>
              <a:rect l="0" t="0" r="r" b="b"/>
              <a:pathLst>
                <a:path w="314" h="471">
                  <a:moveTo>
                    <a:pt x="57" y="177"/>
                  </a:moveTo>
                  <a:cubicBezTo>
                    <a:pt x="59" y="177"/>
                    <a:pt x="61" y="172"/>
                    <a:pt x="58" y="173"/>
                  </a:cubicBezTo>
                  <a:cubicBezTo>
                    <a:pt x="55" y="174"/>
                    <a:pt x="56" y="177"/>
                    <a:pt x="57" y="177"/>
                  </a:cubicBezTo>
                  <a:close/>
                  <a:moveTo>
                    <a:pt x="53" y="184"/>
                  </a:moveTo>
                  <a:cubicBezTo>
                    <a:pt x="49" y="185"/>
                    <a:pt x="49" y="185"/>
                    <a:pt x="49" y="185"/>
                  </a:cubicBezTo>
                  <a:cubicBezTo>
                    <a:pt x="49" y="194"/>
                    <a:pt x="49" y="194"/>
                    <a:pt x="49" y="194"/>
                  </a:cubicBezTo>
                  <a:cubicBezTo>
                    <a:pt x="57" y="189"/>
                    <a:pt x="57" y="189"/>
                    <a:pt x="57" y="189"/>
                  </a:cubicBezTo>
                  <a:lnTo>
                    <a:pt x="53" y="184"/>
                  </a:lnTo>
                  <a:close/>
                  <a:moveTo>
                    <a:pt x="63" y="171"/>
                  </a:moveTo>
                  <a:cubicBezTo>
                    <a:pt x="59" y="170"/>
                    <a:pt x="59" y="170"/>
                    <a:pt x="59" y="170"/>
                  </a:cubicBezTo>
                  <a:cubicBezTo>
                    <a:pt x="62" y="173"/>
                    <a:pt x="62" y="173"/>
                    <a:pt x="62" y="173"/>
                  </a:cubicBezTo>
                  <a:lnTo>
                    <a:pt x="63" y="171"/>
                  </a:lnTo>
                  <a:close/>
                  <a:moveTo>
                    <a:pt x="60" y="187"/>
                  </a:moveTo>
                  <a:cubicBezTo>
                    <a:pt x="65" y="185"/>
                    <a:pt x="65" y="185"/>
                    <a:pt x="65" y="185"/>
                  </a:cubicBezTo>
                  <a:cubicBezTo>
                    <a:pt x="61" y="183"/>
                    <a:pt x="61" y="183"/>
                    <a:pt x="61" y="183"/>
                  </a:cubicBezTo>
                  <a:cubicBezTo>
                    <a:pt x="57" y="184"/>
                    <a:pt x="57" y="184"/>
                    <a:pt x="57" y="184"/>
                  </a:cubicBezTo>
                  <a:lnTo>
                    <a:pt x="60" y="187"/>
                  </a:lnTo>
                  <a:close/>
                  <a:moveTo>
                    <a:pt x="55" y="178"/>
                  </a:moveTo>
                  <a:cubicBezTo>
                    <a:pt x="51" y="182"/>
                    <a:pt x="51" y="182"/>
                    <a:pt x="51" y="182"/>
                  </a:cubicBezTo>
                  <a:cubicBezTo>
                    <a:pt x="58" y="182"/>
                    <a:pt x="58" y="182"/>
                    <a:pt x="58" y="182"/>
                  </a:cubicBezTo>
                  <a:lnTo>
                    <a:pt x="55" y="178"/>
                  </a:lnTo>
                  <a:close/>
                  <a:moveTo>
                    <a:pt x="22" y="294"/>
                  </a:moveTo>
                  <a:cubicBezTo>
                    <a:pt x="13" y="285"/>
                    <a:pt x="13" y="285"/>
                    <a:pt x="13" y="285"/>
                  </a:cubicBezTo>
                  <a:cubicBezTo>
                    <a:pt x="12" y="286"/>
                    <a:pt x="12" y="286"/>
                    <a:pt x="12" y="286"/>
                  </a:cubicBezTo>
                  <a:cubicBezTo>
                    <a:pt x="18" y="294"/>
                    <a:pt x="18" y="294"/>
                    <a:pt x="18" y="294"/>
                  </a:cubicBezTo>
                  <a:cubicBezTo>
                    <a:pt x="17" y="296"/>
                    <a:pt x="17" y="296"/>
                    <a:pt x="17" y="296"/>
                  </a:cubicBezTo>
                  <a:cubicBezTo>
                    <a:pt x="15" y="295"/>
                    <a:pt x="15" y="295"/>
                    <a:pt x="15" y="295"/>
                  </a:cubicBezTo>
                  <a:cubicBezTo>
                    <a:pt x="20" y="302"/>
                    <a:pt x="20" y="302"/>
                    <a:pt x="20" y="302"/>
                  </a:cubicBezTo>
                  <a:cubicBezTo>
                    <a:pt x="23" y="302"/>
                    <a:pt x="25" y="299"/>
                    <a:pt x="25" y="299"/>
                  </a:cubicBezTo>
                  <a:cubicBezTo>
                    <a:pt x="23" y="296"/>
                    <a:pt x="23" y="296"/>
                    <a:pt x="23" y="296"/>
                  </a:cubicBezTo>
                  <a:lnTo>
                    <a:pt x="22" y="294"/>
                  </a:lnTo>
                  <a:close/>
                  <a:moveTo>
                    <a:pt x="71" y="162"/>
                  </a:moveTo>
                  <a:cubicBezTo>
                    <a:pt x="69" y="162"/>
                    <a:pt x="69" y="162"/>
                    <a:pt x="69" y="162"/>
                  </a:cubicBezTo>
                  <a:cubicBezTo>
                    <a:pt x="69" y="166"/>
                    <a:pt x="69" y="166"/>
                    <a:pt x="69" y="166"/>
                  </a:cubicBezTo>
                  <a:cubicBezTo>
                    <a:pt x="71" y="166"/>
                    <a:pt x="71" y="166"/>
                    <a:pt x="71" y="166"/>
                  </a:cubicBezTo>
                  <a:lnTo>
                    <a:pt x="71" y="162"/>
                  </a:lnTo>
                  <a:close/>
                  <a:moveTo>
                    <a:pt x="15" y="241"/>
                  </a:moveTo>
                  <a:cubicBezTo>
                    <a:pt x="18" y="240"/>
                    <a:pt x="18" y="240"/>
                    <a:pt x="18" y="240"/>
                  </a:cubicBezTo>
                  <a:cubicBezTo>
                    <a:pt x="14" y="237"/>
                    <a:pt x="14" y="237"/>
                    <a:pt x="14" y="237"/>
                  </a:cubicBezTo>
                  <a:lnTo>
                    <a:pt x="15" y="241"/>
                  </a:lnTo>
                  <a:close/>
                  <a:moveTo>
                    <a:pt x="63" y="168"/>
                  </a:moveTo>
                  <a:cubicBezTo>
                    <a:pt x="62" y="169"/>
                    <a:pt x="62" y="169"/>
                    <a:pt x="62" y="169"/>
                  </a:cubicBezTo>
                  <a:cubicBezTo>
                    <a:pt x="65" y="171"/>
                    <a:pt x="65" y="171"/>
                    <a:pt x="65" y="171"/>
                  </a:cubicBezTo>
                  <a:lnTo>
                    <a:pt x="63" y="168"/>
                  </a:lnTo>
                  <a:close/>
                  <a:moveTo>
                    <a:pt x="36" y="192"/>
                  </a:moveTo>
                  <a:cubicBezTo>
                    <a:pt x="34" y="193"/>
                    <a:pt x="34" y="193"/>
                    <a:pt x="34" y="193"/>
                  </a:cubicBezTo>
                  <a:cubicBezTo>
                    <a:pt x="34" y="195"/>
                    <a:pt x="34" y="195"/>
                    <a:pt x="34" y="195"/>
                  </a:cubicBezTo>
                  <a:cubicBezTo>
                    <a:pt x="36" y="195"/>
                    <a:pt x="36" y="195"/>
                    <a:pt x="36" y="195"/>
                  </a:cubicBezTo>
                  <a:lnTo>
                    <a:pt x="36" y="192"/>
                  </a:lnTo>
                  <a:close/>
                  <a:moveTo>
                    <a:pt x="22" y="234"/>
                  </a:moveTo>
                  <a:cubicBezTo>
                    <a:pt x="17" y="236"/>
                    <a:pt x="17" y="236"/>
                    <a:pt x="17" y="236"/>
                  </a:cubicBezTo>
                  <a:cubicBezTo>
                    <a:pt x="22" y="238"/>
                    <a:pt x="22" y="238"/>
                    <a:pt x="22" y="238"/>
                  </a:cubicBezTo>
                  <a:lnTo>
                    <a:pt x="22" y="234"/>
                  </a:lnTo>
                  <a:close/>
                  <a:moveTo>
                    <a:pt x="45" y="198"/>
                  </a:moveTo>
                  <a:cubicBezTo>
                    <a:pt x="48" y="196"/>
                    <a:pt x="48" y="192"/>
                    <a:pt x="44" y="191"/>
                  </a:cubicBezTo>
                  <a:cubicBezTo>
                    <a:pt x="40" y="189"/>
                    <a:pt x="40" y="194"/>
                    <a:pt x="40" y="194"/>
                  </a:cubicBezTo>
                  <a:cubicBezTo>
                    <a:pt x="39" y="195"/>
                    <a:pt x="39" y="195"/>
                    <a:pt x="39" y="195"/>
                  </a:cubicBezTo>
                  <a:cubicBezTo>
                    <a:pt x="39" y="198"/>
                    <a:pt x="42" y="199"/>
                    <a:pt x="45" y="198"/>
                  </a:cubicBezTo>
                  <a:close/>
                  <a:moveTo>
                    <a:pt x="42" y="189"/>
                  </a:moveTo>
                  <a:cubicBezTo>
                    <a:pt x="45" y="189"/>
                    <a:pt x="45" y="189"/>
                    <a:pt x="45" y="189"/>
                  </a:cubicBezTo>
                  <a:cubicBezTo>
                    <a:pt x="46" y="187"/>
                    <a:pt x="46" y="187"/>
                    <a:pt x="46" y="187"/>
                  </a:cubicBezTo>
                  <a:cubicBezTo>
                    <a:pt x="43" y="184"/>
                    <a:pt x="43" y="184"/>
                    <a:pt x="43" y="184"/>
                  </a:cubicBezTo>
                  <a:cubicBezTo>
                    <a:pt x="41" y="184"/>
                    <a:pt x="41" y="184"/>
                    <a:pt x="41" y="184"/>
                  </a:cubicBezTo>
                  <a:cubicBezTo>
                    <a:pt x="42" y="187"/>
                    <a:pt x="42" y="187"/>
                    <a:pt x="42" y="187"/>
                  </a:cubicBezTo>
                  <a:lnTo>
                    <a:pt x="42" y="189"/>
                  </a:lnTo>
                  <a:close/>
                  <a:moveTo>
                    <a:pt x="80" y="169"/>
                  </a:moveTo>
                  <a:cubicBezTo>
                    <a:pt x="85" y="167"/>
                    <a:pt x="85" y="166"/>
                    <a:pt x="82" y="166"/>
                  </a:cubicBezTo>
                  <a:cubicBezTo>
                    <a:pt x="78" y="164"/>
                    <a:pt x="77" y="167"/>
                    <a:pt x="77" y="168"/>
                  </a:cubicBezTo>
                  <a:cubicBezTo>
                    <a:pt x="77" y="169"/>
                    <a:pt x="80" y="169"/>
                    <a:pt x="80" y="169"/>
                  </a:cubicBezTo>
                  <a:close/>
                  <a:moveTo>
                    <a:pt x="118" y="126"/>
                  </a:moveTo>
                  <a:cubicBezTo>
                    <a:pt x="123" y="128"/>
                    <a:pt x="123" y="128"/>
                    <a:pt x="123" y="128"/>
                  </a:cubicBezTo>
                  <a:cubicBezTo>
                    <a:pt x="127" y="127"/>
                    <a:pt x="127" y="127"/>
                    <a:pt x="127" y="127"/>
                  </a:cubicBezTo>
                  <a:cubicBezTo>
                    <a:pt x="127" y="127"/>
                    <a:pt x="127" y="120"/>
                    <a:pt x="123" y="121"/>
                  </a:cubicBezTo>
                  <a:cubicBezTo>
                    <a:pt x="117" y="121"/>
                    <a:pt x="115" y="122"/>
                    <a:pt x="115" y="122"/>
                  </a:cubicBezTo>
                  <a:cubicBezTo>
                    <a:pt x="116" y="126"/>
                    <a:pt x="116" y="126"/>
                    <a:pt x="116" y="126"/>
                  </a:cubicBezTo>
                  <a:lnTo>
                    <a:pt x="118" y="126"/>
                  </a:lnTo>
                  <a:close/>
                  <a:moveTo>
                    <a:pt x="162" y="106"/>
                  </a:moveTo>
                  <a:cubicBezTo>
                    <a:pt x="162" y="112"/>
                    <a:pt x="162" y="112"/>
                    <a:pt x="162" y="112"/>
                  </a:cubicBezTo>
                  <a:cubicBezTo>
                    <a:pt x="166" y="110"/>
                    <a:pt x="166" y="110"/>
                    <a:pt x="166" y="110"/>
                  </a:cubicBezTo>
                  <a:lnTo>
                    <a:pt x="162" y="106"/>
                  </a:lnTo>
                  <a:close/>
                  <a:moveTo>
                    <a:pt x="113" y="139"/>
                  </a:moveTo>
                  <a:cubicBezTo>
                    <a:pt x="111" y="143"/>
                    <a:pt x="111" y="143"/>
                    <a:pt x="111" y="143"/>
                  </a:cubicBezTo>
                  <a:cubicBezTo>
                    <a:pt x="115" y="142"/>
                    <a:pt x="115" y="142"/>
                    <a:pt x="115" y="142"/>
                  </a:cubicBezTo>
                  <a:lnTo>
                    <a:pt x="113" y="139"/>
                  </a:lnTo>
                  <a:close/>
                  <a:moveTo>
                    <a:pt x="116" y="146"/>
                  </a:moveTo>
                  <a:cubicBezTo>
                    <a:pt x="116" y="143"/>
                    <a:pt x="116" y="143"/>
                    <a:pt x="116" y="143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2" y="148"/>
                    <a:pt x="112" y="148"/>
                    <a:pt x="112" y="148"/>
                  </a:cubicBezTo>
                  <a:lnTo>
                    <a:pt x="116" y="146"/>
                  </a:lnTo>
                  <a:close/>
                  <a:moveTo>
                    <a:pt x="87" y="159"/>
                  </a:moveTo>
                  <a:cubicBezTo>
                    <a:pt x="82" y="158"/>
                    <a:pt x="82" y="158"/>
                    <a:pt x="82" y="158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83" y="162"/>
                    <a:pt x="83" y="162"/>
                    <a:pt x="83" y="162"/>
                  </a:cubicBezTo>
                  <a:lnTo>
                    <a:pt x="87" y="159"/>
                  </a:lnTo>
                  <a:close/>
                  <a:moveTo>
                    <a:pt x="235" y="16"/>
                  </a:moveTo>
                  <a:cubicBezTo>
                    <a:pt x="235" y="16"/>
                    <a:pt x="232" y="15"/>
                    <a:pt x="230" y="16"/>
                  </a:cubicBezTo>
                  <a:cubicBezTo>
                    <a:pt x="227" y="18"/>
                    <a:pt x="229" y="21"/>
                    <a:pt x="229" y="21"/>
                  </a:cubicBezTo>
                  <a:lnTo>
                    <a:pt x="235" y="16"/>
                  </a:lnTo>
                  <a:close/>
                  <a:moveTo>
                    <a:pt x="215" y="30"/>
                  </a:moveTo>
                  <a:cubicBezTo>
                    <a:pt x="216" y="30"/>
                    <a:pt x="214" y="32"/>
                    <a:pt x="214" y="32"/>
                  </a:cubicBezTo>
                  <a:cubicBezTo>
                    <a:pt x="216" y="34"/>
                    <a:pt x="216" y="34"/>
                    <a:pt x="216" y="34"/>
                  </a:cubicBezTo>
                  <a:cubicBezTo>
                    <a:pt x="222" y="30"/>
                    <a:pt x="222" y="30"/>
                    <a:pt x="222" y="30"/>
                  </a:cubicBezTo>
                  <a:cubicBezTo>
                    <a:pt x="222" y="30"/>
                    <a:pt x="220" y="25"/>
                    <a:pt x="214" y="26"/>
                  </a:cubicBezTo>
                  <a:cubicBezTo>
                    <a:pt x="210" y="27"/>
                    <a:pt x="207" y="31"/>
                    <a:pt x="207" y="31"/>
                  </a:cubicBezTo>
                  <a:cubicBezTo>
                    <a:pt x="210" y="33"/>
                    <a:pt x="210" y="33"/>
                    <a:pt x="210" y="33"/>
                  </a:cubicBezTo>
                  <a:cubicBezTo>
                    <a:pt x="210" y="33"/>
                    <a:pt x="214" y="29"/>
                    <a:pt x="215" y="30"/>
                  </a:cubicBezTo>
                  <a:close/>
                  <a:moveTo>
                    <a:pt x="159" y="108"/>
                  </a:moveTo>
                  <a:cubicBezTo>
                    <a:pt x="154" y="109"/>
                    <a:pt x="154" y="109"/>
                    <a:pt x="154" y="109"/>
                  </a:cubicBezTo>
                  <a:cubicBezTo>
                    <a:pt x="153" y="110"/>
                    <a:pt x="153" y="110"/>
                    <a:pt x="153" y="110"/>
                  </a:cubicBezTo>
                  <a:cubicBezTo>
                    <a:pt x="159" y="110"/>
                    <a:pt x="159" y="110"/>
                    <a:pt x="159" y="110"/>
                  </a:cubicBezTo>
                  <a:lnTo>
                    <a:pt x="159" y="108"/>
                  </a:lnTo>
                  <a:close/>
                  <a:moveTo>
                    <a:pt x="139" y="107"/>
                  </a:moveTo>
                  <a:cubicBezTo>
                    <a:pt x="147" y="105"/>
                    <a:pt x="147" y="105"/>
                    <a:pt x="147" y="105"/>
                  </a:cubicBezTo>
                  <a:cubicBezTo>
                    <a:pt x="146" y="99"/>
                    <a:pt x="146" y="99"/>
                    <a:pt x="146" y="99"/>
                  </a:cubicBezTo>
                  <a:cubicBezTo>
                    <a:pt x="146" y="99"/>
                    <a:pt x="142" y="104"/>
                    <a:pt x="139" y="104"/>
                  </a:cubicBezTo>
                  <a:cubicBezTo>
                    <a:pt x="137" y="105"/>
                    <a:pt x="131" y="106"/>
                    <a:pt x="131" y="106"/>
                  </a:cubicBezTo>
                  <a:cubicBezTo>
                    <a:pt x="132" y="107"/>
                    <a:pt x="132" y="107"/>
                    <a:pt x="132" y="107"/>
                  </a:cubicBezTo>
                  <a:lnTo>
                    <a:pt x="139" y="107"/>
                  </a:lnTo>
                  <a:close/>
                  <a:moveTo>
                    <a:pt x="110" y="148"/>
                  </a:moveTo>
                  <a:cubicBezTo>
                    <a:pt x="109" y="142"/>
                    <a:pt x="109" y="142"/>
                    <a:pt x="109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7" y="145"/>
                    <a:pt x="107" y="145"/>
                    <a:pt x="107" y="145"/>
                  </a:cubicBezTo>
                  <a:cubicBezTo>
                    <a:pt x="104" y="145"/>
                    <a:pt x="104" y="145"/>
                    <a:pt x="104" y="145"/>
                  </a:cubicBezTo>
                  <a:cubicBezTo>
                    <a:pt x="100" y="149"/>
                    <a:pt x="100" y="149"/>
                    <a:pt x="100" y="149"/>
                  </a:cubicBezTo>
                  <a:cubicBezTo>
                    <a:pt x="105" y="153"/>
                    <a:pt x="105" y="153"/>
                    <a:pt x="105" y="153"/>
                  </a:cubicBezTo>
                  <a:lnTo>
                    <a:pt x="110" y="148"/>
                  </a:lnTo>
                  <a:close/>
                  <a:moveTo>
                    <a:pt x="145" y="120"/>
                  </a:moveTo>
                  <a:cubicBezTo>
                    <a:pt x="154" y="117"/>
                    <a:pt x="158" y="114"/>
                    <a:pt x="156" y="113"/>
                  </a:cubicBezTo>
                  <a:cubicBezTo>
                    <a:pt x="154" y="112"/>
                    <a:pt x="150" y="112"/>
                    <a:pt x="150" y="112"/>
                  </a:cubicBezTo>
                  <a:cubicBezTo>
                    <a:pt x="150" y="109"/>
                    <a:pt x="150" y="109"/>
                    <a:pt x="150" y="109"/>
                  </a:cubicBezTo>
                  <a:cubicBezTo>
                    <a:pt x="150" y="109"/>
                    <a:pt x="147" y="109"/>
                    <a:pt x="143" y="110"/>
                  </a:cubicBezTo>
                  <a:cubicBezTo>
                    <a:pt x="139" y="110"/>
                    <a:pt x="138" y="113"/>
                    <a:pt x="138" y="113"/>
                  </a:cubicBezTo>
                  <a:cubicBezTo>
                    <a:pt x="138" y="113"/>
                    <a:pt x="131" y="115"/>
                    <a:pt x="131" y="119"/>
                  </a:cubicBezTo>
                  <a:cubicBezTo>
                    <a:pt x="131" y="124"/>
                    <a:pt x="138" y="121"/>
                    <a:pt x="145" y="120"/>
                  </a:cubicBezTo>
                  <a:close/>
                  <a:moveTo>
                    <a:pt x="132" y="140"/>
                  </a:moveTo>
                  <a:cubicBezTo>
                    <a:pt x="135" y="138"/>
                    <a:pt x="135" y="138"/>
                    <a:pt x="135" y="138"/>
                  </a:cubicBezTo>
                  <a:cubicBezTo>
                    <a:pt x="133" y="133"/>
                    <a:pt x="133" y="133"/>
                    <a:pt x="133" y="133"/>
                  </a:cubicBezTo>
                  <a:cubicBezTo>
                    <a:pt x="132" y="135"/>
                    <a:pt x="132" y="135"/>
                    <a:pt x="132" y="135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27" y="133"/>
                    <a:pt x="127" y="133"/>
                    <a:pt x="127" y="133"/>
                  </a:cubicBezTo>
                  <a:lnTo>
                    <a:pt x="132" y="140"/>
                  </a:lnTo>
                  <a:close/>
                  <a:moveTo>
                    <a:pt x="124" y="136"/>
                  </a:moveTo>
                  <a:cubicBezTo>
                    <a:pt x="117" y="136"/>
                    <a:pt x="121" y="140"/>
                    <a:pt x="123" y="140"/>
                  </a:cubicBezTo>
                  <a:cubicBezTo>
                    <a:pt x="126" y="141"/>
                    <a:pt x="130" y="136"/>
                    <a:pt x="124" y="136"/>
                  </a:cubicBezTo>
                  <a:close/>
                  <a:moveTo>
                    <a:pt x="28" y="334"/>
                  </a:moveTo>
                  <a:cubicBezTo>
                    <a:pt x="23" y="335"/>
                    <a:pt x="23" y="335"/>
                    <a:pt x="23" y="335"/>
                  </a:cubicBezTo>
                  <a:cubicBezTo>
                    <a:pt x="23" y="338"/>
                    <a:pt x="23" y="338"/>
                    <a:pt x="23" y="338"/>
                  </a:cubicBezTo>
                  <a:cubicBezTo>
                    <a:pt x="20" y="340"/>
                    <a:pt x="20" y="340"/>
                    <a:pt x="20" y="340"/>
                  </a:cubicBezTo>
                  <a:cubicBezTo>
                    <a:pt x="23" y="342"/>
                    <a:pt x="23" y="342"/>
                    <a:pt x="23" y="342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2"/>
                    <a:pt x="27" y="342"/>
                    <a:pt x="27" y="342"/>
                  </a:cubicBezTo>
                  <a:cubicBezTo>
                    <a:pt x="29" y="340"/>
                    <a:pt x="29" y="340"/>
                    <a:pt x="29" y="340"/>
                  </a:cubicBezTo>
                  <a:lnTo>
                    <a:pt x="28" y="334"/>
                  </a:lnTo>
                  <a:close/>
                  <a:moveTo>
                    <a:pt x="16" y="306"/>
                  </a:moveTo>
                  <a:cubicBezTo>
                    <a:pt x="10" y="302"/>
                    <a:pt x="10" y="302"/>
                    <a:pt x="10" y="302"/>
                  </a:cubicBezTo>
                  <a:cubicBezTo>
                    <a:pt x="9" y="303"/>
                    <a:pt x="9" y="303"/>
                    <a:pt x="9" y="303"/>
                  </a:cubicBezTo>
                  <a:cubicBezTo>
                    <a:pt x="12" y="305"/>
                    <a:pt x="12" y="305"/>
                    <a:pt x="12" y="305"/>
                  </a:cubicBezTo>
                  <a:cubicBezTo>
                    <a:pt x="12" y="309"/>
                    <a:pt x="12" y="309"/>
                    <a:pt x="12" y="309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17" y="312"/>
                    <a:pt x="17" y="312"/>
                    <a:pt x="17" y="312"/>
                  </a:cubicBezTo>
                  <a:lnTo>
                    <a:pt x="16" y="306"/>
                  </a:lnTo>
                  <a:close/>
                  <a:moveTo>
                    <a:pt x="14" y="224"/>
                  </a:moveTo>
                  <a:cubicBezTo>
                    <a:pt x="14" y="220"/>
                    <a:pt x="14" y="220"/>
                    <a:pt x="14" y="220"/>
                  </a:cubicBezTo>
                  <a:cubicBezTo>
                    <a:pt x="12" y="221"/>
                    <a:pt x="12" y="221"/>
                    <a:pt x="12" y="221"/>
                  </a:cubicBezTo>
                  <a:cubicBezTo>
                    <a:pt x="13" y="223"/>
                    <a:pt x="13" y="223"/>
                    <a:pt x="13" y="223"/>
                  </a:cubicBezTo>
                  <a:lnTo>
                    <a:pt x="14" y="224"/>
                  </a:lnTo>
                  <a:close/>
                  <a:moveTo>
                    <a:pt x="15" y="223"/>
                  </a:moveTo>
                  <a:cubicBezTo>
                    <a:pt x="24" y="220"/>
                    <a:pt x="24" y="220"/>
                    <a:pt x="24" y="220"/>
                  </a:cubicBezTo>
                  <a:cubicBezTo>
                    <a:pt x="25" y="217"/>
                    <a:pt x="25" y="217"/>
                    <a:pt x="25" y="217"/>
                  </a:cubicBezTo>
                  <a:cubicBezTo>
                    <a:pt x="19" y="217"/>
                    <a:pt x="19" y="217"/>
                    <a:pt x="19" y="217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17"/>
                    <a:pt x="15" y="217"/>
                    <a:pt x="15" y="217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6" y="219"/>
                    <a:pt x="16" y="219"/>
                    <a:pt x="16" y="219"/>
                  </a:cubicBezTo>
                  <a:lnTo>
                    <a:pt x="15" y="223"/>
                  </a:lnTo>
                  <a:close/>
                  <a:moveTo>
                    <a:pt x="9" y="269"/>
                  </a:moveTo>
                  <a:cubicBezTo>
                    <a:pt x="11" y="267"/>
                    <a:pt x="11" y="267"/>
                    <a:pt x="11" y="267"/>
                  </a:cubicBezTo>
                  <a:cubicBezTo>
                    <a:pt x="12" y="269"/>
                    <a:pt x="12" y="269"/>
                    <a:pt x="12" y="269"/>
                  </a:cubicBezTo>
                  <a:cubicBezTo>
                    <a:pt x="12" y="269"/>
                    <a:pt x="15" y="267"/>
                    <a:pt x="15" y="265"/>
                  </a:cubicBezTo>
                  <a:cubicBezTo>
                    <a:pt x="15" y="262"/>
                    <a:pt x="12" y="261"/>
                    <a:pt x="12" y="261"/>
                  </a:cubicBezTo>
                  <a:cubicBezTo>
                    <a:pt x="10" y="262"/>
                    <a:pt x="10" y="262"/>
                    <a:pt x="10" y="262"/>
                  </a:cubicBezTo>
                  <a:cubicBezTo>
                    <a:pt x="10" y="262"/>
                    <a:pt x="8" y="266"/>
                    <a:pt x="9" y="269"/>
                  </a:cubicBezTo>
                  <a:close/>
                  <a:moveTo>
                    <a:pt x="20" y="209"/>
                  </a:moveTo>
                  <a:cubicBezTo>
                    <a:pt x="22" y="210"/>
                    <a:pt x="22" y="214"/>
                    <a:pt x="22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25" y="207"/>
                    <a:pt x="25" y="207"/>
                    <a:pt x="25" y="207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18" y="208"/>
                    <a:pt x="20" y="209"/>
                  </a:cubicBezTo>
                  <a:close/>
                  <a:moveTo>
                    <a:pt x="17" y="249"/>
                  </a:moveTo>
                  <a:cubicBezTo>
                    <a:pt x="14" y="248"/>
                    <a:pt x="14" y="248"/>
                    <a:pt x="14" y="248"/>
                  </a:cubicBezTo>
                  <a:cubicBezTo>
                    <a:pt x="11" y="251"/>
                    <a:pt x="11" y="251"/>
                    <a:pt x="11" y="251"/>
                  </a:cubicBezTo>
                  <a:cubicBezTo>
                    <a:pt x="13" y="253"/>
                    <a:pt x="13" y="253"/>
                    <a:pt x="13" y="253"/>
                  </a:cubicBezTo>
                  <a:lnTo>
                    <a:pt x="17" y="249"/>
                  </a:lnTo>
                  <a:close/>
                  <a:moveTo>
                    <a:pt x="14" y="230"/>
                  </a:moveTo>
                  <a:cubicBezTo>
                    <a:pt x="14" y="226"/>
                    <a:pt x="11" y="226"/>
                    <a:pt x="12" y="229"/>
                  </a:cubicBezTo>
                  <a:cubicBezTo>
                    <a:pt x="12" y="232"/>
                    <a:pt x="14" y="232"/>
                    <a:pt x="14" y="230"/>
                  </a:cubicBezTo>
                  <a:close/>
                  <a:moveTo>
                    <a:pt x="27" y="396"/>
                  </a:moveTo>
                  <a:cubicBezTo>
                    <a:pt x="18" y="394"/>
                    <a:pt x="18" y="394"/>
                    <a:pt x="18" y="394"/>
                  </a:cubicBezTo>
                  <a:cubicBezTo>
                    <a:pt x="26" y="399"/>
                    <a:pt x="26" y="399"/>
                    <a:pt x="26" y="399"/>
                  </a:cubicBezTo>
                  <a:lnTo>
                    <a:pt x="27" y="396"/>
                  </a:lnTo>
                  <a:close/>
                  <a:moveTo>
                    <a:pt x="3" y="269"/>
                  </a:moveTo>
                  <a:cubicBezTo>
                    <a:pt x="0" y="269"/>
                    <a:pt x="1" y="272"/>
                    <a:pt x="2" y="272"/>
                  </a:cubicBezTo>
                  <a:cubicBezTo>
                    <a:pt x="4" y="273"/>
                    <a:pt x="7" y="268"/>
                    <a:pt x="3" y="269"/>
                  </a:cubicBezTo>
                  <a:close/>
                  <a:moveTo>
                    <a:pt x="41" y="329"/>
                  </a:moveTo>
                  <a:cubicBezTo>
                    <a:pt x="39" y="331"/>
                    <a:pt x="39" y="331"/>
                    <a:pt x="39" y="331"/>
                  </a:cubicBezTo>
                  <a:cubicBezTo>
                    <a:pt x="40" y="335"/>
                    <a:pt x="40" y="335"/>
                    <a:pt x="40" y="335"/>
                  </a:cubicBezTo>
                  <a:cubicBezTo>
                    <a:pt x="43" y="332"/>
                    <a:pt x="43" y="332"/>
                    <a:pt x="43" y="332"/>
                  </a:cubicBezTo>
                  <a:lnTo>
                    <a:pt x="41" y="329"/>
                  </a:lnTo>
                  <a:close/>
                  <a:moveTo>
                    <a:pt x="36" y="385"/>
                  </a:moveTo>
                  <a:cubicBezTo>
                    <a:pt x="32" y="385"/>
                    <a:pt x="32" y="385"/>
                    <a:pt x="32" y="385"/>
                  </a:cubicBezTo>
                  <a:cubicBezTo>
                    <a:pt x="30" y="390"/>
                    <a:pt x="30" y="390"/>
                    <a:pt x="30" y="390"/>
                  </a:cubicBezTo>
                  <a:cubicBezTo>
                    <a:pt x="38" y="389"/>
                    <a:pt x="38" y="389"/>
                    <a:pt x="38" y="389"/>
                  </a:cubicBezTo>
                  <a:lnTo>
                    <a:pt x="36" y="385"/>
                  </a:lnTo>
                  <a:close/>
                  <a:moveTo>
                    <a:pt x="8" y="378"/>
                  </a:moveTo>
                  <a:cubicBezTo>
                    <a:pt x="8" y="378"/>
                    <a:pt x="7" y="384"/>
                    <a:pt x="8" y="385"/>
                  </a:cubicBezTo>
                  <a:cubicBezTo>
                    <a:pt x="9" y="387"/>
                    <a:pt x="6" y="391"/>
                    <a:pt x="6" y="391"/>
                  </a:cubicBezTo>
                  <a:cubicBezTo>
                    <a:pt x="9" y="391"/>
                    <a:pt x="9" y="391"/>
                    <a:pt x="9" y="391"/>
                  </a:cubicBezTo>
                  <a:cubicBezTo>
                    <a:pt x="11" y="389"/>
                    <a:pt x="11" y="389"/>
                    <a:pt x="11" y="389"/>
                  </a:cubicBezTo>
                  <a:cubicBezTo>
                    <a:pt x="11" y="383"/>
                    <a:pt x="11" y="383"/>
                    <a:pt x="11" y="383"/>
                  </a:cubicBezTo>
                  <a:cubicBezTo>
                    <a:pt x="10" y="376"/>
                    <a:pt x="10" y="376"/>
                    <a:pt x="10" y="376"/>
                  </a:cubicBezTo>
                  <a:lnTo>
                    <a:pt x="8" y="378"/>
                  </a:lnTo>
                  <a:close/>
                  <a:moveTo>
                    <a:pt x="314" y="0"/>
                  </a:moveTo>
                  <a:cubicBezTo>
                    <a:pt x="246" y="0"/>
                    <a:pt x="246" y="0"/>
                    <a:pt x="246" y="0"/>
                  </a:cubicBezTo>
                  <a:cubicBezTo>
                    <a:pt x="244" y="3"/>
                    <a:pt x="246" y="7"/>
                    <a:pt x="246" y="7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3" y="11"/>
                    <a:pt x="243" y="11"/>
                    <a:pt x="243" y="11"/>
                  </a:cubicBezTo>
                  <a:cubicBezTo>
                    <a:pt x="248" y="7"/>
                    <a:pt x="248" y="7"/>
                    <a:pt x="248" y="7"/>
                  </a:cubicBezTo>
                  <a:cubicBezTo>
                    <a:pt x="248" y="4"/>
                    <a:pt x="248" y="4"/>
                    <a:pt x="248" y="4"/>
                  </a:cubicBezTo>
                  <a:cubicBezTo>
                    <a:pt x="253" y="2"/>
                    <a:pt x="253" y="2"/>
                    <a:pt x="253" y="2"/>
                  </a:cubicBezTo>
                  <a:cubicBezTo>
                    <a:pt x="249" y="6"/>
                    <a:pt x="249" y="6"/>
                    <a:pt x="249" y="6"/>
                  </a:cubicBezTo>
                  <a:cubicBezTo>
                    <a:pt x="254" y="10"/>
                    <a:pt x="254" y="10"/>
                    <a:pt x="254" y="10"/>
                  </a:cubicBezTo>
                  <a:cubicBezTo>
                    <a:pt x="253" y="14"/>
                    <a:pt x="253" y="14"/>
                    <a:pt x="253" y="14"/>
                  </a:cubicBezTo>
                  <a:cubicBezTo>
                    <a:pt x="256" y="16"/>
                    <a:pt x="256" y="16"/>
                    <a:pt x="256" y="16"/>
                  </a:cubicBezTo>
                  <a:cubicBezTo>
                    <a:pt x="268" y="3"/>
                    <a:pt x="268" y="3"/>
                    <a:pt x="268" y="3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56" y="18"/>
                    <a:pt x="256" y="18"/>
                    <a:pt x="256" y="18"/>
                  </a:cubicBezTo>
                  <a:cubicBezTo>
                    <a:pt x="252" y="19"/>
                    <a:pt x="252" y="19"/>
                    <a:pt x="252" y="19"/>
                  </a:cubicBezTo>
                  <a:cubicBezTo>
                    <a:pt x="249" y="12"/>
                    <a:pt x="249" y="12"/>
                    <a:pt x="249" y="12"/>
                  </a:cubicBezTo>
                  <a:cubicBezTo>
                    <a:pt x="244" y="13"/>
                    <a:pt x="244" y="13"/>
                    <a:pt x="244" y="13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43" y="15"/>
                    <a:pt x="239" y="15"/>
                    <a:pt x="239" y="17"/>
                  </a:cubicBezTo>
                  <a:cubicBezTo>
                    <a:pt x="239" y="18"/>
                    <a:pt x="235" y="26"/>
                    <a:pt x="231" y="26"/>
                  </a:cubicBezTo>
                  <a:cubicBezTo>
                    <a:pt x="228" y="27"/>
                    <a:pt x="222" y="31"/>
                    <a:pt x="222" y="31"/>
                  </a:cubicBezTo>
                  <a:cubicBezTo>
                    <a:pt x="224" y="33"/>
                    <a:pt x="224" y="33"/>
                    <a:pt x="224" y="33"/>
                  </a:cubicBezTo>
                  <a:cubicBezTo>
                    <a:pt x="224" y="33"/>
                    <a:pt x="216" y="37"/>
                    <a:pt x="221" y="41"/>
                  </a:cubicBezTo>
                  <a:cubicBezTo>
                    <a:pt x="224" y="43"/>
                    <a:pt x="231" y="32"/>
                    <a:pt x="231" y="32"/>
                  </a:cubicBezTo>
                  <a:cubicBezTo>
                    <a:pt x="242" y="27"/>
                    <a:pt x="242" y="27"/>
                    <a:pt x="242" y="27"/>
                  </a:cubicBezTo>
                  <a:cubicBezTo>
                    <a:pt x="233" y="34"/>
                    <a:pt x="233" y="34"/>
                    <a:pt x="233" y="34"/>
                  </a:cubicBezTo>
                  <a:cubicBezTo>
                    <a:pt x="238" y="37"/>
                    <a:pt x="238" y="37"/>
                    <a:pt x="238" y="37"/>
                  </a:cubicBezTo>
                  <a:cubicBezTo>
                    <a:pt x="238" y="37"/>
                    <a:pt x="232" y="38"/>
                    <a:pt x="228" y="41"/>
                  </a:cubicBezTo>
                  <a:cubicBezTo>
                    <a:pt x="223" y="43"/>
                    <a:pt x="226" y="48"/>
                    <a:pt x="226" y="48"/>
                  </a:cubicBezTo>
                  <a:cubicBezTo>
                    <a:pt x="223" y="49"/>
                    <a:pt x="223" y="49"/>
                    <a:pt x="223" y="49"/>
                  </a:cubicBezTo>
                  <a:cubicBezTo>
                    <a:pt x="219" y="46"/>
                    <a:pt x="219" y="46"/>
                    <a:pt x="219" y="46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5" y="48"/>
                    <a:pt x="219" y="54"/>
                    <a:pt x="221" y="56"/>
                  </a:cubicBezTo>
                  <a:cubicBezTo>
                    <a:pt x="222" y="58"/>
                    <a:pt x="231" y="50"/>
                    <a:pt x="231" y="50"/>
                  </a:cubicBezTo>
                  <a:cubicBezTo>
                    <a:pt x="226" y="59"/>
                    <a:pt x="226" y="59"/>
                    <a:pt x="226" y="59"/>
                  </a:cubicBezTo>
                  <a:cubicBezTo>
                    <a:pt x="221" y="62"/>
                    <a:pt x="221" y="62"/>
                    <a:pt x="221" y="62"/>
                  </a:cubicBezTo>
                  <a:cubicBezTo>
                    <a:pt x="213" y="50"/>
                    <a:pt x="213" y="50"/>
                    <a:pt x="213" y="50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7" y="61"/>
                    <a:pt x="207" y="61"/>
                    <a:pt x="207" y="61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8" y="62"/>
                    <a:pt x="198" y="62"/>
                    <a:pt x="198" y="62"/>
                  </a:cubicBezTo>
                  <a:cubicBezTo>
                    <a:pt x="203" y="65"/>
                    <a:pt x="203" y="65"/>
                    <a:pt x="203" y="65"/>
                  </a:cubicBezTo>
                  <a:cubicBezTo>
                    <a:pt x="198" y="66"/>
                    <a:pt x="198" y="66"/>
                    <a:pt x="198" y="66"/>
                  </a:cubicBezTo>
                  <a:cubicBezTo>
                    <a:pt x="198" y="66"/>
                    <a:pt x="189" y="76"/>
                    <a:pt x="188" y="77"/>
                  </a:cubicBezTo>
                  <a:cubicBezTo>
                    <a:pt x="188" y="78"/>
                    <a:pt x="191" y="81"/>
                    <a:pt x="191" y="81"/>
                  </a:cubicBezTo>
                  <a:cubicBezTo>
                    <a:pt x="184" y="80"/>
                    <a:pt x="184" y="80"/>
                    <a:pt x="184" y="80"/>
                  </a:cubicBezTo>
                  <a:cubicBezTo>
                    <a:pt x="182" y="89"/>
                    <a:pt x="182" y="89"/>
                    <a:pt x="182" y="89"/>
                  </a:cubicBezTo>
                  <a:cubicBezTo>
                    <a:pt x="182" y="89"/>
                    <a:pt x="188" y="89"/>
                    <a:pt x="188" y="91"/>
                  </a:cubicBezTo>
                  <a:cubicBezTo>
                    <a:pt x="188" y="93"/>
                    <a:pt x="179" y="95"/>
                    <a:pt x="174" y="96"/>
                  </a:cubicBezTo>
                  <a:cubicBezTo>
                    <a:pt x="169" y="98"/>
                    <a:pt x="169" y="108"/>
                    <a:pt x="169" y="108"/>
                  </a:cubicBezTo>
                  <a:cubicBezTo>
                    <a:pt x="169" y="108"/>
                    <a:pt x="184" y="100"/>
                    <a:pt x="183" y="105"/>
                  </a:cubicBezTo>
                  <a:cubicBezTo>
                    <a:pt x="183" y="109"/>
                    <a:pt x="176" y="108"/>
                    <a:pt x="176" y="108"/>
                  </a:cubicBezTo>
                  <a:cubicBezTo>
                    <a:pt x="177" y="111"/>
                    <a:pt x="177" y="111"/>
                    <a:pt x="177" y="111"/>
                  </a:cubicBezTo>
                  <a:cubicBezTo>
                    <a:pt x="182" y="113"/>
                    <a:pt x="182" y="113"/>
                    <a:pt x="182" y="113"/>
                  </a:cubicBezTo>
                  <a:cubicBezTo>
                    <a:pt x="179" y="116"/>
                    <a:pt x="179" y="116"/>
                    <a:pt x="179" y="116"/>
                  </a:cubicBezTo>
                  <a:cubicBezTo>
                    <a:pt x="181" y="120"/>
                    <a:pt x="181" y="120"/>
                    <a:pt x="181" y="120"/>
                  </a:cubicBezTo>
                  <a:cubicBezTo>
                    <a:pt x="198" y="111"/>
                    <a:pt x="198" y="111"/>
                    <a:pt x="198" y="111"/>
                  </a:cubicBezTo>
                  <a:cubicBezTo>
                    <a:pt x="198" y="111"/>
                    <a:pt x="202" y="108"/>
                    <a:pt x="203" y="107"/>
                  </a:cubicBezTo>
                  <a:cubicBezTo>
                    <a:pt x="205" y="106"/>
                    <a:pt x="206" y="104"/>
                    <a:pt x="209" y="103"/>
                  </a:cubicBezTo>
                  <a:cubicBezTo>
                    <a:pt x="211" y="103"/>
                    <a:pt x="213" y="99"/>
                    <a:pt x="213" y="96"/>
                  </a:cubicBezTo>
                  <a:cubicBezTo>
                    <a:pt x="213" y="93"/>
                    <a:pt x="202" y="98"/>
                    <a:pt x="202" y="98"/>
                  </a:cubicBezTo>
                  <a:cubicBezTo>
                    <a:pt x="202" y="98"/>
                    <a:pt x="209" y="93"/>
                    <a:pt x="212" y="91"/>
                  </a:cubicBezTo>
                  <a:cubicBezTo>
                    <a:pt x="214" y="90"/>
                    <a:pt x="215" y="85"/>
                    <a:pt x="221" y="85"/>
                  </a:cubicBezTo>
                  <a:cubicBezTo>
                    <a:pt x="225" y="85"/>
                    <a:pt x="226" y="89"/>
                    <a:pt x="226" y="89"/>
                  </a:cubicBezTo>
                  <a:cubicBezTo>
                    <a:pt x="215" y="94"/>
                    <a:pt x="215" y="94"/>
                    <a:pt x="215" y="94"/>
                  </a:cubicBezTo>
                  <a:cubicBezTo>
                    <a:pt x="214" y="97"/>
                    <a:pt x="214" y="97"/>
                    <a:pt x="214" y="97"/>
                  </a:cubicBezTo>
                  <a:cubicBezTo>
                    <a:pt x="214" y="97"/>
                    <a:pt x="223" y="97"/>
                    <a:pt x="224" y="100"/>
                  </a:cubicBezTo>
                  <a:cubicBezTo>
                    <a:pt x="224" y="104"/>
                    <a:pt x="214" y="106"/>
                    <a:pt x="211" y="107"/>
                  </a:cubicBezTo>
                  <a:cubicBezTo>
                    <a:pt x="208" y="107"/>
                    <a:pt x="203" y="112"/>
                    <a:pt x="202" y="115"/>
                  </a:cubicBezTo>
                  <a:cubicBezTo>
                    <a:pt x="202" y="119"/>
                    <a:pt x="206" y="113"/>
                    <a:pt x="208" y="114"/>
                  </a:cubicBezTo>
                  <a:cubicBezTo>
                    <a:pt x="209" y="116"/>
                    <a:pt x="206" y="117"/>
                    <a:pt x="205" y="119"/>
                  </a:cubicBezTo>
                  <a:cubicBezTo>
                    <a:pt x="203" y="121"/>
                    <a:pt x="208" y="122"/>
                    <a:pt x="208" y="122"/>
                  </a:cubicBezTo>
                  <a:cubicBezTo>
                    <a:pt x="205" y="124"/>
                    <a:pt x="205" y="124"/>
                    <a:pt x="205" y="124"/>
                  </a:cubicBezTo>
                  <a:cubicBezTo>
                    <a:pt x="205" y="124"/>
                    <a:pt x="194" y="121"/>
                    <a:pt x="188" y="123"/>
                  </a:cubicBezTo>
                  <a:cubicBezTo>
                    <a:pt x="181" y="125"/>
                    <a:pt x="187" y="130"/>
                    <a:pt x="187" y="130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75" y="131"/>
                    <a:pt x="175" y="131"/>
                    <a:pt x="175" y="131"/>
                  </a:cubicBezTo>
                  <a:cubicBezTo>
                    <a:pt x="180" y="123"/>
                    <a:pt x="180" y="123"/>
                    <a:pt x="180" y="123"/>
                  </a:cubicBezTo>
                  <a:cubicBezTo>
                    <a:pt x="175" y="109"/>
                    <a:pt x="175" y="109"/>
                    <a:pt x="175" y="109"/>
                  </a:cubicBezTo>
                  <a:cubicBezTo>
                    <a:pt x="167" y="112"/>
                    <a:pt x="167" y="112"/>
                    <a:pt x="167" y="112"/>
                  </a:cubicBezTo>
                  <a:cubicBezTo>
                    <a:pt x="166" y="114"/>
                    <a:pt x="166" y="114"/>
                    <a:pt x="166" y="114"/>
                  </a:cubicBezTo>
                  <a:cubicBezTo>
                    <a:pt x="158" y="117"/>
                    <a:pt x="158" y="117"/>
                    <a:pt x="158" y="117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64" y="122"/>
                    <a:pt x="164" y="122"/>
                    <a:pt x="164" y="122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62" y="128"/>
                    <a:pt x="162" y="128"/>
                    <a:pt x="162" y="128"/>
                  </a:cubicBezTo>
                  <a:cubicBezTo>
                    <a:pt x="150" y="130"/>
                    <a:pt x="150" y="130"/>
                    <a:pt x="150" y="130"/>
                  </a:cubicBezTo>
                  <a:cubicBezTo>
                    <a:pt x="155" y="123"/>
                    <a:pt x="155" y="123"/>
                    <a:pt x="155" y="123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47" y="125"/>
                    <a:pt x="147" y="125"/>
                    <a:pt x="147" y="125"/>
                  </a:cubicBezTo>
                  <a:cubicBezTo>
                    <a:pt x="145" y="123"/>
                    <a:pt x="145" y="123"/>
                    <a:pt x="145" y="123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38" y="129"/>
                    <a:pt x="138" y="129"/>
                    <a:pt x="138" y="129"/>
                  </a:cubicBezTo>
                  <a:cubicBezTo>
                    <a:pt x="134" y="132"/>
                    <a:pt x="134" y="132"/>
                    <a:pt x="134" y="132"/>
                  </a:cubicBezTo>
                  <a:cubicBezTo>
                    <a:pt x="139" y="138"/>
                    <a:pt x="139" y="138"/>
                    <a:pt x="139" y="138"/>
                  </a:cubicBezTo>
                  <a:cubicBezTo>
                    <a:pt x="143" y="139"/>
                    <a:pt x="143" y="139"/>
                    <a:pt x="143" y="139"/>
                  </a:cubicBezTo>
                  <a:cubicBezTo>
                    <a:pt x="138" y="140"/>
                    <a:pt x="138" y="140"/>
                    <a:pt x="138" y="140"/>
                  </a:cubicBezTo>
                  <a:cubicBezTo>
                    <a:pt x="135" y="143"/>
                    <a:pt x="135" y="143"/>
                    <a:pt x="135" y="143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6" y="146"/>
                    <a:pt x="126" y="146"/>
                    <a:pt x="126" y="146"/>
                  </a:cubicBezTo>
                  <a:cubicBezTo>
                    <a:pt x="132" y="154"/>
                    <a:pt x="132" y="154"/>
                    <a:pt x="132" y="154"/>
                  </a:cubicBezTo>
                  <a:cubicBezTo>
                    <a:pt x="138" y="152"/>
                    <a:pt x="138" y="152"/>
                    <a:pt x="138" y="152"/>
                  </a:cubicBezTo>
                  <a:cubicBezTo>
                    <a:pt x="139" y="153"/>
                    <a:pt x="139" y="153"/>
                    <a:pt x="139" y="153"/>
                  </a:cubicBezTo>
                  <a:cubicBezTo>
                    <a:pt x="132" y="157"/>
                    <a:pt x="132" y="157"/>
                    <a:pt x="132" y="157"/>
                  </a:cubicBezTo>
                  <a:cubicBezTo>
                    <a:pt x="137" y="159"/>
                    <a:pt x="137" y="159"/>
                    <a:pt x="137" y="159"/>
                  </a:cubicBezTo>
                  <a:cubicBezTo>
                    <a:pt x="135" y="160"/>
                    <a:pt x="135" y="160"/>
                    <a:pt x="135" y="160"/>
                  </a:cubicBezTo>
                  <a:cubicBezTo>
                    <a:pt x="130" y="158"/>
                    <a:pt x="130" y="158"/>
                    <a:pt x="130" y="158"/>
                  </a:cubicBezTo>
                  <a:cubicBezTo>
                    <a:pt x="129" y="152"/>
                    <a:pt x="129" y="152"/>
                    <a:pt x="129" y="152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14" y="148"/>
                    <a:pt x="114" y="148"/>
                    <a:pt x="114" y="148"/>
                  </a:cubicBezTo>
                  <a:cubicBezTo>
                    <a:pt x="116" y="149"/>
                    <a:pt x="116" y="149"/>
                    <a:pt x="116" y="149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23" y="154"/>
                    <a:pt x="123" y="154"/>
                    <a:pt x="123" y="154"/>
                  </a:cubicBezTo>
                  <a:cubicBezTo>
                    <a:pt x="123" y="161"/>
                    <a:pt x="123" y="161"/>
                    <a:pt x="123" y="161"/>
                  </a:cubicBezTo>
                  <a:cubicBezTo>
                    <a:pt x="132" y="168"/>
                    <a:pt x="132" y="168"/>
                    <a:pt x="132" y="168"/>
                  </a:cubicBezTo>
                  <a:cubicBezTo>
                    <a:pt x="133" y="170"/>
                    <a:pt x="133" y="170"/>
                    <a:pt x="133" y="170"/>
                  </a:cubicBezTo>
                  <a:cubicBezTo>
                    <a:pt x="122" y="162"/>
                    <a:pt x="122" y="162"/>
                    <a:pt x="122" y="162"/>
                  </a:cubicBezTo>
                  <a:cubicBezTo>
                    <a:pt x="122" y="153"/>
                    <a:pt x="122" y="153"/>
                    <a:pt x="122" y="153"/>
                  </a:cubicBezTo>
                  <a:cubicBezTo>
                    <a:pt x="113" y="153"/>
                    <a:pt x="113" y="153"/>
                    <a:pt x="113" y="153"/>
                  </a:cubicBezTo>
                  <a:cubicBezTo>
                    <a:pt x="111" y="156"/>
                    <a:pt x="111" y="156"/>
                    <a:pt x="111" y="156"/>
                  </a:cubicBezTo>
                  <a:cubicBezTo>
                    <a:pt x="112" y="151"/>
                    <a:pt x="112" y="151"/>
                    <a:pt x="112" y="151"/>
                  </a:cubicBezTo>
                  <a:cubicBezTo>
                    <a:pt x="108" y="151"/>
                    <a:pt x="108" y="151"/>
                    <a:pt x="108" y="151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01" y="155"/>
                    <a:pt x="101" y="155"/>
                    <a:pt x="101" y="155"/>
                  </a:cubicBezTo>
                  <a:cubicBezTo>
                    <a:pt x="96" y="148"/>
                    <a:pt x="96" y="148"/>
                    <a:pt x="96" y="148"/>
                  </a:cubicBezTo>
                  <a:cubicBezTo>
                    <a:pt x="96" y="148"/>
                    <a:pt x="92" y="148"/>
                    <a:pt x="85" y="153"/>
                  </a:cubicBezTo>
                  <a:cubicBezTo>
                    <a:pt x="80" y="158"/>
                    <a:pt x="93" y="158"/>
                    <a:pt x="94" y="160"/>
                  </a:cubicBezTo>
                  <a:cubicBezTo>
                    <a:pt x="94" y="162"/>
                    <a:pt x="91" y="161"/>
                    <a:pt x="88" y="161"/>
                  </a:cubicBezTo>
                  <a:cubicBezTo>
                    <a:pt x="83" y="162"/>
                    <a:pt x="87" y="168"/>
                    <a:pt x="87" y="168"/>
                  </a:cubicBezTo>
                  <a:cubicBezTo>
                    <a:pt x="87" y="168"/>
                    <a:pt x="104" y="162"/>
                    <a:pt x="105" y="164"/>
                  </a:cubicBezTo>
                  <a:cubicBezTo>
                    <a:pt x="106" y="166"/>
                    <a:pt x="99" y="166"/>
                    <a:pt x="99" y="166"/>
                  </a:cubicBezTo>
                  <a:cubicBezTo>
                    <a:pt x="99" y="169"/>
                    <a:pt x="99" y="169"/>
                    <a:pt x="99" y="169"/>
                  </a:cubicBezTo>
                  <a:cubicBezTo>
                    <a:pt x="99" y="169"/>
                    <a:pt x="108" y="166"/>
                    <a:pt x="113" y="164"/>
                  </a:cubicBezTo>
                  <a:cubicBezTo>
                    <a:pt x="118" y="164"/>
                    <a:pt x="122" y="170"/>
                    <a:pt x="122" y="170"/>
                  </a:cubicBezTo>
                  <a:cubicBezTo>
                    <a:pt x="122" y="170"/>
                    <a:pt x="117" y="167"/>
                    <a:pt x="114" y="166"/>
                  </a:cubicBezTo>
                  <a:cubicBezTo>
                    <a:pt x="112" y="166"/>
                    <a:pt x="104" y="169"/>
                    <a:pt x="104" y="169"/>
                  </a:cubicBezTo>
                  <a:cubicBezTo>
                    <a:pt x="104" y="174"/>
                    <a:pt x="104" y="174"/>
                    <a:pt x="104" y="174"/>
                  </a:cubicBezTo>
                  <a:cubicBezTo>
                    <a:pt x="102" y="172"/>
                    <a:pt x="102" y="172"/>
                    <a:pt x="102" y="172"/>
                  </a:cubicBezTo>
                  <a:cubicBezTo>
                    <a:pt x="100" y="173"/>
                    <a:pt x="100" y="173"/>
                    <a:pt x="100" y="173"/>
                  </a:cubicBezTo>
                  <a:cubicBezTo>
                    <a:pt x="102" y="177"/>
                    <a:pt x="102" y="177"/>
                    <a:pt x="102" y="177"/>
                  </a:cubicBezTo>
                  <a:cubicBezTo>
                    <a:pt x="108" y="177"/>
                    <a:pt x="108" y="177"/>
                    <a:pt x="108" y="177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96" y="175"/>
                    <a:pt x="96" y="175"/>
                    <a:pt x="96" y="175"/>
                  </a:cubicBezTo>
                  <a:cubicBezTo>
                    <a:pt x="92" y="173"/>
                    <a:pt x="92" y="173"/>
                    <a:pt x="92" y="173"/>
                  </a:cubicBezTo>
                  <a:cubicBezTo>
                    <a:pt x="92" y="176"/>
                    <a:pt x="92" y="176"/>
                    <a:pt x="92" y="176"/>
                  </a:cubicBezTo>
                  <a:cubicBezTo>
                    <a:pt x="92" y="176"/>
                    <a:pt x="90" y="172"/>
                    <a:pt x="87" y="171"/>
                  </a:cubicBezTo>
                  <a:cubicBezTo>
                    <a:pt x="83" y="170"/>
                    <a:pt x="83" y="174"/>
                    <a:pt x="83" y="174"/>
                  </a:cubicBezTo>
                  <a:cubicBezTo>
                    <a:pt x="83" y="174"/>
                    <a:pt x="81" y="172"/>
                    <a:pt x="80" y="171"/>
                  </a:cubicBezTo>
                  <a:cubicBezTo>
                    <a:pt x="78" y="171"/>
                    <a:pt x="74" y="174"/>
                    <a:pt x="74" y="174"/>
                  </a:cubicBezTo>
                  <a:cubicBezTo>
                    <a:pt x="74" y="174"/>
                    <a:pt x="72" y="173"/>
                    <a:pt x="69" y="172"/>
                  </a:cubicBezTo>
                  <a:cubicBezTo>
                    <a:pt x="66" y="172"/>
                    <a:pt x="65" y="175"/>
                    <a:pt x="63" y="178"/>
                  </a:cubicBezTo>
                  <a:cubicBezTo>
                    <a:pt x="62" y="180"/>
                    <a:pt x="74" y="177"/>
                    <a:pt x="74" y="177"/>
                  </a:cubicBezTo>
                  <a:cubicBezTo>
                    <a:pt x="74" y="177"/>
                    <a:pt x="82" y="183"/>
                    <a:pt x="84" y="185"/>
                  </a:cubicBezTo>
                  <a:cubicBezTo>
                    <a:pt x="85" y="186"/>
                    <a:pt x="84" y="191"/>
                    <a:pt x="84" y="191"/>
                  </a:cubicBezTo>
                  <a:cubicBezTo>
                    <a:pt x="87" y="194"/>
                    <a:pt x="87" y="194"/>
                    <a:pt x="87" y="194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4" y="194"/>
                    <a:pt x="94" y="194"/>
                    <a:pt x="94" y="194"/>
                  </a:cubicBezTo>
                  <a:cubicBezTo>
                    <a:pt x="93" y="196"/>
                    <a:pt x="93" y="196"/>
                    <a:pt x="93" y="196"/>
                  </a:cubicBezTo>
                  <a:cubicBezTo>
                    <a:pt x="85" y="196"/>
                    <a:pt x="85" y="196"/>
                    <a:pt x="85" y="196"/>
                  </a:cubicBezTo>
                  <a:cubicBezTo>
                    <a:pt x="87" y="199"/>
                    <a:pt x="87" y="199"/>
                    <a:pt x="87" y="199"/>
                  </a:cubicBezTo>
                  <a:cubicBezTo>
                    <a:pt x="83" y="205"/>
                    <a:pt x="83" y="205"/>
                    <a:pt x="83" y="205"/>
                  </a:cubicBezTo>
                  <a:cubicBezTo>
                    <a:pt x="85" y="207"/>
                    <a:pt x="85" y="207"/>
                    <a:pt x="85" y="207"/>
                  </a:cubicBezTo>
                  <a:cubicBezTo>
                    <a:pt x="80" y="206"/>
                    <a:pt x="80" y="206"/>
                    <a:pt x="80" y="206"/>
                  </a:cubicBezTo>
                  <a:cubicBezTo>
                    <a:pt x="84" y="198"/>
                    <a:pt x="84" y="198"/>
                    <a:pt x="84" y="198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5"/>
                    <a:pt x="82" y="185"/>
                    <a:pt x="82" y="185"/>
                  </a:cubicBezTo>
                  <a:cubicBezTo>
                    <a:pt x="73" y="184"/>
                    <a:pt x="73" y="184"/>
                    <a:pt x="73" y="184"/>
                  </a:cubicBezTo>
                  <a:cubicBezTo>
                    <a:pt x="73" y="188"/>
                    <a:pt x="73" y="188"/>
                    <a:pt x="73" y="188"/>
                  </a:cubicBezTo>
                  <a:cubicBezTo>
                    <a:pt x="69" y="186"/>
                    <a:pt x="69" y="186"/>
                    <a:pt x="69" y="186"/>
                  </a:cubicBezTo>
                  <a:cubicBezTo>
                    <a:pt x="66" y="186"/>
                    <a:pt x="66" y="186"/>
                    <a:pt x="66" y="186"/>
                  </a:cubicBezTo>
                  <a:cubicBezTo>
                    <a:pt x="72" y="202"/>
                    <a:pt x="72" y="202"/>
                    <a:pt x="72" y="202"/>
                  </a:cubicBezTo>
                  <a:cubicBezTo>
                    <a:pt x="71" y="204"/>
                    <a:pt x="71" y="204"/>
                    <a:pt x="71" y="204"/>
                  </a:cubicBezTo>
                  <a:cubicBezTo>
                    <a:pt x="68" y="198"/>
                    <a:pt x="68" y="198"/>
                    <a:pt x="68" y="198"/>
                  </a:cubicBezTo>
                  <a:cubicBezTo>
                    <a:pt x="65" y="193"/>
                    <a:pt x="65" y="193"/>
                    <a:pt x="65" y="193"/>
                  </a:cubicBezTo>
                  <a:cubicBezTo>
                    <a:pt x="65" y="193"/>
                    <a:pt x="66" y="189"/>
                    <a:pt x="63" y="188"/>
                  </a:cubicBezTo>
                  <a:cubicBezTo>
                    <a:pt x="61" y="187"/>
                    <a:pt x="52" y="194"/>
                    <a:pt x="52" y="194"/>
                  </a:cubicBezTo>
                  <a:cubicBezTo>
                    <a:pt x="56" y="198"/>
                    <a:pt x="56" y="198"/>
                    <a:pt x="56" y="198"/>
                  </a:cubicBezTo>
                  <a:cubicBezTo>
                    <a:pt x="50" y="198"/>
                    <a:pt x="50" y="198"/>
                    <a:pt x="50" y="198"/>
                  </a:cubicBezTo>
                  <a:cubicBezTo>
                    <a:pt x="50" y="198"/>
                    <a:pt x="52" y="199"/>
                    <a:pt x="55" y="201"/>
                  </a:cubicBezTo>
                  <a:cubicBezTo>
                    <a:pt x="57" y="204"/>
                    <a:pt x="61" y="207"/>
                    <a:pt x="61" y="207"/>
                  </a:cubicBezTo>
                  <a:cubicBezTo>
                    <a:pt x="55" y="206"/>
                    <a:pt x="55" y="206"/>
                    <a:pt x="55" y="206"/>
                  </a:cubicBezTo>
                  <a:cubicBezTo>
                    <a:pt x="52" y="204"/>
                    <a:pt x="52" y="204"/>
                    <a:pt x="52" y="204"/>
                  </a:cubicBezTo>
                  <a:cubicBezTo>
                    <a:pt x="48" y="208"/>
                    <a:pt x="48" y="208"/>
                    <a:pt x="48" y="208"/>
                  </a:cubicBezTo>
                  <a:cubicBezTo>
                    <a:pt x="51" y="201"/>
                    <a:pt x="51" y="201"/>
                    <a:pt x="51" y="201"/>
                  </a:cubicBezTo>
                  <a:cubicBezTo>
                    <a:pt x="51" y="201"/>
                    <a:pt x="50" y="199"/>
                    <a:pt x="46" y="199"/>
                  </a:cubicBezTo>
                  <a:cubicBezTo>
                    <a:pt x="42" y="199"/>
                    <a:pt x="43" y="203"/>
                    <a:pt x="43" y="203"/>
                  </a:cubicBezTo>
                  <a:cubicBezTo>
                    <a:pt x="43" y="203"/>
                    <a:pt x="40" y="199"/>
                    <a:pt x="38" y="199"/>
                  </a:cubicBezTo>
                  <a:cubicBezTo>
                    <a:pt x="34" y="199"/>
                    <a:pt x="33" y="203"/>
                    <a:pt x="33" y="203"/>
                  </a:cubicBezTo>
                  <a:cubicBezTo>
                    <a:pt x="39" y="206"/>
                    <a:pt x="39" y="206"/>
                    <a:pt x="39" y="206"/>
                  </a:cubicBezTo>
                  <a:cubicBezTo>
                    <a:pt x="38" y="207"/>
                    <a:pt x="38" y="207"/>
                    <a:pt x="38" y="207"/>
                  </a:cubicBezTo>
                  <a:cubicBezTo>
                    <a:pt x="31" y="202"/>
                    <a:pt x="31" y="202"/>
                    <a:pt x="31" y="202"/>
                  </a:cubicBezTo>
                  <a:cubicBezTo>
                    <a:pt x="32" y="200"/>
                    <a:pt x="32" y="200"/>
                    <a:pt x="32" y="200"/>
                  </a:cubicBezTo>
                  <a:cubicBezTo>
                    <a:pt x="28" y="196"/>
                    <a:pt x="28" y="196"/>
                    <a:pt x="28" y="196"/>
                  </a:cubicBezTo>
                  <a:cubicBezTo>
                    <a:pt x="25" y="200"/>
                    <a:pt x="25" y="200"/>
                    <a:pt x="25" y="200"/>
                  </a:cubicBezTo>
                  <a:cubicBezTo>
                    <a:pt x="26" y="202"/>
                    <a:pt x="26" y="202"/>
                    <a:pt x="26" y="202"/>
                  </a:cubicBezTo>
                  <a:cubicBezTo>
                    <a:pt x="26" y="202"/>
                    <a:pt x="32" y="207"/>
                    <a:pt x="32" y="209"/>
                  </a:cubicBezTo>
                  <a:cubicBezTo>
                    <a:pt x="31" y="212"/>
                    <a:pt x="25" y="211"/>
                    <a:pt x="25" y="215"/>
                  </a:cubicBezTo>
                  <a:cubicBezTo>
                    <a:pt x="25" y="218"/>
                    <a:pt x="34" y="214"/>
                    <a:pt x="34" y="214"/>
                  </a:cubicBezTo>
                  <a:cubicBezTo>
                    <a:pt x="50" y="218"/>
                    <a:pt x="50" y="218"/>
                    <a:pt x="50" y="218"/>
                  </a:cubicBezTo>
                  <a:cubicBezTo>
                    <a:pt x="49" y="219"/>
                    <a:pt x="49" y="219"/>
                    <a:pt x="49" y="219"/>
                  </a:cubicBezTo>
                  <a:cubicBezTo>
                    <a:pt x="64" y="223"/>
                    <a:pt x="64" y="223"/>
                    <a:pt x="64" y="223"/>
                  </a:cubicBezTo>
                  <a:cubicBezTo>
                    <a:pt x="71" y="220"/>
                    <a:pt x="71" y="220"/>
                    <a:pt x="71" y="220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78" y="223"/>
                    <a:pt x="78" y="223"/>
                    <a:pt x="78" y="223"/>
                  </a:cubicBezTo>
                  <a:cubicBezTo>
                    <a:pt x="72" y="222"/>
                    <a:pt x="72" y="222"/>
                    <a:pt x="72" y="222"/>
                  </a:cubicBezTo>
                  <a:cubicBezTo>
                    <a:pt x="65" y="224"/>
                    <a:pt x="65" y="224"/>
                    <a:pt x="65" y="224"/>
                  </a:cubicBezTo>
                  <a:cubicBezTo>
                    <a:pt x="56" y="222"/>
                    <a:pt x="56" y="222"/>
                    <a:pt x="56" y="222"/>
                  </a:cubicBezTo>
                  <a:cubicBezTo>
                    <a:pt x="55" y="224"/>
                    <a:pt x="55" y="224"/>
                    <a:pt x="55" y="224"/>
                  </a:cubicBezTo>
                  <a:cubicBezTo>
                    <a:pt x="55" y="224"/>
                    <a:pt x="42" y="217"/>
                    <a:pt x="35" y="217"/>
                  </a:cubicBezTo>
                  <a:cubicBezTo>
                    <a:pt x="28" y="217"/>
                    <a:pt x="29" y="220"/>
                    <a:pt x="29" y="220"/>
                  </a:cubicBezTo>
                  <a:cubicBezTo>
                    <a:pt x="29" y="220"/>
                    <a:pt x="28" y="220"/>
                    <a:pt x="25" y="222"/>
                  </a:cubicBezTo>
                  <a:cubicBezTo>
                    <a:pt x="23" y="223"/>
                    <a:pt x="25" y="226"/>
                    <a:pt x="25" y="226"/>
                  </a:cubicBezTo>
                  <a:cubicBezTo>
                    <a:pt x="25" y="226"/>
                    <a:pt x="19" y="225"/>
                    <a:pt x="17" y="229"/>
                  </a:cubicBezTo>
                  <a:cubicBezTo>
                    <a:pt x="16" y="232"/>
                    <a:pt x="19" y="233"/>
                    <a:pt x="19" y="233"/>
                  </a:cubicBezTo>
                  <a:cubicBezTo>
                    <a:pt x="27" y="233"/>
                    <a:pt x="27" y="233"/>
                    <a:pt x="27" y="233"/>
                  </a:cubicBezTo>
                  <a:cubicBezTo>
                    <a:pt x="32" y="237"/>
                    <a:pt x="32" y="237"/>
                    <a:pt x="32" y="237"/>
                  </a:cubicBezTo>
                  <a:cubicBezTo>
                    <a:pt x="26" y="235"/>
                    <a:pt x="26" y="235"/>
                    <a:pt x="26" y="235"/>
                  </a:cubicBezTo>
                  <a:cubicBezTo>
                    <a:pt x="24" y="237"/>
                    <a:pt x="24" y="237"/>
                    <a:pt x="24" y="237"/>
                  </a:cubicBezTo>
                  <a:cubicBezTo>
                    <a:pt x="28" y="239"/>
                    <a:pt x="28" y="239"/>
                    <a:pt x="28" y="239"/>
                  </a:cubicBezTo>
                  <a:cubicBezTo>
                    <a:pt x="23" y="239"/>
                    <a:pt x="23" y="239"/>
                    <a:pt x="23" y="239"/>
                  </a:cubicBezTo>
                  <a:cubicBezTo>
                    <a:pt x="23" y="241"/>
                    <a:pt x="23" y="241"/>
                    <a:pt x="23" y="241"/>
                  </a:cubicBezTo>
                  <a:cubicBezTo>
                    <a:pt x="32" y="243"/>
                    <a:pt x="32" y="243"/>
                    <a:pt x="32" y="243"/>
                  </a:cubicBezTo>
                  <a:cubicBezTo>
                    <a:pt x="17" y="246"/>
                    <a:pt x="17" y="246"/>
                    <a:pt x="17" y="246"/>
                  </a:cubicBezTo>
                  <a:cubicBezTo>
                    <a:pt x="17" y="248"/>
                    <a:pt x="17" y="248"/>
                    <a:pt x="17" y="248"/>
                  </a:cubicBezTo>
                  <a:cubicBezTo>
                    <a:pt x="20" y="248"/>
                    <a:pt x="20" y="248"/>
                    <a:pt x="20" y="248"/>
                  </a:cubicBezTo>
                  <a:cubicBezTo>
                    <a:pt x="20" y="251"/>
                    <a:pt x="20" y="251"/>
                    <a:pt x="20" y="251"/>
                  </a:cubicBezTo>
                  <a:cubicBezTo>
                    <a:pt x="30" y="251"/>
                    <a:pt x="30" y="251"/>
                    <a:pt x="30" y="251"/>
                  </a:cubicBezTo>
                  <a:cubicBezTo>
                    <a:pt x="17" y="254"/>
                    <a:pt x="17" y="254"/>
                    <a:pt x="17" y="254"/>
                  </a:cubicBezTo>
                  <a:cubicBezTo>
                    <a:pt x="15" y="258"/>
                    <a:pt x="15" y="258"/>
                    <a:pt x="15" y="258"/>
                  </a:cubicBezTo>
                  <a:cubicBezTo>
                    <a:pt x="22" y="261"/>
                    <a:pt x="22" y="261"/>
                    <a:pt x="22" y="261"/>
                  </a:cubicBezTo>
                  <a:cubicBezTo>
                    <a:pt x="18" y="261"/>
                    <a:pt x="18" y="261"/>
                    <a:pt x="18" y="261"/>
                  </a:cubicBezTo>
                  <a:cubicBezTo>
                    <a:pt x="23" y="266"/>
                    <a:pt x="23" y="266"/>
                    <a:pt x="23" y="266"/>
                  </a:cubicBezTo>
                  <a:cubicBezTo>
                    <a:pt x="26" y="266"/>
                    <a:pt x="26" y="266"/>
                    <a:pt x="26" y="266"/>
                  </a:cubicBezTo>
                  <a:cubicBezTo>
                    <a:pt x="28" y="268"/>
                    <a:pt x="28" y="268"/>
                    <a:pt x="28" y="268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6" y="266"/>
                    <a:pt x="46" y="266"/>
                    <a:pt x="46" y="266"/>
                  </a:cubicBezTo>
                  <a:cubicBezTo>
                    <a:pt x="55" y="265"/>
                    <a:pt x="55" y="265"/>
                    <a:pt x="55" y="265"/>
                  </a:cubicBezTo>
                  <a:cubicBezTo>
                    <a:pt x="55" y="265"/>
                    <a:pt x="56" y="268"/>
                    <a:pt x="61" y="268"/>
                  </a:cubicBezTo>
                  <a:cubicBezTo>
                    <a:pt x="65" y="268"/>
                    <a:pt x="63" y="259"/>
                    <a:pt x="63" y="259"/>
                  </a:cubicBezTo>
                  <a:cubicBezTo>
                    <a:pt x="66" y="258"/>
                    <a:pt x="66" y="258"/>
                    <a:pt x="66" y="258"/>
                  </a:cubicBezTo>
                  <a:cubicBezTo>
                    <a:pt x="71" y="252"/>
                    <a:pt x="71" y="252"/>
                    <a:pt x="71" y="252"/>
                  </a:cubicBezTo>
                  <a:cubicBezTo>
                    <a:pt x="72" y="253"/>
                    <a:pt x="72" y="253"/>
                    <a:pt x="72" y="253"/>
                  </a:cubicBezTo>
                  <a:cubicBezTo>
                    <a:pt x="67" y="261"/>
                    <a:pt x="67" y="261"/>
                    <a:pt x="67" y="261"/>
                  </a:cubicBezTo>
                  <a:cubicBezTo>
                    <a:pt x="69" y="265"/>
                    <a:pt x="69" y="265"/>
                    <a:pt x="69" y="265"/>
                  </a:cubicBezTo>
                  <a:cubicBezTo>
                    <a:pt x="79" y="266"/>
                    <a:pt x="79" y="266"/>
                    <a:pt x="79" y="266"/>
                  </a:cubicBezTo>
                  <a:cubicBezTo>
                    <a:pt x="83" y="262"/>
                    <a:pt x="83" y="262"/>
                    <a:pt x="83" y="262"/>
                  </a:cubicBezTo>
                  <a:cubicBezTo>
                    <a:pt x="83" y="266"/>
                    <a:pt x="83" y="266"/>
                    <a:pt x="83" y="266"/>
                  </a:cubicBezTo>
                  <a:cubicBezTo>
                    <a:pt x="76" y="268"/>
                    <a:pt x="76" y="268"/>
                    <a:pt x="76" y="268"/>
                  </a:cubicBezTo>
                  <a:cubicBezTo>
                    <a:pt x="78" y="270"/>
                    <a:pt x="78" y="270"/>
                    <a:pt x="78" y="270"/>
                  </a:cubicBezTo>
                  <a:cubicBezTo>
                    <a:pt x="90" y="266"/>
                    <a:pt x="90" y="266"/>
                    <a:pt x="90" y="266"/>
                  </a:cubicBezTo>
                  <a:cubicBezTo>
                    <a:pt x="89" y="259"/>
                    <a:pt x="89" y="259"/>
                    <a:pt x="89" y="259"/>
                  </a:cubicBezTo>
                  <a:cubicBezTo>
                    <a:pt x="89" y="259"/>
                    <a:pt x="91" y="255"/>
                    <a:pt x="93" y="252"/>
                  </a:cubicBezTo>
                  <a:cubicBezTo>
                    <a:pt x="94" y="250"/>
                    <a:pt x="98" y="247"/>
                    <a:pt x="98" y="247"/>
                  </a:cubicBezTo>
                  <a:cubicBezTo>
                    <a:pt x="99" y="249"/>
                    <a:pt x="99" y="249"/>
                    <a:pt x="99" y="249"/>
                  </a:cubicBezTo>
                  <a:cubicBezTo>
                    <a:pt x="99" y="249"/>
                    <a:pt x="97" y="251"/>
                    <a:pt x="95" y="253"/>
                  </a:cubicBezTo>
                  <a:cubicBezTo>
                    <a:pt x="93" y="254"/>
                    <a:pt x="90" y="259"/>
                    <a:pt x="90" y="259"/>
                  </a:cubicBezTo>
                  <a:cubicBezTo>
                    <a:pt x="92" y="262"/>
                    <a:pt x="92" y="262"/>
                    <a:pt x="92" y="262"/>
                  </a:cubicBezTo>
                  <a:cubicBezTo>
                    <a:pt x="93" y="266"/>
                    <a:pt x="93" y="266"/>
                    <a:pt x="93" y="266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98" y="267"/>
                    <a:pt x="98" y="267"/>
                    <a:pt x="98" y="267"/>
                  </a:cubicBezTo>
                  <a:cubicBezTo>
                    <a:pt x="96" y="267"/>
                    <a:pt x="96" y="267"/>
                    <a:pt x="96" y="267"/>
                  </a:cubicBezTo>
                  <a:cubicBezTo>
                    <a:pt x="92" y="268"/>
                    <a:pt x="92" y="268"/>
                    <a:pt x="92" y="268"/>
                  </a:cubicBezTo>
                  <a:cubicBezTo>
                    <a:pt x="92" y="271"/>
                    <a:pt x="92" y="271"/>
                    <a:pt x="92" y="271"/>
                  </a:cubicBezTo>
                  <a:cubicBezTo>
                    <a:pt x="88" y="269"/>
                    <a:pt x="88" y="269"/>
                    <a:pt x="88" y="269"/>
                  </a:cubicBezTo>
                  <a:cubicBezTo>
                    <a:pt x="80" y="271"/>
                    <a:pt x="80" y="271"/>
                    <a:pt x="80" y="271"/>
                  </a:cubicBezTo>
                  <a:cubicBezTo>
                    <a:pt x="80" y="277"/>
                    <a:pt x="80" y="277"/>
                    <a:pt x="80" y="277"/>
                  </a:cubicBezTo>
                  <a:cubicBezTo>
                    <a:pt x="82" y="282"/>
                    <a:pt x="82" y="282"/>
                    <a:pt x="82" y="282"/>
                  </a:cubicBezTo>
                  <a:cubicBezTo>
                    <a:pt x="79" y="279"/>
                    <a:pt x="79" y="279"/>
                    <a:pt x="79" y="279"/>
                  </a:cubicBezTo>
                  <a:cubicBezTo>
                    <a:pt x="76" y="281"/>
                    <a:pt x="76" y="281"/>
                    <a:pt x="76" y="281"/>
                  </a:cubicBezTo>
                  <a:cubicBezTo>
                    <a:pt x="78" y="277"/>
                    <a:pt x="78" y="277"/>
                    <a:pt x="78" y="277"/>
                  </a:cubicBezTo>
                  <a:cubicBezTo>
                    <a:pt x="77" y="272"/>
                    <a:pt x="77" y="272"/>
                    <a:pt x="77" y="272"/>
                  </a:cubicBezTo>
                  <a:cubicBezTo>
                    <a:pt x="75" y="272"/>
                    <a:pt x="75" y="272"/>
                    <a:pt x="75" y="272"/>
                  </a:cubicBezTo>
                  <a:cubicBezTo>
                    <a:pt x="74" y="269"/>
                    <a:pt x="74" y="269"/>
                    <a:pt x="74" y="269"/>
                  </a:cubicBezTo>
                  <a:cubicBezTo>
                    <a:pt x="74" y="269"/>
                    <a:pt x="67" y="267"/>
                    <a:pt x="66" y="266"/>
                  </a:cubicBezTo>
                  <a:cubicBezTo>
                    <a:pt x="65" y="266"/>
                    <a:pt x="64" y="270"/>
                    <a:pt x="64" y="270"/>
                  </a:cubicBezTo>
                  <a:cubicBezTo>
                    <a:pt x="56" y="271"/>
                    <a:pt x="56" y="271"/>
                    <a:pt x="56" y="271"/>
                  </a:cubicBezTo>
                  <a:cubicBezTo>
                    <a:pt x="56" y="269"/>
                    <a:pt x="56" y="269"/>
                    <a:pt x="56" y="269"/>
                  </a:cubicBezTo>
                  <a:cubicBezTo>
                    <a:pt x="42" y="267"/>
                    <a:pt x="42" y="267"/>
                    <a:pt x="42" y="267"/>
                  </a:cubicBezTo>
                  <a:cubicBezTo>
                    <a:pt x="41" y="269"/>
                    <a:pt x="41" y="269"/>
                    <a:pt x="41" y="269"/>
                  </a:cubicBezTo>
                  <a:cubicBezTo>
                    <a:pt x="39" y="267"/>
                    <a:pt x="39" y="267"/>
                    <a:pt x="39" y="267"/>
                  </a:cubicBezTo>
                  <a:cubicBezTo>
                    <a:pt x="33" y="269"/>
                    <a:pt x="33" y="269"/>
                    <a:pt x="33" y="269"/>
                  </a:cubicBezTo>
                  <a:cubicBezTo>
                    <a:pt x="31" y="272"/>
                    <a:pt x="31" y="272"/>
                    <a:pt x="31" y="272"/>
                  </a:cubicBezTo>
                  <a:cubicBezTo>
                    <a:pt x="24" y="271"/>
                    <a:pt x="24" y="271"/>
                    <a:pt x="24" y="271"/>
                  </a:cubicBezTo>
                  <a:cubicBezTo>
                    <a:pt x="24" y="271"/>
                    <a:pt x="23" y="269"/>
                    <a:pt x="19" y="269"/>
                  </a:cubicBezTo>
                  <a:cubicBezTo>
                    <a:pt x="16" y="269"/>
                    <a:pt x="15" y="273"/>
                    <a:pt x="15" y="273"/>
                  </a:cubicBezTo>
                  <a:cubicBezTo>
                    <a:pt x="18" y="277"/>
                    <a:pt x="18" y="277"/>
                    <a:pt x="18" y="277"/>
                  </a:cubicBezTo>
                  <a:cubicBezTo>
                    <a:pt x="14" y="278"/>
                    <a:pt x="14" y="278"/>
                    <a:pt x="14" y="278"/>
                  </a:cubicBezTo>
                  <a:cubicBezTo>
                    <a:pt x="14" y="278"/>
                    <a:pt x="14" y="283"/>
                    <a:pt x="18" y="284"/>
                  </a:cubicBezTo>
                  <a:cubicBezTo>
                    <a:pt x="22" y="286"/>
                    <a:pt x="24" y="282"/>
                    <a:pt x="24" y="282"/>
                  </a:cubicBezTo>
                  <a:cubicBezTo>
                    <a:pt x="28" y="282"/>
                    <a:pt x="28" y="282"/>
                    <a:pt x="28" y="282"/>
                  </a:cubicBezTo>
                  <a:cubicBezTo>
                    <a:pt x="27" y="283"/>
                    <a:pt x="27" y="283"/>
                    <a:pt x="27" y="283"/>
                  </a:cubicBezTo>
                  <a:cubicBezTo>
                    <a:pt x="27" y="283"/>
                    <a:pt x="23" y="283"/>
                    <a:pt x="22" y="288"/>
                  </a:cubicBezTo>
                  <a:cubicBezTo>
                    <a:pt x="20" y="294"/>
                    <a:pt x="27" y="295"/>
                    <a:pt x="27" y="295"/>
                  </a:cubicBezTo>
                  <a:cubicBezTo>
                    <a:pt x="25" y="296"/>
                    <a:pt x="25" y="296"/>
                    <a:pt x="25" y="296"/>
                  </a:cubicBezTo>
                  <a:cubicBezTo>
                    <a:pt x="27" y="298"/>
                    <a:pt x="27" y="298"/>
                    <a:pt x="27" y="298"/>
                  </a:cubicBezTo>
                  <a:cubicBezTo>
                    <a:pt x="30" y="298"/>
                    <a:pt x="30" y="298"/>
                    <a:pt x="30" y="298"/>
                  </a:cubicBezTo>
                  <a:cubicBezTo>
                    <a:pt x="30" y="298"/>
                    <a:pt x="29" y="296"/>
                    <a:pt x="29" y="294"/>
                  </a:cubicBezTo>
                  <a:cubicBezTo>
                    <a:pt x="29" y="293"/>
                    <a:pt x="32" y="292"/>
                    <a:pt x="32" y="292"/>
                  </a:cubicBezTo>
                  <a:cubicBezTo>
                    <a:pt x="38" y="295"/>
                    <a:pt x="38" y="295"/>
                    <a:pt x="38" y="295"/>
                  </a:cubicBezTo>
                  <a:cubicBezTo>
                    <a:pt x="38" y="295"/>
                    <a:pt x="36" y="299"/>
                    <a:pt x="35" y="302"/>
                  </a:cubicBezTo>
                  <a:cubicBezTo>
                    <a:pt x="34" y="305"/>
                    <a:pt x="34" y="310"/>
                    <a:pt x="34" y="310"/>
                  </a:cubicBezTo>
                  <a:cubicBezTo>
                    <a:pt x="25" y="311"/>
                    <a:pt x="25" y="311"/>
                    <a:pt x="25" y="311"/>
                  </a:cubicBezTo>
                  <a:cubicBezTo>
                    <a:pt x="25" y="311"/>
                    <a:pt x="24" y="304"/>
                    <a:pt x="19" y="305"/>
                  </a:cubicBezTo>
                  <a:cubicBezTo>
                    <a:pt x="15" y="306"/>
                    <a:pt x="19" y="314"/>
                    <a:pt x="19" y="314"/>
                  </a:cubicBezTo>
                  <a:cubicBezTo>
                    <a:pt x="19" y="314"/>
                    <a:pt x="15" y="314"/>
                    <a:pt x="15" y="318"/>
                  </a:cubicBezTo>
                  <a:cubicBezTo>
                    <a:pt x="15" y="322"/>
                    <a:pt x="18" y="321"/>
                    <a:pt x="18" y="321"/>
                  </a:cubicBezTo>
                  <a:cubicBezTo>
                    <a:pt x="17" y="324"/>
                    <a:pt x="17" y="324"/>
                    <a:pt x="17" y="324"/>
                  </a:cubicBezTo>
                  <a:cubicBezTo>
                    <a:pt x="22" y="329"/>
                    <a:pt x="22" y="329"/>
                    <a:pt x="22" y="329"/>
                  </a:cubicBezTo>
                  <a:cubicBezTo>
                    <a:pt x="26" y="326"/>
                    <a:pt x="26" y="326"/>
                    <a:pt x="26" y="326"/>
                  </a:cubicBezTo>
                  <a:cubicBezTo>
                    <a:pt x="29" y="318"/>
                    <a:pt x="29" y="318"/>
                    <a:pt x="29" y="318"/>
                  </a:cubicBezTo>
                  <a:cubicBezTo>
                    <a:pt x="27" y="325"/>
                    <a:pt x="27" y="325"/>
                    <a:pt x="27" y="325"/>
                  </a:cubicBezTo>
                  <a:cubicBezTo>
                    <a:pt x="27" y="329"/>
                    <a:pt x="27" y="329"/>
                    <a:pt x="27" y="329"/>
                  </a:cubicBezTo>
                  <a:cubicBezTo>
                    <a:pt x="32" y="329"/>
                    <a:pt x="32" y="329"/>
                    <a:pt x="32" y="329"/>
                  </a:cubicBezTo>
                  <a:cubicBezTo>
                    <a:pt x="33" y="330"/>
                    <a:pt x="31" y="334"/>
                    <a:pt x="31" y="334"/>
                  </a:cubicBezTo>
                  <a:cubicBezTo>
                    <a:pt x="32" y="335"/>
                    <a:pt x="32" y="335"/>
                    <a:pt x="32" y="335"/>
                  </a:cubicBezTo>
                  <a:cubicBezTo>
                    <a:pt x="30" y="335"/>
                    <a:pt x="30" y="335"/>
                    <a:pt x="30" y="335"/>
                  </a:cubicBezTo>
                  <a:cubicBezTo>
                    <a:pt x="30" y="337"/>
                    <a:pt x="30" y="337"/>
                    <a:pt x="30" y="337"/>
                  </a:cubicBezTo>
                  <a:cubicBezTo>
                    <a:pt x="34" y="341"/>
                    <a:pt x="34" y="341"/>
                    <a:pt x="34" y="341"/>
                  </a:cubicBezTo>
                  <a:cubicBezTo>
                    <a:pt x="38" y="336"/>
                    <a:pt x="38" y="336"/>
                    <a:pt x="38" y="336"/>
                  </a:cubicBezTo>
                  <a:cubicBezTo>
                    <a:pt x="38" y="329"/>
                    <a:pt x="38" y="329"/>
                    <a:pt x="38" y="329"/>
                  </a:cubicBezTo>
                  <a:cubicBezTo>
                    <a:pt x="40" y="328"/>
                    <a:pt x="40" y="328"/>
                    <a:pt x="40" y="328"/>
                  </a:cubicBezTo>
                  <a:cubicBezTo>
                    <a:pt x="42" y="322"/>
                    <a:pt x="42" y="322"/>
                    <a:pt x="42" y="322"/>
                  </a:cubicBezTo>
                  <a:cubicBezTo>
                    <a:pt x="42" y="322"/>
                    <a:pt x="45" y="325"/>
                    <a:pt x="47" y="322"/>
                  </a:cubicBezTo>
                  <a:cubicBezTo>
                    <a:pt x="48" y="321"/>
                    <a:pt x="47" y="317"/>
                    <a:pt x="47" y="317"/>
                  </a:cubicBezTo>
                  <a:cubicBezTo>
                    <a:pt x="47" y="317"/>
                    <a:pt x="49" y="316"/>
                    <a:pt x="55" y="314"/>
                  </a:cubicBezTo>
                  <a:cubicBezTo>
                    <a:pt x="59" y="311"/>
                    <a:pt x="64" y="311"/>
                    <a:pt x="64" y="311"/>
                  </a:cubicBezTo>
                  <a:cubicBezTo>
                    <a:pt x="64" y="313"/>
                    <a:pt x="64" y="313"/>
                    <a:pt x="64" y="313"/>
                  </a:cubicBezTo>
                  <a:cubicBezTo>
                    <a:pt x="71" y="310"/>
                    <a:pt x="71" y="310"/>
                    <a:pt x="71" y="310"/>
                  </a:cubicBezTo>
                  <a:cubicBezTo>
                    <a:pt x="72" y="306"/>
                    <a:pt x="72" y="306"/>
                    <a:pt x="72" y="306"/>
                  </a:cubicBezTo>
                  <a:cubicBezTo>
                    <a:pt x="74" y="306"/>
                    <a:pt x="74" y="306"/>
                    <a:pt x="74" y="306"/>
                  </a:cubicBezTo>
                  <a:cubicBezTo>
                    <a:pt x="73" y="310"/>
                    <a:pt x="73" y="310"/>
                    <a:pt x="73" y="310"/>
                  </a:cubicBezTo>
                  <a:cubicBezTo>
                    <a:pt x="77" y="311"/>
                    <a:pt x="77" y="311"/>
                    <a:pt x="77" y="311"/>
                  </a:cubicBezTo>
                  <a:cubicBezTo>
                    <a:pt x="77" y="311"/>
                    <a:pt x="68" y="312"/>
                    <a:pt x="65" y="317"/>
                  </a:cubicBezTo>
                  <a:cubicBezTo>
                    <a:pt x="62" y="322"/>
                    <a:pt x="63" y="326"/>
                    <a:pt x="62" y="329"/>
                  </a:cubicBezTo>
                  <a:cubicBezTo>
                    <a:pt x="62" y="331"/>
                    <a:pt x="58" y="334"/>
                    <a:pt x="58" y="334"/>
                  </a:cubicBezTo>
                  <a:cubicBezTo>
                    <a:pt x="62" y="317"/>
                    <a:pt x="62" y="317"/>
                    <a:pt x="62" y="317"/>
                  </a:cubicBezTo>
                  <a:cubicBezTo>
                    <a:pt x="62" y="314"/>
                    <a:pt x="62" y="314"/>
                    <a:pt x="62" y="314"/>
                  </a:cubicBezTo>
                  <a:cubicBezTo>
                    <a:pt x="62" y="314"/>
                    <a:pt x="58" y="315"/>
                    <a:pt x="56" y="317"/>
                  </a:cubicBezTo>
                  <a:cubicBezTo>
                    <a:pt x="52" y="318"/>
                    <a:pt x="47" y="326"/>
                    <a:pt x="47" y="326"/>
                  </a:cubicBezTo>
                  <a:cubicBezTo>
                    <a:pt x="47" y="326"/>
                    <a:pt x="44" y="327"/>
                    <a:pt x="44" y="330"/>
                  </a:cubicBezTo>
                  <a:cubicBezTo>
                    <a:pt x="45" y="333"/>
                    <a:pt x="50" y="331"/>
                    <a:pt x="48" y="333"/>
                  </a:cubicBezTo>
                  <a:cubicBezTo>
                    <a:pt x="47" y="334"/>
                    <a:pt x="43" y="334"/>
                    <a:pt x="41" y="336"/>
                  </a:cubicBezTo>
                  <a:cubicBezTo>
                    <a:pt x="39" y="338"/>
                    <a:pt x="39" y="343"/>
                    <a:pt x="39" y="343"/>
                  </a:cubicBezTo>
                  <a:cubicBezTo>
                    <a:pt x="32" y="343"/>
                    <a:pt x="32" y="343"/>
                    <a:pt x="32" y="343"/>
                  </a:cubicBezTo>
                  <a:cubicBezTo>
                    <a:pt x="28" y="348"/>
                    <a:pt x="28" y="348"/>
                    <a:pt x="28" y="348"/>
                  </a:cubicBezTo>
                  <a:cubicBezTo>
                    <a:pt x="33" y="353"/>
                    <a:pt x="33" y="353"/>
                    <a:pt x="33" y="353"/>
                  </a:cubicBezTo>
                  <a:cubicBezTo>
                    <a:pt x="39" y="350"/>
                    <a:pt x="39" y="350"/>
                    <a:pt x="39" y="350"/>
                  </a:cubicBezTo>
                  <a:cubicBezTo>
                    <a:pt x="38" y="355"/>
                    <a:pt x="38" y="355"/>
                    <a:pt x="38" y="355"/>
                  </a:cubicBezTo>
                  <a:cubicBezTo>
                    <a:pt x="40" y="356"/>
                    <a:pt x="40" y="356"/>
                    <a:pt x="40" y="356"/>
                  </a:cubicBezTo>
                  <a:cubicBezTo>
                    <a:pt x="46" y="351"/>
                    <a:pt x="46" y="351"/>
                    <a:pt x="46" y="351"/>
                  </a:cubicBezTo>
                  <a:cubicBezTo>
                    <a:pt x="42" y="357"/>
                    <a:pt x="42" y="357"/>
                    <a:pt x="42" y="357"/>
                  </a:cubicBezTo>
                  <a:cubicBezTo>
                    <a:pt x="44" y="359"/>
                    <a:pt x="44" y="359"/>
                    <a:pt x="44" y="359"/>
                  </a:cubicBezTo>
                  <a:cubicBezTo>
                    <a:pt x="34" y="356"/>
                    <a:pt x="34" y="356"/>
                    <a:pt x="34" y="356"/>
                  </a:cubicBezTo>
                  <a:cubicBezTo>
                    <a:pt x="31" y="360"/>
                    <a:pt x="31" y="360"/>
                    <a:pt x="31" y="360"/>
                  </a:cubicBezTo>
                  <a:cubicBezTo>
                    <a:pt x="34" y="363"/>
                    <a:pt x="34" y="363"/>
                    <a:pt x="34" y="363"/>
                  </a:cubicBezTo>
                  <a:cubicBezTo>
                    <a:pt x="26" y="359"/>
                    <a:pt x="26" y="359"/>
                    <a:pt x="26" y="359"/>
                  </a:cubicBezTo>
                  <a:cubicBezTo>
                    <a:pt x="23" y="361"/>
                    <a:pt x="23" y="361"/>
                    <a:pt x="23" y="361"/>
                  </a:cubicBezTo>
                  <a:cubicBezTo>
                    <a:pt x="20" y="369"/>
                    <a:pt x="20" y="369"/>
                    <a:pt x="20" y="369"/>
                  </a:cubicBezTo>
                  <a:cubicBezTo>
                    <a:pt x="18" y="371"/>
                    <a:pt x="18" y="371"/>
                    <a:pt x="18" y="371"/>
                  </a:cubicBezTo>
                  <a:cubicBezTo>
                    <a:pt x="22" y="357"/>
                    <a:pt x="22" y="357"/>
                    <a:pt x="22" y="357"/>
                  </a:cubicBezTo>
                  <a:cubicBezTo>
                    <a:pt x="19" y="358"/>
                    <a:pt x="19" y="358"/>
                    <a:pt x="19" y="358"/>
                  </a:cubicBezTo>
                  <a:cubicBezTo>
                    <a:pt x="18" y="362"/>
                    <a:pt x="18" y="362"/>
                    <a:pt x="18" y="362"/>
                  </a:cubicBezTo>
                  <a:cubicBezTo>
                    <a:pt x="15" y="362"/>
                    <a:pt x="15" y="362"/>
                    <a:pt x="15" y="362"/>
                  </a:cubicBezTo>
                  <a:cubicBezTo>
                    <a:pt x="10" y="371"/>
                    <a:pt x="10" y="371"/>
                    <a:pt x="10" y="371"/>
                  </a:cubicBezTo>
                  <a:cubicBezTo>
                    <a:pt x="13" y="384"/>
                    <a:pt x="13" y="384"/>
                    <a:pt x="13" y="384"/>
                  </a:cubicBezTo>
                  <a:cubicBezTo>
                    <a:pt x="14" y="383"/>
                    <a:pt x="14" y="383"/>
                    <a:pt x="14" y="383"/>
                  </a:cubicBezTo>
                  <a:cubicBezTo>
                    <a:pt x="14" y="391"/>
                    <a:pt x="14" y="391"/>
                    <a:pt x="14" y="391"/>
                  </a:cubicBezTo>
                  <a:cubicBezTo>
                    <a:pt x="17" y="391"/>
                    <a:pt x="17" y="391"/>
                    <a:pt x="17" y="391"/>
                  </a:cubicBezTo>
                  <a:cubicBezTo>
                    <a:pt x="17" y="384"/>
                    <a:pt x="17" y="384"/>
                    <a:pt x="17" y="384"/>
                  </a:cubicBezTo>
                  <a:cubicBezTo>
                    <a:pt x="22" y="383"/>
                    <a:pt x="22" y="383"/>
                    <a:pt x="22" y="383"/>
                  </a:cubicBezTo>
                  <a:cubicBezTo>
                    <a:pt x="22" y="380"/>
                    <a:pt x="22" y="380"/>
                    <a:pt x="22" y="380"/>
                  </a:cubicBezTo>
                  <a:cubicBezTo>
                    <a:pt x="25" y="382"/>
                    <a:pt x="25" y="382"/>
                    <a:pt x="25" y="382"/>
                  </a:cubicBezTo>
                  <a:cubicBezTo>
                    <a:pt x="23" y="385"/>
                    <a:pt x="23" y="385"/>
                    <a:pt x="23" y="385"/>
                  </a:cubicBezTo>
                  <a:cubicBezTo>
                    <a:pt x="24" y="387"/>
                    <a:pt x="24" y="387"/>
                    <a:pt x="24" y="387"/>
                  </a:cubicBezTo>
                  <a:cubicBezTo>
                    <a:pt x="32" y="379"/>
                    <a:pt x="32" y="379"/>
                    <a:pt x="32" y="379"/>
                  </a:cubicBezTo>
                  <a:cubicBezTo>
                    <a:pt x="30" y="375"/>
                    <a:pt x="30" y="375"/>
                    <a:pt x="30" y="375"/>
                  </a:cubicBezTo>
                  <a:cubicBezTo>
                    <a:pt x="26" y="376"/>
                    <a:pt x="26" y="376"/>
                    <a:pt x="26" y="376"/>
                  </a:cubicBezTo>
                  <a:cubicBezTo>
                    <a:pt x="31" y="373"/>
                    <a:pt x="31" y="373"/>
                    <a:pt x="31" y="373"/>
                  </a:cubicBezTo>
                  <a:cubicBezTo>
                    <a:pt x="32" y="369"/>
                    <a:pt x="32" y="369"/>
                    <a:pt x="32" y="369"/>
                  </a:cubicBezTo>
                  <a:cubicBezTo>
                    <a:pt x="34" y="374"/>
                    <a:pt x="34" y="374"/>
                    <a:pt x="34" y="374"/>
                  </a:cubicBezTo>
                  <a:cubicBezTo>
                    <a:pt x="39" y="375"/>
                    <a:pt x="39" y="375"/>
                    <a:pt x="39" y="375"/>
                  </a:cubicBezTo>
                  <a:cubicBezTo>
                    <a:pt x="35" y="376"/>
                    <a:pt x="35" y="376"/>
                    <a:pt x="35" y="376"/>
                  </a:cubicBezTo>
                  <a:cubicBezTo>
                    <a:pt x="36" y="379"/>
                    <a:pt x="36" y="379"/>
                    <a:pt x="36" y="379"/>
                  </a:cubicBezTo>
                  <a:cubicBezTo>
                    <a:pt x="41" y="377"/>
                    <a:pt x="41" y="377"/>
                    <a:pt x="41" y="377"/>
                  </a:cubicBezTo>
                  <a:cubicBezTo>
                    <a:pt x="43" y="371"/>
                    <a:pt x="43" y="371"/>
                    <a:pt x="43" y="371"/>
                  </a:cubicBezTo>
                  <a:cubicBezTo>
                    <a:pt x="45" y="369"/>
                    <a:pt x="45" y="369"/>
                    <a:pt x="45" y="369"/>
                  </a:cubicBezTo>
                  <a:cubicBezTo>
                    <a:pt x="47" y="364"/>
                    <a:pt x="47" y="364"/>
                    <a:pt x="47" y="364"/>
                  </a:cubicBezTo>
                  <a:cubicBezTo>
                    <a:pt x="48" y="365"/>
                    <a:pt x="48" y="365"/>
                    <a:pt x="48" y="365"/>
                  </a:cubicBezTo>
                  <a:cubicBezTo>
                    <a:pt x="47" y="371"/>
                    <a:pt x="47" y="371"/>
                    <a:pt x="47" y="371"/>
                  </a:cubicBezTo>
                  <a:cubicBezTo>
                    <a:pt x="52" y="368"/>
                    <a:pt x="52" y="368"/>
                    <a:pt x="52" y="368"/>
                  </a:cubicBezTo>
                  <a:cubicBezTo>
                    <a:pt x="52" y="369"/>
                    <a:pt x="52" y="369"/>
                    <a:pt x="52" y="369"/>
                  </a:cubicBezTo>
                  <a:cubicBezTo>
                    <a:pt x="45" y="373"/>
                    <a:pt x="45" y="373"/>
                    <a:pt x="45" y="373"/>
                  </a:cubicBezTo>
                  <a:cubicBezTo>
                    <a:pt x="44" y="379"/>
                    <a:pt x="44" y="379"/>
                    <a:pt x="44" y="379"/>
                  </a:cubicBezTo>
                  <a:cubicBezTo>
                    <a:pt x="38" y="381"/>
                    <a:pt x="38" y="381"/>
                    <a:pt x="38" y="381"/>
                  </a:cubicBezTo>
                  <a:cubicBezTo>
                    <a:pt x="40" y="383"/>
                    <a:pt x="40" y="383"/>
                    <a:pt x="40" y="383"/>
                  </a:cubicBezTo>
                  <a:cubicBezTo>
                    <a:pt x="40" y="383"/>
                    <a:pt x="41" y="381"/>
                    <a:pt x="44" y="382"/>
                  </a:cubicBezTo>
                  <a:cubicBezTo>
                    <a:pt x="46" y="383"/>
                    <a:pt x="41" y="387"/>
                    <a:pt x="41" y="387"/>
                  </a:cubicBezTo>
                  <a:cubicBezTo>
                    <a:pt x="49" y="384"/>
                    <a:pt x="49" y="384"/>
                    <a:pt x="49" y="384"/>
                  </a:cubicBezTo>
                  <a:cubicBezTo>
                    <a:pt x="49" y="384"/>
                    <a:pt x="42" y="388"/>
                    <a:pt x="41" y="389"/>
                  </a:cubicBezTo>
                  <a:cubicBezTo>
                    <a:pt x="39" y="390"/>
                    <a:pt x="36" y="394"/>
                    <a:pt x="36" y="394"/>
                  </a:cubicBezTo>
                  <a:cubicBezTo>
                    <a:pt x="38" y="396"/>
                    <a:pt x="38" y="396"/>
                    <a:pt x="38" y="396"/>
                  </a:cubicBezTo>
                  <a:cubicBezTo>
                    <a:pt x="31" y="398"/>
                    <a:pt x="31" y="398"/>
                    <a:pt x="31" y="398"/>
                  </a:cubicBezTo>
                  <a:cubicBezTo>
                    <a:pt x="34" y="404"/>
                    <a:pt x="34" y="404"/>
                    <a:pt x="34" y="404"/>
                  </a:cubicBezTo>
                  <a:cubicBezTo>
                    <a:pt x="35" y="408"/>
                    <a:pt x="35" y="408"/>
                    <a:pt x="35" y="408"/>
                  </a:cubicBezTo>
                  <a:cubicBezTo>
                    <a:pt x="43" y="404"/>
                    <a:pt x="43" y="404"/>
                    <a:pt x="43" y="404"/>
                  </a:cubicBezTo>
                  <a:cubicBezTo>
                    <a:pt x="50" y="405"/>
                    <a:pt x="50" y="405"/>
                    <a:pt x="50" y="405"/>
                  </a:cubicBezTo>
                  <a:cubicBezTo>
                    <a:pt x="44" y="406"/>
                    <a:pt x="44" y="406"/>
                    <a:pt x="44" y="406"/>
                  </a:cubicBezTo>
                  <a:cubicBezTo>
                    <a:pt x="38" y="410"/>
                    <a:pt x="38" y="410"/>
                    <a:pt x="38" y="410"/>
                  </a:cubicBezTo>
                  <a:cubicBezTo>
                    <a:pt x="38" y="413"/>
                    <a:pt x="38" y="413"/>
                    <a:pt x="38" y="413"/>
                  </a:cubicBezTo>
                  <a:cubicBezTo>
                    <a:pt x="30" y="407"/>
                    <a:pt x="30" y="407"/>
                    <a:pt x="30" y="407"/>
                  </a:cubicBezTo>
                  <a:cubicBezTo>
                    <a:pt x="25" y="411"/>
                    <a:pt x="25" y="411"/>
                    <a:pt x="25" y="411"/>
                  </a:cubicBezTo>
                  <a:cubicBezTo>
                    <a:pt x="25" y="405"/>
                    <a:pt x="25" y="405"/>
                    <a:pt x="25" y="405"/>
                  </a:cubicBezTo>
                  <a:cubicBezTo>
                    <a:pt x="19" y="403"/>
                    <a:pt x="19" y="403"/>
                    <a:pt x="19" y="403"/>
                  </a:cubicBezTo>
                  <a:cubicBezTo>
                    <a:pt x="20" y="411"/>
                    <a:pt x="20" y="411"/>
                    <a:pt x="20" y="411"/>
                  </a:cubicBezTo>
                  <a:cubicBezTo>
                    <a:pt x="18" y="412"/>
                    <a:pt x="18" y="412"/>
                    <a:pt x="18" y="412"/>
                  </a:cubicBezTo>
                  <a:cubicBezTo>
                    <a:pt x="17" y="415"/>
                    <a:pt x="17" y="415"/>
                    <a:pt x="17" y="415"/>
                  </a:cubicBezTo>
                  <a:cubicBezTo>
                    <a:pt x="14" y="420"/>
                    <a:pt x="14" y="420"/>
                    <a:pt x="14" y="420"/>
                  </a:cubicBezTo>
                  <a:cubicBezTo>
                    <a:pt x="14" y="420"/>
                    <a:pt x="18" y="432"/>
                    <a:pt x="23" y="435"/>
                  </a:cubicBezTo>
                  <a:cubicBezTo>
                    <a:pt x="26" y="438"/>
                    <a:pt x="29" y="440"/>
                    <a:pt x="31" y="444"/>
                  </a:cubicBezTo>
                  <a:cubicBezTo>
                    <a:pt x="33" y="448"/>
                    <a:pt x="49" y="454"/>
                    <a:pt x="49" y="454"/>
                  </a:cubicBezTo>
                  <a:cubicBezTo>
                    <a:pt x="50" y="457"/>
                    <a:pt x="50" y="457"/>
                    <a:pt x="50" y="457"/>
                  </a:cubicBezTo>
                  <a:cubicBezTo>
                    <a:pt x="53" y="453"/>
                    <a:pt x="53" y="453"/>
                    <a:pt x="53" y="453"/>
                  </a:cubicBezTo>
                  <a:cubicBezTo>
                    <a:pt x="58" y="456"/>
                    <a:pt x="58" y="456"/>
                    <a:pt x="58" y="456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50" y="467"/>
                    <a:pt x="50" y="467"/>
                    <a:pt x="50" y="467"/>
                  </a:cubicBezTo>
                  <a:cubicBezTo>
                    <a:pt x="58" y="467"/>
                    <a:pt x="58" y="467"/>
                    <a:pt x="58" y="467"/>
                  </a:cubicBezTo>
                  <a:cubicBezTo>
                    <a:pt x="56" y="464"/>
                    <a:pt x="56" y="464"/>
                    <a:pt x="56" y="464"/>
                  </a:cubicBezTo>
                  <a:cubicBezTo>
                    <a:pt x="60" y="462"/>
                    <a:pt x="60" y="462"/>
                    <a:pt x="60" y="462"/>
                  </a:cubicBezTo>
                  <a:cubicBezTo>
                    <a:pt x="65" y="464"/>
                    <a:pt x="65" y="464"/>
                    <a:pt x="65" y="464"/>
                  </a:cubicBezTo>
                  <a:cubicBezTo>
                    <a:pt x="60" y="466"/>
                    <a:pt x="60" y="466"/>
                    <a:pt x="60" y="466"/>
                  </a:cubicBezTo>
                  <a:cubicBezTo>
                    <a:pt x="64" y="470"/>
                    <a:pt x="64" y="470"/>
                    <a:pt x="64" y="470"/>
                  </a:cubicBezTo>
                  <a:cubicBezTo>
                    <a:pt x="68" y="468"/>
                    <a:pt x="68" y="468"/>
                    <a:pt x="68" y="468"/>
                  </a:cubicBezTo>
                  <a:cubicBezTo>
                    <a:pt x="68" y="468"/>
                    <a:pt x="74" y="471"/>
                    <a:pt x="80" y="471"/>
                  </a:cubicBezTo>
                  <a:cubicBezTo>
                    <a:pt x="85" y="471"/>
                    <a:pt x="88" y="469"/>
                    <a:pt x="92" y="468"/>
                  </a:cubicBezTo>
                  <a:cubicBezTo>
                    <a:pt x="96" y="467"/>
                    <a:pt x="101" y="461"/>
                    <a:pt x="101" y="461"/>
                  </a:cubicBezTo>
                  <a:cubicBezTo>
                    <a:pt x="101" y="468"/>
                    <a:pt x="101" y="468"/>
                    <a:pt x="101" y="468"/>
                  </a:cubicBezTo>
                  <a:cubicBezTo>
                    <a:pt x="124" y="448"/>
                    <a:pt x="124" y="448"/>
                    <a:pt x="124" y="448"/>
                  </a:cubicBezTo>
                  <a:cubicBezTo>
                    <a:pt x="124" y="444"/>
                    <a:pt x="124" y="444"/>
                    <a:pt x="124" y="444"/>
                  </a:cubicBezTo>
                  <a:cubicBezTo>
                    <a:pt x="142" y="430"/>
                    <a:pt x="142" y="430"/>
                    <a:pt x="142" y="430"/>
                  </a:cubicBezTo>
                  <a:cubicBezTo>
                    <a:pt x="141" y="426"/>
                    <a:pt x="141" y="426"/>
                    <a:pt x="141" y="426"/>
                  </a:cubicBezTo>
                  <a:cubicBezTo>
                    <a:pt x="145" y="427"/>
                    <a:pt x="145" y="427"/>
                    <a:pt x="145" y="427"/>
                  </a:cubicBezTo>
                  <a:cubicBezTo>
                    <a:pt x="150" y="421"/>
                    <a:pt x="150" y="421"/>
                    <a:pt x="150" y="421"/>
                  </a:cubicBezTo>
                  <a:cubicBezTo>
                    <a:pt x="146" y="419"/>
                    <a:pt x="146" y="419"/>
                    <a:pt x="146" y="419"/>
                  </a:cubicBezTo>
                  <a:cubicBezTo>
                    <a:pt x="161" y="408"/>
                    <a:pt x="161" y="408"/>
                    <a:pt x="161" y="408"/>
                  </a:cubicBezTo>
                  <a:cubicBezTo>
                    <a:pt x="156" y="401"/>
                    <a:pt x="156" y="401"/>
                    <a:pt x="156" y="401"/>
                  </a:cubicBezTo>
                  <a:cubicBezTo>
                    <a:pt x="159" y="403"/>
                    <a:pt x="159" y="403"/>
                    <a:pt x="159" y="403"/>
                  </a:cubicBezTo>
                  <a:cubicBezTo>
                    <a:pt x="167" y="412"/>
                    <a:pt x="167" y="412"/>
                    <a:pt x="167" y="412"/>
                  </a:cubicBezTo>
                  <a:cubicBezTo>
                    <a:pt x="180" y="408"/>
                    <a:pt x="180" y="408"/>
                    <a:pt x="180" y="408"/>
                  </a:cubicBezTo>
                  <a:cubicBezTo>
                    <a:pt x="181" y="396"/>
                    <a:pt x="181" y="396"/>
                    <a:pt x="181" y="396"/>
                  </a:cubicBezTo>
                  <a:cubicBezTo>
                    <a:pt x="184" y="399"/>
                    <a:pt x="184" y="399"/>
                    <a:pt x="184" y="399"/>
                  </a:cubicBezTo>
                  <a:cubicBezTo>
                    <a:pt x="188" y="397"/>
                    <a:pt x="188" y="397"/>
                    <a:pt x="188" y="397"/>
                  </a:cubicBezTo>
                  <a:cubicBezTo>
                    <a:pt x="186" y="394"/>
                    <a:pt x="186" y="394"/>
                    <a:pt x="186" y="394"/>
                  </a:cubicBezTo>
                  <a:cubicBezTo>
                    <a:pt x="189" y="394"/>
                    <a:pt x="189" y="394"/>
                    <a:pt x="189" y="394"/>
                  </a:cubicBezTo>
                  <a:cubicBezTo>
                    <a:pt x="188" y="382"/>
                    <a:pt x="188" y="382"/>
                    <a:pt x="188" y="382"/>
                  </a:cubicBezTo>
                  <a:cubicBezTo>
                    <a:pt x="182" y="380"/>
                    <a:pt x="182" y="380"/>
                    <a:pt x="182" y="380"/>
                  </a:cubicBezTo>
                  <a:cubicBezTo>
                    <a:pt x="179" y="373"/>
                    <a:pt x="179" y="373"/>
                    <a:pt x="179" y="373"/>
                  </a:cubicBezTo>
                  <a:cubicBezTo>
                    <a:pt x="183" y="376"/>
                    <a:pt x="183" y="376"/>
                    <a:pt x="183" y="376"/>
                  </a:cubicBezTo>
                  <a:cubicBezTo>
                    <a:pt x="183" y="367"/>
                    <a:pt x="183" y="367"/>
                    <a:pt x="183" y="367"/>
                  </a:cubicBezTo>
                  <a:cubicBezTo>
                    <a:pt x="178" y="362"/>
                    <a:pt x="178" y="362"/>
                    <a:pt x="178" y="362"/>
                  </a:cubicBezTo>
                  <a:cubicBezTo>
                    <a:pt x="181" y="361"/>
                    <a:pt x="181" y="361"/>
                    <a:pt x="181" y="361"/>
                  </a:cubicBezTo>
                  <a:cubicBezTo>
                    <a:pt x="186" y="364"/>
                    <a:pt x="186" y="364"/>
                    <a:pt x="186" y="364"/>
                  </a:cubicBezTo>
                  <a:cubicBezTo>
                    <a:pt x="186" y="376"/>
                    <a:pt x="186" y="376"/>
                    <a:pt x="186" y="376"/>
                  </a:cubicBezTo>
                  <a:cubicBezTo>
                    <a:pt x="186" y="376"/>
                    <a:pt x="191" y="375"/>
                    <a:pt x="192" y="372"/>
                  </a:cubicBezTo>
                  <a:cubicBezTo>
                    <a:pt x="192" y="367"/>
                    <a:pt x="189" y="364"/>
                    <a:pt x="189" y="364"/>
                  </a:cubicBezTo>
                  <a:cubicBezTo>
                    <a:pt x="189" y="364"/>
                    <a:pt x="189" y="358"/>
                    <a:pt x="190" y="353"/>
                  </a:cubicBezTo>
                  <a:cubicBezTo>
                    <a:pt x="190" y="349"/>
                    <a:pt x="197" y="350"/>
                    <a:pt x="199" y="353"/>
                  </a:cubicBezTo>
                  <a:cubicBezTo>
                    <a:pt x="200" y="356"/>
                    <a:pt x="197" y="360"/>
                    <a:pt x="197" y="360"/>
                  </a:cubicBezTo>
                  <a:cubicBezTo>
                    <a:pt x="195" y="355"/>
                    <a:pt x="195" y="355"/>
                    <a:pt x="195" y="355"/>
                  </a:cubicBezTo>
                  <a:cubicBezTo>
                    <a:pt x="193" y="360"/>
                    <a:pt x="193" y="360"/>
                    <a:pt x="193" y="360"/>
                  </a:cubicBezTo>
                  <a:cubicBezTo>
                    <a:pt x="194" y="367"/>
                    <a:pt x="194" y="367"/>
                    <a:pt x="194" y="367"/>
                  </a:cubicBezTo>
                  <a:cubicBezTo>
                    <a:pt x="194" y="379"/>
                    <a:pt x="194" y="379"/>
                    <a:pt x="194" y="379"/>
                  </a:cubicBezTo>
                  <a:cubicBezTo>
                    <a:pt x="192" y="380"/>
                    <a:pt x="192" y="380"/>
                    <a:pt x="192" y="380"/>
                  </a:cubicBezTo>
                  <a:cubicBezTo>
                    <a:pt x="195" y="391"/>
                    <a:pt x="195" y="391"/>
                    <a:pt x="195" y="391"/>
                  </a:cubicBezTo>
                  <a:cubicBezTo>
                    <a:pt x="198" y="389"/>
                    <a:pt x="198" y="389"/>
                    <a:pt x="198" y="389"/>
                  </a:cubicBezTo>
                  <a:cubicBezTo>
                    <a:pt x="199" y="400"/>
                    <a:pt x="199" y="400"/>
                    <a:pt x="199" y="400"/>
                  </a:cubicBezTo>
                  <a:cubicBezTo>
                    <a:pt x="208" y="401"/>
                    <a:pt x="208" y="401"/>
                    <a:pt x="208" y="401"/>
                  </a:cubicBezTo>
                  <a:cubicBezTo>
                    <a:pt x="211" y="399"/>
                    <a:pt x="211" y="399"/>
                    <a:pt x="211" y="399"/>
                  </a:cubicBezTo>
                  <a:cubicBezTo>
                    <a:pt x="212" y="405"/>
                    <a:pt x="212" y="405"/>
                    <a:pt x="212" y="405"/>
                  </a:cubicBezTo>
                  <a:cubicBezTo>
                    <a:pt x="212" y="405"/>
                    <a:pt x="220" y="400"/>
                    <a:pt x="221" y="405"/>
                  </a:cubicBezTo>
                  <a:cubicBezTo>
                    <a:pt x="222" y="410"/>
                    <a:pt x="219" y="419"/>
                    <a:pt x="223" y="419"/>
                  </a:cubicBezTo>
                  <a:cubicBezTo>
                    <a:pt x="227" y="419"/>
                    <a:pt x="228" y="413"/>
                    <a:pt x="230" y="406"/>
                  </a:cubicBezTo>
                  <a:cubicBezTo>
                    <a:pt x="232" y="399"/>
                    <a:pt x="236" y="391"/>
                    <a:pt x="236" y="391"/>
                  </a:cubicBezTo>
                  <a:cubicBezTo>
                    <a:pt x="236" y="391"/>
                    <a:pt x="227" y="373"/>
                    <a:pt x="230" y="371"/>
                  </a:cubicBezTo>
                  <a:cubicBezTo>
                    <a:pt x="232" y="367"/>
                    <a:pt x="238" y="368"/>
                    <a:pt x="238" y="364"/>
                  </a:cubicBezTo>
                  <a:cubicBezTo>
                    <a:pt x="239" y="359"/>
                    <a:pt x="232" y="358"/>
                    <a:pt x="237" y="355"/>
                  </a:cubicBezTo>
                  <a:cubicBezTo>
                    <a:pt x="241" y="351"/>
                    <a:pt x="252" y="357"/>
                    <a:pt x="256" y="345"/>
                  </a:cubicBezTo>
                  <a:cubicBezTo>
                    <a:pt x="259" y="332"/>
                    <a:pt x="255" y="329"/>
                    <a:pt x="256" y="325"/>
                  </a:cubicBezTo>
                  <a:cubicBezTo>
                    <a:pt x="257" y="320"/>
                    <a:pt x="265" y="324"/>
                    <a:pt x="262" y="316"/>
                  </a:cubicBezTo>
                  <a:cubicBezTo>
                    <a:pt x="260" y="309"/>
                    <a:pt x="254" y="295"/>
                    <a:pt x="254" y="295"/>
                  </a:cubicBezTo>
                  <a:cubicBezTo>
                    <a:pt x="252" y="286"/>
                    <a:pt x="252" y="286"/>
                    <a:pt x="252" y="286"/>
                  </a:cubicBezTo>
                  <a:cubicBezTo>
                    <a:pt x="247" y="280"/>
                    <a:pt x="247" y="280"/>
                    <a:pt x="247" y="280"/>
                  </a:cubicBezTo>
                  <a:cubicBezTo>
                    <a:pt x="256" y="277"/>
                    <a:pt x="256" y="277"/>
                    <a:pt x="256" y="277"/>
                  </a:cubicBezTo>
                  <a:cubicBezTo>
                    <a:pt x="256" y="277"/>
                    <a:pt x="264" y="283"/>
                    <a:pt x="266" y="271"/>
                  </a:cubicBezTo>
                  <a:cubicBezTo>
                    <a:pt x="270" y="259"/>
                    <a:pt x="269" y="255"/>
                    <a:pt x="265" y="251"/>
                  </a:cubicBezTo>
                  <a:cubicBezTo>
                    <a:pt x="261" y="248"/>
                    <a:pt x="256" y="245"/>
                    <a:pt x="256" y="245"/>
                  </a:cubicBezTo>
                  <a:cubicBezTo>
                    <a:pt x="246" y="235"/>
                    <a:pt x="246" y="235"/>
                    <a:pt x="246" y="235"/>
                  </a:cubicBezTo>
                  <a:cubicBezTo>
                    <a:pt x="252" y="200"/>
                    <a:pt x="252" y="200"/>
                    <a:pt x="252" y="200"/>
                  </a:cubicBezTo>
                  <a:cubicBezTo>
                    <a:pt x="244" y="177"/>
                    <a:pt x="244" y="177"/>
                    <a:pt x="244" y="177"/>
                  </a:cubicBezTo>
                  <a:cubicBezTo>
                    <a:pt x="247" y="169"/>
                    <a:pt x="247" y="169"/>
                    <a:pt x="247" y="169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1" y="133"/>
                    <a:pt x="241" y="133"/>
                    <a:pt x="241" y="133"/>
                  </a:cubicBezTo>
                  <a:cubicBezTo>
                    <a:pt x="249" y="122"/>
                    <a:pt x="249" y="122"/>
                    <a:pt x="249" y="122"/>
                  </a:cubicBezTo>
                  <a:cubicBezTo>
                    <a:pt x="246" y="113"/>
                    <a:pt x="246" y="113"/>
                    <a:pt x="246" y="113"/>
                  </a:cubicBezTo>
                  <a:cubicBezTo>
                    <a:pt x="246" y="113"/>
                    <a:pt x="258" y="85"/>
                    <a:pt x="270" y="82"/>
                  </a:cubicBezTo>
                  <a:cubicBezTo>
                    <a:pt x="280" y="79"/>
                    <a:pt x="300" y="85"/>
                    <a:pt x="300" y="85"/>
                  </a:cubicBezTo>
                  <a:cubicBezTo>
                    <a:pt x="305" y="73"/>
                    <a:pt x="305" y="73"/>
                    <a:pt x="305" y="73"/>
                  </a:cubicBezTo>
                  <a:cubicBezTo>
                    <a:pt x="304" y="58"/>
                    <a:pt x="304" y="58"/>
                    <a:pt x="304" y="58"/>
                  </a:cubicBezTo>
                  <a:cubicBezTo>
                    <a:pt x="290" y="48"/>
                    <a:pt x="290" y="48"/>
                    <a:pt x="290" y="48"/>
                  </a:cubicBezTo>
                  <a:cubicBezTo>
                    <a:pt x="309" y="16"/>
                    <a:pt x="309" y="16"/>
                    <a:pt x="309" y="16"/>
                  </a:cubicBezTo>
                  <a:cubicBezTo>
                    <a:pt x="310" y="6"/>
                    <a:pt x="310" y="6"/>
                    <a:pt x="310" y="6"/>
                  </a:cubicBezTo>
                  <a:cubicBezTo>
                    <a:pt x="314" y="1"/>
                    <a:pt x="314" y="1"/>
                    <a:pt x="314" y="1"/>
                  </a:cubicBezTo>
                  <a:lnTo>
                    <a:pt x="314" y="0"/>
                  </a:lnTo>
                  <a:close/>
                  <a:moveTo>
                    <a:pt x="19" y="334"/>
                  </a:moveTo>
                  <a:cubicBezTo>
                    <a:pt x="16" y="337"/>
                    <a:pt x="19" y="338"/>
                    <a:pt x="20" y="337"/>
                  </a:cubicBezTo>
                  <a:cubicBezTo>
                    <a:pt x="23" y="335"/>
                    <a:pt x="22" y="331"/>
                    <a:pt x="19" y="334"/>
                  </a:cubicBezTo>
                  <a:close/>
                  <a:moveTo>
                    <a:pt x="6" y="254"/>
                  </a:moveTo>
                  <a:cubicBezTo>
                    <a:pt x="9" y="254"/>
                    <a:pt x="10" y="253"/>
                    <a:pt x="7" y="252"/>
                  </a:cubicBezTo>
                  <a:cubicBezTo>
                    <a:pt x="3" y="252"/>
                    <a:pt x="4" y="254"/>
                    <a:pt x="6" y="254"/>
                  </a:cubicBezTo>
                  <a:close/>
                  <a:moveTo>
                    <a:pt x="15" y="359"/>
                  </a:moveTo>
                  <a:cubicBezTo>
                    <a:pt x="17" y="357"/>
                    <a:pt x="17" y="357"/>
                    <a:pt x="17" y="357"/>
                  </a:cubicBezTo>
                  <a:cubicBezTo>
                    <a:pt x="15" y="353"/>
                    <a:pt x="15" y="353"/>
                    <a:pt x="15" y="353"/>
                  </a:cubicBezTo>
                  <a:cubicBezTo>
                    <a:pt x="15" y="349"/>
                    <a:pt x="15" y="349"/>
                    <a:pt x="15" y="349"/>
                  </a:cubicBezTo>
                  <a:cubicBezTo>
                    <a:pt x="11" y="347"/>
                    <a:pt x="11" y="347"/>
                    <a:pt x="11" y="347"/>
                  </a:cubicBezTo>
                  <a:cubicBezTo>
                    <a:pt x="11" y="348"/>
                    <a:pt x="11" y="348"/>
                    <a:pt x="11" y="348"/>
                  </a:cubicBezTo>
                  <a:cubicBezTo>
                    <a:pt x="11" y="348"/>
                    <a:pt x="10" y="349"/>
                    <a:pt x="9" y="351"/>
                  </a:cubicBezTo>
                  <a:cubicBezTo>
                    <a:pt x="8" y="353"/>
                    <a:pt x="12" y="355"/>
                    <a:pt x="12" y="355"/>
                  </a:cubicBezTo>
                  <a:cubicBezTo>
                    <a:pt x="9" y="358"/>
                    <a:pt x="9" y="358"/>
                    <a:pt x="9" y="358"/>
                  </a:cubicBezTo>
                  <a:cubicBezTo>
                    <a:pt x="9" y="364"/>
                    <a:pt x="9" y="364"/>
                    <a:pt x="9" y="364"/>
                  </a:cubicBezTo>
                  <a:cubicBezTo>
                    <a:pt x="13" y="363"/>
                    <a:pt x="13" y="363"/>
                    <a:pt x="13" y="363"/>
                  </a:cubicBezTo>
                  <a:cubicBezTo>
                    <a:pt x="10" y="358"/>
                    <a:pt x="10" y="358"/>
                    <a:pt x="10" y="358"/>
                  </a:cubicBezTo>
                  <a:cubicBezTo>
                    <a:pt x="14" y="355"/>
                    <a:pt x="14" y="355"/>
                    <a:pt x="14" y="355"/>
                  </a:cubicBezTo>
                  <a:cubicBezTo>
                    <a:pt x="15" y="355"/>
                    <a:pt x="15" y="355"/>
                    <a:pt x="15" y="355"/>
                  </a:cubicBezTo>
                  <a:cubicBezTo>
                    <a:pt x="14" y="357"/>
                    <a:pt x="14" y="357"/>
                    <a:pt x="14" y="357"/>
                  </a:cubicBezTo>
                  <a:lnTo>
                    <a:pt x="15" y="359"/>
                  </a:lnTo>
                  <a:close/>
                  <a:moveTo>
                    <a:pt x="6" y="271"/>
                  </a:moveTo>
                  <a:cubicBezTo>
                    <a:pt x="7" y="271"/>
                    <a:pt x="7" y="271"/>
                    <a:pt x="7" y="271"/>
                  </a:cubicBezTo>
                  <a:cubicBezTo>
                    <a:pt x="8" y="267"/>
                    <a:pt x="8" y="267"/>
                    <a:pt x="8" y="267"/>
                  </a:cubicBezTo>
                  <a:cubicBezTo>
                    <a:pt x="7" y="267"/>
                    <a:pt x="7" y="267"/>
                    <a:pt x="7" y="267"/>
                  </a:cubicBezTo>
                  <a:lnTo>
                    <a:pt x="6" y="271"/>
                  </a:lnTo>
                  <a:close/>
                  <a:moveTo>
                    <a:pt x="16" y="341"/>
                  </a:moveTo>
                  <a:cubicBezTo>
                    <a:pt x="16" y="344"/>
                    <a:pt x="16" y="344"/>
                    <a:pt x="16" y="344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14" y="345"/>
                    <a:pt x="16" y="353"/>
                    <a:pt x="20" y="353"/>
                  </a:cubicBezTo>
                  <a:cubicBezTo>
                    <a:pt x="26" y="353"/>
                    <a:pt x="22" y="344"/>
                    <a:pt x="22" y="344"/>
                  </a:cubicBezTo>
                  <a:cubicBezTo>
                    <a:pt x="17" y="341"/>
                    <a:pt x="17" y="341"/>
                    <a:pt x="17" y="341"/>
                  </a:cubicBezTo>
                  <a:lnTo>
                    <a:pt x="16" y="341"/>
                  </a:lnTo>
                  <a:close/>
                  <a:moveTo>
                    <a:pt x="25" y="352"/>
                  </a:moveTo>
                  <a:cubicBezTo>
                    <a:pt x="29" y="357"/>
                    <a:pt x="29" y="357"/>
                    <a:pt x="29" y="357"/>
                  </a:cubicBezTo>
                  <a:cubicBezTo>
                    <a:pt x="33" y="355"/>
                    <a:pt x="33" y="355"/>
                    <a:pt x="33" y="355"/>
                  </a:cubicBezTo>
                  <a:cubicBezTo>
                    <a:pt x="27" y="350"/>
                    <a:pt x="27" y="350"/>
                    <a:pt x="27" y="350"/>
                  </a:cubicBezTo>
                  <a:lnTo>
                    <a:pt x="25" y="352"/>
                  </a:lnTo>
                  <a:close/>
                  <a:moveTo>
                    <a:pt x="28" y="310"/>
                  </a:moveTo>
                  <a:cubicBezTo>
                    <a:pt x="32" y="308"/>
                    <a:pt x="32" y="308"/>
                    <a:pt x="32" y="308"/>
                  </a:cubicBezTo>
                  <a:cubicBezTo>
                    <a:pt x="34" y="297"/>
                    <a:pt x="34" y="297"/>
                    <a:pt x="34" y="297"/>
                  </a:cubicBezTo>
                  <a:cubicBezTo>
                    <a:pt x="33" y="296"/>
                    <a:pt x="33" y="296"/>
                    <a:pt x="33" y="296"/>
                  </a:cubicBezTo>
                  <a:cubicBezTo>
                    <a:pt x="29" y="301"/>
                    <a:pt x="29" y="301"/>
                    <a:pt x="29" y="301"/>
                  </a:cubicBezTo>
                  <a:cubicBezTo>
                    <a:pt x="29" y="301"/>
                    <a:pt x="28" y="301"/>
                    <a:pt x="26" y="302"/>
                  </a:cubicBezTo>
                  <a:cubicBezTo>
                    <a:pt x="24" y="302"/>
                    <a:pt x="24" y="304"/>
                    <a:pt x="24" y="304"/>
                  </a:cubicBezTo>
                  <a:lnTo>
                    <a:pt x="28" y="310"/>
                  </a:lnTo>
                  <a:close/>
                  <a:moveTo>
                    <a:pt x="7" y="280"/>
                  </a:moveTo>
                  <a:cubicBezTo>
                    <a:pt x="10" y="283"/>
                    <a:pt x="10" y="283"/>
                    <a:pt x="10" y="283"/>
                  </a:cubicBezTo>
                  <a:cubicBezTo>
                    <a:pt x="9" y="278"/>
                    <a:pt x="9" y="278"/>
                    <a:pt x="9" y="278"/>
                  </a:cubicBezTo>
                  <a:lnTo>
                    <a:pt x="7" y="280"/>
                  </a:lnTo>
                  <a:close/>
                  <a:moveTo>
                    <a:pt x="10" y="329"/>
                  </a:moveTo>
                  <a:cubicBezTo>
                    <a:pt x="11" y="331"/>
                    <a:pt x="11" y="331"/>
                    <a:pt x="11" y="331"/>
                  </a:cubicBezTo>
                  <a:cubicBezTo>
                    <a:pt x="12" y="331"/>
                    <a:pt x="12" y="331"/>
                    <a:pt x="12" y="331"/>
                  </a:cubicBezTo>
                  <a:cubicBezTo>
                    <a:pt x="14" y="334"/>
                    <a:pt x="14" y="334"/>
                    <a:pt x="14" y="334"/>
                  </a:cubicBezTo>
                  <a:cubicBezTo>
                    <a:pt x="12" y="336"/>
                    <a:pt x="12" y="336"/>
                    <a:pt x="12" y="336"/>
                  </a:cubicBezTo>
                  <a:cubicBezTo>
                    <a:pt x="15" y="337"/>
                    <a:pt x="15" y="337"/>
                    <a:pt x="15" y="337"/>
                  </a:cubicBezTo>
                  <a:cubicBezTo>
                    <a:pt x="16" y="333"/>
                    <a:pt x="16" y="333"/>
                    <a:pt x="16" y="333"/>
                  </a:cubicBezTo>
                  <a:cubicBezTo>
                    <a:pt x="12" y="328"/>
                    <a:pt x="12" y="328"/>
                    <a:pt x="12" y="328"/>
                  </a:cubicBezTo>
                  <a:lnTo>
                    <a:pt x="10" y="329"/>
                  </a:lnTo>
                  <a:close/>
                  <a:moveTo>
                    <a:pt x="9" y="290"/>
                  </a:moveTo>
                  <a:cubicBezTo>
                    <a:pt x="8" y="290"/>
                    <a:pt x="8" y="290"/>
                    <a:pt x="8" y="290"/>
                  </a:cubicBezTo>
                  <a:cubicBezTo>
                    <a:pt x="8" y="290"/>
                    <a:pt x="10" y="294"/>
                    <a:pt x="11" y="295"/>
                  </a:cubicBezTo>
                  <a:cubicBezTo>
                    <a:pt x="12" y="296"/>
                    <a:pt x="14" y="298"/>
                    <a:pt x="14" y="298"/>
                  </a:cubicBezTo>
                  <a:cubicBezTo>
                    <a:pt x="14" y="298"/>
                    <a:pt x="15" y="296"/>
                    <a:pt x="13" y="294"/>
                  </a:cubicBezTo>
                  <a:cubicBezTo>
                    <a:pt x="12" y="292"/>
                    <a:pt x="9" y="290"/>
                    <a:pt x="9" y="290"/>
                  </a:cubicBezTo>
                  <a:close/>
                  <a:moveTo>
                    <a:pt x="13" y="340"/>
                  </a:moveTo>
                  <a:cubicBezTo>
                    <a:pt x="11" y="337"/>
                    <a:pt x="11" y="337"/>
                    <a:pt x="11" y="337"/>
                  </a:cubicBezTo>
                  <a:cubicBezTo>
                    <a:pt x="8" y="340"/>
                    <a:pt x="8" y="340"/>
                    <a:pt x="8" y="340"/>
                  </a:cubicBezTo>
                  <a:cubicBezTo>
                    <a:pt x="9" y="342"/>
                    <a:pt x="9" y="342"/>
                    <a:pt x="9" y="342"/>
                  </a:cubicBezTo>
                  <a:lnTo>
                    <a:pt x="13" y="340"/>
                  </a:lnTo>
                  <a:close/>
                  <a:moveTo>
                    <a:pt x="9" y="324"/>
                  </a:moveTo>
                  <a:cubicBezTo>
                    <a:pt x="11" y="325"/>
                    <a:pt x="13" y="325"/>
                    <a:pt x="13" y="325"/>
                  </a:cubicBezTo>
                  <a:cubicBezTo>
                    <a:pt x="11" y="320"/>
                    <a:pt x="11" y="320"/>
                    <a:pt x="11" y="320"/>
                  </a:cubicBezTo>
                  <a:cubicBezTo>
                    <a:pt x="13" y="318"/>
                    <a:pt x="13" y="318"/>
                    <a:pt x="13" y="318"/>
                  </a:cubicBezTo>
                  <a:cubicBezTo>
                    <a:pt x="10" y="310"/>
                    <a:pt x="10" y="310"/>
                    <a:pt x="10" y="310"/>
                  </a:cubicBezTo>
                  <a:cubicBezTo>
                    <a:pt x="9" y="313"/>
                    <a:pt x="9" y="313"/>
                    <a:pt x="9" y="313"/>
                  </a:cubicBezTo>
                  <a:cubicBezTo>
                    <a:pt x="11" y="317"/>
                    <a:pt x="11" y="317"/>
                    <a:pt x="11" y="317"/>
                  </a:cubicBezTo>
                  <a:cubicBezTo>
                    <a:pt x="7" y="318"/>
                    <a:pt x="7" y="318"/>
                    <a:pt x="7" y="318"/>
                  </a:cubicBezTo>
                  <a:cubicBezTo>
                    <a:pt x="7" y="318"/>
                    <a:pt x="7" y="322"/>
                    <a:pt x="9" y="324"/>
                  </a:cubicBezTo>
                  <a:close/>
                  <a:moveTo>
                    <a:pt x="7" y="286"/>
                  </a:moveTo>
                  <a:cubicBezTo>
                    <a:pt x="11" y="289"/>
                    <a:pt x="11" y="289"/>
                    <a:pt x="11" y="289"/>
                  </a:cubicBezTo>
                  <a:cubicBezTo>
                    <a:pt x="9" y="284"/>
                    <a:pt x="9" y="284"/>
                    <a:pt x="9" y="284"/>
                  </a:cubicBezTo>
                  <a:lnTo>
                    <a:pt x="7" y="286"/>
                  </a:lnTo>
                  <a:close/>
                  <a:moveTo>
                    <a:pt x="11" y="301"/>
                  </a:moveTo>
                  <a:cubicBezTo>
                    <a:pt x="12" y="301"/>
                    <a:pt x="16" y="303"/>
                    <a:pt x="16" y="303"/>
                  </a:cubicBezTo>
                  <a:cubicBezTo>
                    <a:pt x="16" y="301"/>
                    <a:pt x="16" y="301"/>
                    <a:pt x="16" y="301"/>
                  </a:cubicBezTo>
                  <a:cubicBezTo>
                    <a:pt x="16" y="301"/>
                    <a:pt x="11" y="298"/>
                    <a:pt x="10" y="298"/>
                  </a:cubicBezTo>
                  <a:cubicBezTo>
                    <a:pt x="9" y="298"/>
                    <a:pt x="10" y="300"/>
                    <a:pt x="11" y="301"/>
                  </a:cubicBez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9" name="Deutschland" descr="© INSCALE GmbH, 05.05.2010&#10;http://www.presentationload.com/">
              <a:extLst>
                <a:ext uri="{FF2B5EF4-FFF2-40B4-BE49-F238E27FC236}">
                  <a16:creationId xmlns:a16="http://schemas.microsoft.com/office/drawing/2014/main" id="{FF1183D5-7F58-4292-8CB4-DE95852CC59C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270191" y="2687048"/>
              <a:ext cx="1532997" cy="1492476"/>
            </a:xfrm>
            <a:custGeom>
              <a:avLst/>
              <a:gdLst/>
              <a:ahLst/>
              <a:cxnLst>
                <a:cxn ang="0">
                  <a:pos x="296" y="88"/>
                </a:cxn>
                <a:cxn ang="0">
                  <a:pos x="316" y="94"/>
                </a:cxn>
                <a:cxn ang="0">
                  <a:pos x="301" y="195"/>
                </a:cxn>
                <a:cxn ang="0">
                  <a:pos x="291" y="184"/>
                </a:cxn>
                <a:cxn ang="0">
                  <a:pos x="772" y="96"/>
                </a:cxn>
                <a:cxn ang="0">
                  <a:pos x="777" y="96"/>
                </a:cxn>
                <a:cxn ang="0">
                  <a:pos x="793" y="138"/>
                </a:cxn>
                <a:cxn ang="0">
                  <a:pos x="821" y="130"/>
                </a:cxn>
                <a:cxn ang="0">
                  <a:pos x="775" y="70"/>
                </a:cxn>
                <a:cxn ang="0">
                  <a:pos x="783" y="91"/>
                </a:cxn>
                <a:cxn ang="0">
                  <a:pos x="847" y="179"/>
                </a:cxn>
                <a:cxn ang="0">
                  <a:pos x="834" y="171"/>
                </a:cxn>
                <a:cxn ang="0">
                  <a:pos x="596" y="180"/>
                </a:cxn>
                <a:cxn ang="0">
                  <a:pos x="550" y="109"/>
                </a:cxn>
                <a:cxn ang="0">
                  <a:pos x="749" y="104"/>
                </a:cxn>
                <a:cxn ang="0">
                  <a:pos x="146" y="231"/>
                </a:cxn>
                <a:cxn ang="0">
                  <a:pos x="210" y="221"/>
                </a:cxn>
                <a:cxn ang="0">
                  <a:pos x="972" y="618"/>
                </a:cxn>
                <a:cxn ang="0">
                  <a:pos x="928" y="434"/>
                </a:cxn>
                <a:cxn ang="0">
                  <a:pos x="853" y="221"/>
                </a:cxn>
                <a:cxn ang="0">
                  <a:pos x="788" y="151"/>
                </a:cxn>
                <a:cxn ang="0">
                  <a:pos x="689" y="130"/>
                </a:cxn>
                <a:cxn ang="0">
                  <a:pos x="656" y="158"/>
                </a:cxn>
                <a:cxn ang="0">
                  <a:pos x="575" y="200"/>
                </a:cxn>
                <a:cxn ang="0">
                  <a:pos x="550" y="161"/>
                </a:cxn>
                <a:cxn ang="0">
                  <a:pos x="464" y="130"/>
                </a:cxn>
                <a:cxn ang="0">
                  <a:pos x="397" y="47"/>
                </a:cxn>
                <a:cxn ang="0">
                  <a:pos x="348" y="94"/>
                </a:cxn>
                <a:cxn ang="0">
                  <a:pos x="332" y="158"/>
                </a:cxn>
                <a:cxn ang="0">
                  <a:pos x="384" y="221"/>
                </a:cxn>
                <a:cxn ang="0">
                  <a:pos x="272" y="255"/>
                </a:cxn>
                <a:cxn ang="0">
                  <a:pos x="174" y="231"/>
                </a:cxn>
                <a:cxn ang="0">
                  <a:pos x="148" y="374"/>
                </a:cxn>
                <a:cxn ang="0">
                  <a:pos x="102" y="532"/>
                </a:cxn>
                <a:cxn ang="0">
                  <a:pos x="37" y="590"/>
                </a:cxn>
                <a:cxn ang="0">
                  <a:pos x="24" y="709"/>
                </a:cxn>
                <a:cxn ang="0">
                  <a:pos x="21" y="841"/>
                </a:cxn>
                <a:cxn ang="0">
                  <a:pos x="76" y="992"/>
                </a:cxn>
                <a:cxn ang="0">
                  <a:pos x="153" y="1005"/>
                </a:cxn>
                <a:cxn ang="0">
                  <a:pos x="195" y="1104"/>
                </a:cxn>
                <a:cxn ang="0">
                  <a:pos x="213" y="1285"/>
                </a:cxn>
                <a:cxn ang="0">
                  <a:pos x="283" y="1249"/>
                </a:cxn>
                <a:cxn ang="0">
                  <a:pos x="417" y="1285"/>
                </a:cxn>
                <a:cxn ang="0">
                  <a:pos x="503" y="1291"/>
                </a:cxn>
                <a:cxn ang="0">
                  <a:pos x="599" y="1306"/>
                </a:cxn>
                <a:cxn ang="0">
                  <a:pos x="762" y="1267"/>
                </a:cxn>
                <a:cxn ang="0">
                  <a:pos x="757" y="1189"/>
                </a:cxn>
                <a:cxn ang="0">
                  <a:pos x="824" y="1031"/>
                </a:cxn>
                <a:cxn ang="0">
                  <a:pos x="720" y="880"/>
                </a:cxn>
                <a:cxn ang="0">
                  <a:pos x="736" y="800"/>
                </a:cxn>
                <a:cxn ang="0">
                  <a:pos x="902" y="712"/>
                </a:cxn>
                <a:cxn ang="0">
                  <a:pos x="967" y="704"/>
                </a:cxn>
                <a:cxn ang="0">
                  <a:pos x="138" y="234"/>
                </a:cxn>
                <a:cxn ang="0">
                  <a:pos x="239" y="216"/>
                </a:cxn>
                <a:cxn ang="0">
                  <a:pos x="278" y="68"/>
                </a:cxn>
                <a:cxn ang="0">
                  <a:pos x="280" y="49"/>
                </a:cxn>
                <a:cxn ang="0">
                  <a:pos x="291" y="26"/>
                </a:cxn>
                <a:cxn ang="0">
                  <a:pos x="296" y="0"/>
                </a:cxn>
                <a:cxn ang="0">
                  <a:pos x="265" y="229"/>
                </a:cxn>
                <a:cxn ang="0">
                  <a:pos x="241" y="151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0" name="Serbien" descr="© INSCALE GmbH, 05.05.2010&#10;http://www.presentationload.com/">
              <a:extLst>
                <a:ext uri="{FF2B5EF4-FFF2-40B4-BE49-F238E27FC236}">
                  <a16:creationId xmlns:a16="http://schemas.microsoft.com/office/drawing/2014/main" id="{1D3BC3F4-F7DC-45FE-95B1-5C40BA57B98D}"/>
                </a:ext>
              </a:extLst>
            </p:cNvPr>
            <p:cNvSpPr>
              <a:spLocks/>
            </p:cNvSpPr>
            <p:nvPr/>
          </p:nvSpPr>
          <p:spPr bwMode="gray">
            <a:xfrm>
              <a:off x="8583585" y="4318246"/>
              <a:ext cx="877654" cy="710307"/>
            </a:xfrm>
            <a:custGeom>
              <a:avLst/>
              <a:gdLst/>
              <a:ahLst/>
              <a:cxnLst>
                <a:cxn ang="0">
                  <a:pos x="137" y="108"/>
                </a:cxn>
                <a:cxn ang="0">
                  <a:pos x="136" y="89"/>
                </a:cxn>
                <a:cxn ang="0">
                  <a:pos x="134" y="77"/>
                </a:cxn>
                <a:cxn ang="0">
                  <a:pos x="135" y="65"/>
                </a:cxn>
                <a:cxn ang="0">
                  <a:pos x="128" y="58"/>
                </a:cxn>
                <a:cxn ang="0">
                  <a:pos x="105" y="65"/>
                </a:cxn>
                <a:cxn ang="0">
                  <a:pos x="96" y="56"/>
                </a:cxn>
                <a:cxn ang="0">
                  <a:pos x="94" y="41"/>
                </a:cxn>
                <a:cxn ang="0">
                  <a:pos x="77" y="38"/>
                </a:cxn>
                <a:cxn ang="0">
                  <a:pos x="65" y="24"/>
                </a:cxn>
                <a:cxn ang="0">
                  <a:pos x="57" y="11"/>
                </a:cxn>
                <a:cxn ang="0">
                  <a:pos x="50" y="9"/>
                </a:cxn>
                <a:cxn ang="0">
                  <a:pos x="31" y="5"/>
                </a:cxn>
                <a:cxn ang="0">
                  <a:pos x="11" y="14"/>
                </a:cxn>
                <a:cxn ang="0">
                  <a:pos x="0" y="19"/>
                </a:cxn>
                <a:cxn ang="0">
                  <a:pos x="8" y="33"/>
                </a:cxn>
                <a:cxn ang="0">
                  <a:pos x="14" y="48"/>
                </a:cxn>
                <a:cxn ang="0">
                  <a:pos x="14" y="50"/>
                </a:cxn>
                <a:cxn ang="0">
                  <a:pos x="24" y="64"/>
                </a:cxn>
                <a:cxn ang="0">
                  <a:pos x="15" y="82"/>
                </a:cxn>
                <a:cxn ang="0">
                  <a:pos x="24" y="92"/>
                </a:cxn>
                <a:cxn ang="0">
                  <a:pos x="21" y="106"/>
                </a:cxn>
                <a:cxn ang="0">
                  <a:pos x="24" y="124"/>
                </a:cxn>
                <a:cxn ang="0">
                  <a:pos x="31" y="132"/>
                </a:cxn>
                <a:cxn ang="0">
                  <a:pos x="47" y="143"/>
                </a:cxn>
                <a:cxn ang="0">
                  <a:pos x="64" y="155"/>
                </a:cxn>
                <a:cxn ang="0">
                  <a:pos x="65" y="158"/>
                </a:cxn>
                <a:cxn ang="0">
                  <a:pos x="73" y="154"/>
                </a:cxn>
                <a:cxn ang="0">
                  <a:pos x="77" y="145"/>
                </a:cxn>
                <a:cxn ang="0">
                  <a:pos x="78" y="138"/>
                </a:cxn>
                <a:cxn ang="0">
                  <a:pos x="83" y="134"/>
                </a:cxn>
                <a:cxn ang="0">
                  <a:pos x="83" y="140"/>
                </a:cxn>
                <a:cxn ang="0">
                  <a:pos x="88" y="141"/>
                </a:cxn>
                <a:cxn ang="0">
                  <a:pos x="90" y="143"/>
                </a:cxn>
                <a:cxn ang="0">
                  <a:pos x="98" y="146"/>
                </a:cxn>
                <a:cxn ang="0">
                  <a:pos x="102" y="150"/>
                </a:cxn>
                <a:cxn ang="0">
                  <a:pos x="107" y="154"/>
                </a:cxn>
                <a:cxn ang="0">
                  <a:pos x="112" y="156"/>
                </a:cxn>
                <a:cxn ang="0">
                  <a:pos x="118" y="161"/>
                </a:cxn>
                <a:cxn ang="0">
                  <a:pos x="116" y="170"/>
                </a:cxn>
                <a:cxn ang="0">
                  <a:pos x="114" y="176"/>
                </a:cxn>
                <a:cxn ang="0">
                  <a:pos x="125" y="172"/>
                </a:cxn>
                <a:cxn ang="0">
                  <a:pos x="140" y="170"/>
                </a:cxn>
                <a:cxn ang="0">
                  <a:pos x="143" y="150"/>
                </a:cxn>
                <a:cxn ang="0">
                  <a:pos x="150" y="142"/>
                </a:cxn>
                <a:cxn ang="0">
                  <a:pos x="150" y="119"/>
                </a:cxn>
              </a:cxnLst>
              <a:rect l="0" t="0" r="r" b="b"/>
              <a:pathLst>
                <a:path w="158" h="177">
                  <a:moveTo>
                    <a:pt x="150" y="119"/>
                  </a:moveTo>
                  <a:cubicBezTo>
                    <a:pt x="148" y="117"/>
                    <a:pt x="139" y="115"/>
                    <a:pt x="139" y="115"/>
                  </a:cubicBezTo>
                  <a:cubicBezTo>
                    <a:pt x="137" y="108"/>
                    <a:pt x="137" y="108"/>
                    <a:pt x="137" y="108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32" y="91"/>
                    <a:pt x="132" y="91"/>
                    <a:pt x="132" y="91"/>
                  </a:cubicBezTo>
                  <a:cubicBezTo>
                    <a:pt x="132" y="91"/>
                    <a:pt x="135" y="90"/>
                    <a:pt x="136" y="89"/>
                  </a:cubicBezTo>
                  <a:cubicBezTo>
                    <a:pt x="137" y="87"/>
                    <a:pt x="137" y="83"/>
                    <a:pt x="137" y="83"/>
                  </a:cubicBezTo>
                  <a:cubicBezTo>
                    <a:pt x="137" y="83"/>
                    <a:pt x="140" y="80"/>
                    <a:pt x="139" y="77"/>
                  </a:cubicBezTo>
                  <a:cubicBezTo>
                    <a:pt x="138" y="74"/>
                    <a:pt x="134" y="77"/>
                    <a:pt x="134" y="77"/>
                  </a:cubicBezTo>
                  <a:cubicBezTo>
                    <a:pt x="132" y="69"/>
                    <a:pt x="132" y="69"/>
                    <a:pt x="132" y="69"/>
                  </a:cubicBezTo>
                  <a:cubicBezTo>
                    <a:pt x="134" y="69"/>
                    <a:pt x="134" y="69"/>
                    <a:pt x="134" y="69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8" y="66"/>
                    <a:pt x="138" y="66"/>
                    <a:pt x="138" y="66"/>
                  </a:cubicBezTo>
                  <a:cubicBezTo>
                    <a:pt x="139" y="63"/>
                    <a:pt x="139" y="63"/>
                    <a:pt x="139" y="63"/>
                  </a:cubicBezTo>
                  <a:cubicBezTo>
                    <a:pt x="139" y="63"/>
                    <a:pt x="135" y="60"/>
                    <a:pt x="128" y="58"/>
                  </a:cubicBezTo>
                  <a:cubicBezTo>
                    <a:pt x="123" y="58"/>
                    <a:pt x="122" y="71"/>
                    <a:pt x="119" y="71"/>
                  </a:cubicBezTo>
                  <a:cubicBezTo>
                    <a:pt x="116" y="72"/>
                    <a:pt x="116" y="65"/>
                    <a:pt x="113" y="64"/>
                  </a:cubicBezTo>
                  <a:cubicBezTo>
                    <a:pt x="111" y="62"/>
                    <a:pt x="108" y="67"/>
                    <a:pt x="105" y="65"/>
                  </a:cubicBezTo>
                  <a:cubicBezTo>
                    <a:pt x="102" y="65"/>
                    <a:pt x="100" y="61"/>
                    <a:pt x="99" y="60"/>
                  </a:cubicBezTo>
                  <a:cubicBezTo>
                    <a:pt x="97" y="60"/>
                    <a:pt x="90" y="58"/>
                    <a:pt x="90" y="58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4" y="46"/>
                    <a:pt x="94" y="41"/>
                  </a:cubicBezTo>
                  <a:cubicBezTo>
                    <a:pt x="93" y="35"/>
                    <a:pt x="84" y="39"/>
                    <a:pt x="84" y="39"/>
                  </a:cubicBezTo>
                  <a:cubicBezTo>
                    <a:pt x="81" y="36"/>
                    <a:pt x="81" y="36"/>
                    <a:pt x="81" y="36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66" y="30"/>
                    <a:pt x="66" y="30"/>
                    <a:pt x="66" y="30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7" y="16"/>
                    <a:pt x="67" y="16"/>
                    <a:pt x="67" y="16"/>
                  </a:cubicBezTo>
                  <a:cubicBezTo>
                    <a:pt x="67" y="16"/>
                    <a:pt x="63" y="19"/>
                    <a:pt x="61" y="19"/>
                  </a:cubicBezTo>
                  <a:cubicBezTo>
                    <a:pt x="58" y="19"/>
                    <a:pt x="57" y="11"/>
                    <a:pt x="57" y="11"/>
                  </a:cubicBezTo>
                  <a:cubicBezTo>
                    <a:pt x="55" y="11"/>
                    <a:pt x="55" y="11"/>
                    <a:pt x="55" y="11"/>
                  </a:cubicBezTo>
                  <a:cubicBezTo>
                    <a:pt x="53" y="8"/>
                    <a:pt x="53" y="8"/>
                    <a:pt x="53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2" y="0"/>
                    <a:pt x="31" y="5"/>
                    <a:pt x="31" y="5"/>
                  </a:cubicBezTo>
                  <a:cubicBezTo>
                    <a:pt x="31" y="5"/>
                    <a:pt x="28" y="3"/>
                    <a:pt x="26" y="3"/>
                  </a:cubicBezTo>
                  <a:cubicBezTo>
                    <a:pt x="24" y="3"/>
                    <a:pt x="21" y="6"/>
                    <a:pt x="19" y="8"/>
                  </a:cubicBezTo>
                  <a:cubicBezTo>
                    <a:pt x="17" y="11"/>
                    <a:pt x="11" y="14"/>
                    <a:pt x="11" y="14"/>
                  </a:cubicBezTo>
                  <a:cubicBezTo>
                    <a:pt x="7" y="13"/>
                    <a:pt x="7" y="13"/>
                    <a:pt x="7" y="13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2" y="21"/>
                    <a:pt x="4" y="24"/>
                    <a:pt x="4" y="24"/>
                  </a:cubicBezTo>
                  <a:cubicBezTo>
                    <a:pt x="4" y="28"/>
                    <a:pt x="0" y="32"/>
                    <a:pt x="2" y="33"/>
                  </a:cubicBezTo>
                  <a:cubicBezTo>
                    <a:pt x="5" y="37"/>
                    <a:pt x="5" y="33"/>
                    <a:pt x="8" y="33"/>
                  </a:cubicBezTo>
                  <a:cubicBezTo>
                    <a:pt x="12" y="33"/>
                    <a:pt x="11" y="37"/>
                    <a:pt x="6" y="39"/>
                  </a:cubicBezTo>
                  <a:cubicBezTo>
                    <a:pt x="2" y="40"/>
                    <a:pt x="6" y="43"/>
                    <a:pt x="6" y="43"/>
                  </a:cubicBezTo>
                  <a:cubicBezTo>
                    <a:pt x="14" y="48"/>
                    <a:pt x="14" y="48"/>
                    <a:pt x="14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2" y="50"/>
                    <a:pt x="22" y="50"/>
                    <a:pt x="22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1" y="66"/>
                    <a:pt x="21" y="66"/>
                    <a:pt x="21" y="66"/>
                  </a:cubicBezTo>
                  <a:cubicBezTo>
                    <a:pt x="21" y="66"/>
                    <a:pt x="21" y="73"/>
                    <a:pt x="19" y="75"/>
                  </a:cubicBezTo>
                  <a:cubicBezTo>
                    <a:pt x="18" y="78"/>
                    <a:pt x="15" y="82"/>
                    <a:pt x="15" y="82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3" y="90"/>
                    <a:pt x="15" y="91"/>
                  </a:cubicBezTo>
                  <a:cubicBezTo>
                    <a:pt x="18" y="92"/>
                    <a:pt x="24" y="92"/>
                    <a:pt x="24" y="92"/>
                  </a:cubicBezTo>
                  <a:cubicBezTo>
                    <a:pt x="34" y="101"/>
                    <a:pt x="34" y="101"/>
                    <a:pt x="34" y="101"/>
                  </a:cubicBezTo>
                  <a:cubicBezTo>
                    <a:pt x="34" y="101"/>
                    <a:pt x="34" y="106"/>
                    <a:pt x="31" y="106"/>
                  </a:cubicBezTo>
                  <a:cubicBezTo>
                    <a:pt x="27" y="106"/>
                    <a:pt x="21" y="106"/>
                    <a:pt x="21" y="106"/>
                  </a:cubicBezTo>
                  <a:cubicBezTo>
                    <a:pt x="27" y="114"/>
                    <a:pt x="27" y="114"/>
                    <a:pt x="27" y="114"/>
                  </a:cubicBezTo>
                  <a:cubicBezTo>
                    <a:pt x="27" y="114"/>
                    <a:pt x="37" y="122"/>
                    <a:pt x="32" y="124"/>
                  </a:cubicBezTo>
                  <a:cubicBezTo>
                    <a:pt x="28" y="128"/>
                    <a:pt x="24" y="124"/>
                    <a:pt x="24" y="124"/>
                  </a:cubicBezTo>
                  <a:cubicBezTo>
                    <a:pt x="24" y="125"/>
                    <a:pt x="24" y="125"/>
                    <a:pt x="24" y="125"/>
                  </a:cubicBezTo>
                  <a:cubicBezTo>
                    <a:pt x="26" y="129"/>
                    <a:pt x="26" y="129"/>
                    <a:pt x="26" y="129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37" y="136"/>
                    <a:pt x="37" y="136"/>
                    <a:pt x="37" y="136"/>
                  </a:cubicBezTo>
                  <a:cubicBezTo>
                    <a:pt x="43" y="141"/>
                    <a:pt x="43" y="141"/>
                    <a:pt x="43" y="141"/>
                  </a:cubicBezTo>
                  <a:cubicBezTo>
                    <a:pt x="47" y="143"/>
                    <a:pt x="47" y="143"/>
                    <a:pt x="47" y="143"/>
                  </a:cubicBezTo>
                  <a:cubicBezTo>
                    <a:pt x="60" y="149"/>
                    <a:pt x="60" y="149"/>
                    <a:pt x="60" y="149"/>
                  </a:cubicBezTo>
                  <a:cubicBezTo>
                    <a:pt x="64" y="150"/>
                    <a:pt x="64" y="150"/>
                    <a:pt x="64" y="150"/>
                  </a:cubicBezTo>
                  <a:cubicBezTo>
                    <a:pt x="64" y="155"/>
                    <a:pt x="64" y="155"/>
                    <a:pt x="64" y="155"/>
                  </a:cubicBezTo>
                  <a:cubicBezTo>
                    <a:pt x="61" y="156"/>
                    <a:pt x="61" y="156"/>
                    <a:pt x="61" y="156"/>
                  </a:cubicBezTo>
                  <a:cubicBezTo>
                    <a:pt x="61" y="157"/>
                    <a:pt x="61" y="157"/>
                    <a:pt x="61" y="158"/>
                  </a:cubicBezTo>
                  <a:cubicBezTo>
                    <a:pt x="65" y="158"/>
                    <a:pt x="65" y="158"/>
                    <a:pt x="65" y="158"/>
                  </a:cubicBezTo>
                  <a:cubicBezTo>
                    <a:pt x="69" y="158"/>
                    <a:pt x="69" y="158"/>
                    <a:pt x="69" y="158"/>
                  </a:cubicBezTo>
                  <a:cubicBezTo>
                    <a:pt x="69" y="158"/>
                    <a:pt x="71" y="157"/>
                    <a:pt x="71" y="157"/>
                  </a:cubicBezTo>
                  <a:cubicBezTo>
                    <a:pt x="72" y="156"/>
                    <a:pt x="72" y="155"/>
                    <a:pt x="73" y="154"/>
                  </a:cubicBezTo>
                  <a:cubicBezTo>
                    <a:pt x="73" y="154"/>
                    <a:pt x="72" y="153"/>
                    <a:pt x="73" y="152"/>
                  </a:cubicBezTo>
                  <a:cubicBezTo>
                    <a:pt x="74" y="151"/>
                    <a:pt x="76" y="149"/>
                    <a:pt x="76" y="149"/>
                  </a:cubicBezTo>
                  <a:cubicBezTo>
                    <a:pt x="76" y="149"/>
                    <a:pt x="77" y="145"/>
                    <a:pt x="77" y="145"/>
                  </a:cubicBezTo>
                  <a:cubicBezTo>
                    <a:pt x="76" y="144"/>
                    <a:pt x="76" y="143"/>
                    <a:pt x="75" y="143"/>
                  </a:cubicBezTo>
                  <a:cubicBezTo>
                    <a:pt x="75" y="142"/>
                    <a:pt x="76" y="139"/>
                    <a:pt x="76" y="139"/>
                  </a:cubicBezTo>
                  <a:cubicBezTo>
                    <a:pt x="76" y="139"/>
                    <a:pt x="77" y="138"/>
                    <a:pt x="78" y="138"/>
                  </a:cubicBezTo>
                  <a:cubicBezTo>
                    <a:pt x="79" y="137"/>
                    <a:pt x="80" y="138"/>
                    <a:pt x="81" y="138"/>
                  </a:cubicBezTo>
                  <a:cubicBezTo>
                    <a:pt x="81" y="138"/>
                    <a:pt x="82" y="135"/>
                    <a:pt x="82" y="135"/>
                  </a:cubicBezTo>
                  <a:cubicBezTo>
                    <a:pt x="82" y="136"/>
                    <a:pt x="82" y="134"/>
                    <a:pt x="83" y="134"/>
                  </a:cubicBezTo>
                  <a:cubicBezTo>
                    <a:pt x="84" y="134"/>
                    <a:pt x="84" y="136"/>
                    <a:pt x="84" y="136"/>
                  </a:cubicBezTo>
                  <a:cubicBezTo>
                    <a:pt x="84" y="136"/>
                    <a:pt x="85" y="137"/>
                    <a:pt x="85" y="138"/>
                  </a:cubicBezTo>
                  <a:cubicBezTo>
                    <a:pt x="84" y="139"/>
                    <a:pt x="83" y="140"/>
                    <a:pt x="83" y="140"/>
                  </a:cubicBezTo>
                  <a:cubicBezTo>
                    <a:pt x="83" y="140"/>
                    <a:pt x="84" y="141"/>
                    <a:pt x="84" y="141"/>
                  </a:cubicBezTo>
                  <a:cubicBezTo>
                    <a:pt x="85" y="141"/>
                    <a:pt x="85" y="141"/>
                    <a:pt x="85" y="141"/>
                  </a:cubicBezTo>
                  <a:cubicBezTo>
                    <a:pt x="88" y="141"/>
                    <a:pt x="88" y="141"/>
                    <a:pt x="88" y="141"/>
                  </a:cubicBezTo>
                  <a:cubicBezTo>
                    <a:pt x="88" y="141"/>
                    <a:pt x="88" y="142"/>
                    <a:pt x="88" y="142"/>
                  </a:cubicBezTo>
                  <a:cubicBezTo>
                    <a:pt x="89" y="142"/>
                    <a:pt x="89" y="142"/>
                    <a:pt x="90" y="143"/>
                  </a:cubicBezTo>
                  <a:cubicBezTo>
                    <a:pt x="90" y="143"/>
                    <a:pt x="90" y="143"/>
                    <a:pt x="90" y="143"/>
                  </a:cubicBezTo>
                  <a:cubicBezTo>
                    <a:pt x="91" y="144"/>
                    <a:pt x="93" y="143"/>
                    <a:pt x="94" y="143"/>
                  </a:cubicBezTo>
                  <a:cubicBezTo>
                    <a:pt x="95" y="143"/>
                    <a:pt x="95" y="145"/>
                    <a:pt x="95" y="145"/>
                  </a:cubicBezTo>
                  <a:cubicBezTo>
                    <a:pt x="95" y="145"/>
                    <a:pt x="97" y="145"/>
                    <a:pt x="98" y="146"/>
                  </a:cubicBezTo>
                  <a:cubicBezTo>
                    <a:pt x="98" y="146"/>
                    <a:pt x="98" y="149"/>
                    <a:pt x="98" y="149"/>
                  </a:cubicBezTo>
                  <a:cubicBezTo>
                    <a:pt x="98" y="149"/>
                    <a:pt x="99" y="150"/>
                    <a:pt x="100" y="150"/>
                  </a:cubicBezTo>
                  <a:cubicBezTo>
                    <a:pt x="101" y="150"/>
                    <a:pt x="102" y="150"/>
                    <a:pt x="102" y="150"/>
                  </a:cubicBezTo>
                  <a:cubicBezTo>
                    <a:pt x="102" y="150"/>
                    <a:pt x="103" y="152"/>
                    <a:pt x="103" y="152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7" y="154"/>
                    <a:pt x="107" y="154"/>
                    <a:pt x="107" y="154"/>
                  </a:cubicBezTo>
                  <a:cubicBezTo>
                    <a:pt x="110" y="155"/>
                    <a:pt x="110" y="155"/>
                    <a:pt x="110" y="155"/>
                  </a:cubicBezTo>
                  <a:cubicBezTo>
                    <a:pt x="111" y="155"/>
                    <a:pt x="111" y="155"/>
                    <a:pt x="111" y="155"/>
                  </a:cubicBezTo>
                  <a:cubicBezTo>
                    <a:pt x="112" y="156"/>
                    <a:pt x="112" y="156"/>
                    <a:pt x="112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4" y="157"/>
                    <a:pt x="116" y="157"/>
                    <a:pt x="117" y="158"/>
                  </a:cubicBezTo>
                  <a:cubicBezTo>
                    <a:pt x="117" y="158"/>
                    <a:pt x="118" y="161"/>
                    <a:pt x="118" y="161"/>
                  </a:cubicBezTo>
                  <a:cubicBezTo>
                    <a:pt x="118" y="161"/>
                    <a:pt x="119" y="163"/>
                    <a:pt x="119" y="163"/>
                  </a:cubicBezTo>
                  <a:cubicBezTo>
                    <a:pt x="119" y="164"/>
                    <a:pt x="118" y="166"/>
                    <a:pt x="118" y="166"/>
                  </a:cubicBezTo>
                  <a:cubicBezTo>
                    <a:pt x="116" y="170"/>
                    <a:pt x="116" y="170"/>
                    <a:pt x="116" y="170"/>
                  </a:cubicBezTo>
                  <a:cubicBezTo>
                    <a:pt x="116" y="170"/>
                    <a:pt x="115" y="172"/>
                    <a:pt x="115" y="172"/>
                  </a:cubicBezTo>
                  <a:cubicBezTo>
                    <a:pt x="115" y="173"/>
                    <a:pt x="114" y="174"/>
                    <a:pt x="114" y="174"/>
                  </a:cubicBezTo>
                  <a:cubicBezTo>
                    <a:pt x="114" y="174"/>
                    <a:pt x="114" y="175"/>
                    <a:pt x="114" y="176"/>
                  </a:cubicBezTo>
                  <a:cubicBezTo>
                    <a:pt x="114" y="176"/>
                    <a:pt x="113" y="176"/>
                    <a:pt x="112" y="177"/>
                  </a:cubicBezTo>
                  <a:cubicBezTo>
                    <a:pt x="114" y="177"/>
                    <a:pt x="115" y="177"/>
                    <a:pt x="116" y="177"/>
                  </a:cubicBezTo>
                  <a:cubicBezTo>
                    <a:pt x="120" y="177"/>
                    <a:pt x="125" y="172"/>
                    <a:pt x="125" y="172"/>
                  </a:cubicBezTo>
                  <a:cubicBezTo>
                    <a:pt x="132" y="173"/>
                    <a:pt x="132" y="173"/>
                    <a:pt x="132" y="173"/>
                  </a:cubicBezTo>
                  <a:cubicBezTo>
                    <a:pt x="137" y="168"/>
                    <a:pt x="137" y="168"/>
                    <a:pt x="137" y="168"/>
                  </a:cubicBezTo>
                  <a:cubicBezTo>
                    <a:pt x="140" y="170"/>
                    <a:pt x="140" y="170"/>
                    <a:pt x="140" y="170"/>
                  </a:cubicBezTo>
                  <a:cubicBezTo>
                    <a:pt x="146" y="162"/>
                    <a:pt x="146" y="162"/>
                    <a:pt x="146" y="162"/>
                  </a:cubicBezTo>
                  <a:cubicBezTo>
                    <a:pt x="140" y="156"/>
                    <a:pt x="140" y="156"/>
                    <a:pt x="140" y="156"/>
                  </a:cubicBezTo>
                  <a:cubicBezTo>
                    <a:pt x="143" y="150"/>
                    <a:pt x="143" y="150"/>
                    <a:pt x="143" y="150"/>
                  </a:cubicBezTo>
                  <a:cubicBezTo>
                    <a:pt x="139" y="148"/>
                    <a:pt x="139" y="148"/>
                    <a:pt x="139" y="148"/>
                  </a:cubicBezTo>
                  <a:cubicBezTo>
                    <a:pt x="139" y="148"/>
                    <a:pt x="139" y="146"/>
                    <a:pt x="142" y="144"/>
                  </a:cubicBezTo>
                  <a:cubicBezTo>
                    <a:pt x="145" y="141"/>
                    <a:pt x="148" y="143"/>
                    <a:pt x="150" y="142"/>
                  </a:cubicBezTo>
                  <a:cubicBezTo>
                    <a:pt x="151" y="141"/>
                    <a:pt x="152" y="139"/>
                    <a:pt x="152" y="139"/>
                  </a:cubicBezTo>
                  <a:cubicBezTo>
                    <a:pt x="158" y="128"/>
                    <a:pt x="158" y="128"/>
                    <a:pt x="158" y="128"/>
                  </a:cubicBezTo>
                  <a:cubicBezTo>
                    <a:pt x="158" y="128"/>
                    <a:pt x="155" y="121"/>
                    <a:pt x="150" y="119"/>
                  </a:cubicBezTo>
                  <a:close/>
                </a:path>
              </a:pathLst>
            </a:custGeom>
            <a:solidFill>
              <a:schemeClr val="tx1"/>
            </a:solidFill>
            <a:ln w="3175" cap="rnd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1" name="Kosovo" descr="© INSCALE GmbH, 05.05.2010&#10;http://www.presentationload.com/">
              <a:extLst>
                <a:ext uri="{FF2B5EF4-FFF2-40B4-BE49-F238E27FC236}">
                  <a16:creationId xmlns:a16="http://schemas.microsoft.com/office/drawing/2014/main" id="{88DF3664-DA0A-4D7D-8B55-BA0A2DC9A561}"/>
                </a:ext>
              </a:extLst>
            </p:cNvPr>
            <p:cNvSpPr>
              <a:spLocks/>
            </p:cNvSpPr>
            <p:nvPr/>
          </p:nvSpPr>
          <p:spPr bwMode="gray">
            <a:xfrm>
              <a:off x="8868425" y="4854735"/>
              <a:ext cx="377461" cy="277436"/>
            </a:xfrm>
            <a:custGeom>
              <a:avLst/>
              <a:gdLst/>
              <a:ahLst/>
              <a:cxnLst>
                <a:cxn ang="0">
                  <a:pos x="63" y="40"/>
                </a:cxn>
                <a:cxn ang="0">
                  <a:pos x="65" y="36"/>
                </a:cxn>
                <a:cxn ang="0">
                  <a:pos x="68" y="29"/>
                </a:cxn>
                <a:cxn ang="0">
                  <a:pos x="66" y="24"/>
                </a:cxn>
                <a:cxn ang="0">
                  <a:pos x="61" y="22"/>
                </a:cxn>
                <a:cxn ang="0">
                  <a:pos x="59" y="21"/>
                </a:cxn>
                <a:cxn ang="0">
                  <a:pos x="54" y="19"/>
                </a:cxn>
                <a:cxn ang="0">
                  <a:pos x="51" y="16"/>
                </a:cxn>
                <a:cxn ang="0">
                  <a:pos x="47" y="15"/>
                </a:cxn>
                <a:cxn ang="0">
                  <a:pos x="44" y="11"/>
                </a:cxn>
                <a:cxn ang="0">
                  <a:pos x="39" y="9"/>
                </a:cxn>
                <a:cxn ang="0">
                  <a:pos x="37" y="8"/>
                </a:cxn>
                <a:cxn ang="0">
                  <a:pos x="34" y="7"/>
                </a:cxn>
                <a:cxn ang="0">
                  <a:pos x="32" y="6"/>
                </a:cxn>
                <a:cxn ang="0">
                  <a:pos x="33" y="2"/>
                </a:cxn>
                <a:cxn ang="0">
                  <a:pos x="31" y="1"/>
                </a:cxn>
                <a:cxn ang="0">
                  <a:pos x="27" y="4"/>
                </a:cxn>
                <a:cxn ang="0">
                  <a:pos x="24" y="9"/>
                </a:cxn>
                <a:cxn ang="0">
                  <a:pos x="25" y="15"/>
                </a:cxn>
                <a:cxn ang="0">
                  <a:pos x="22" y="20"/>
                </a:cxn>
                <a:cxn ang="0">
                  <a:pos x="18" y="24"/>
                </a:cxn>
                <a:cxn ang="0">
                  <a:pos x="10" y="24"/>
                </a:cxn>
                <a:cxn ang="0">
                  <a:pos x="6" y="25"/>
                </a:cxn>
                <a:cxn ang="0">
                  <a:pos x="0" y="27"/>
                </a:cxn>
                <a:cxn ang="0">
                  <a:pos x="5" y="37"/>
                </a:cxn>
                <a:cxn ang="0">
                  <a:pos x="12" y="38"/>
                </a:cxn>
                <a:cxn ang="0">
                  <a:pos x="26" y="48"/>
                </a:cxn>
                <a:cxn ang="0">
                  <a:pos x="29" y="69"/>
                </a:cxn>
                <a:cxn ang="0">
                  <a:pos x="35" y="55"/>
                </a:cxn>
                <a:cxn ang="0">
                  <a:pos x="46" y="47"/>
                </a:cxn>
                <a:cxn ang="0">
                  <a:pos x="58" y="43"/>
                </a:cxn>
                <a:cxn ang="0">
                  <a:pos x="63" y="42"/>
                </a:cxn>
              </a:cxnLst>
              <a:rect l="0" t="0" r="r" b="b"/>
              <a:pathLst>
                <a:path w="68" h="69">
                  <a:moveTo>
                    <a:pt x="63" y="42"/>
                  </a:moveTo>
                  <a:cubicBezTo>
                    <a:pt x="63" y="41"/>
                    <a:pt x="63" y="40"/>
                    <a:pt x="63" y="40"/>
                  </a:cubicBezTo>
                  <a:cubicBezTo>
                    <a:pt x="63" y="40"/>
                    <a:pt x="64" y="39"/>
                    <a:pt x="64" y="38"/>
                  </a:cubicBezTo>
                  <a:cubicBezTo>
                    <a:pt x="64" y="38"/>
                    <a:pt x="65" y="36"/>
                    <a:pt x="65" y="36"/>
                  </a:cubicBezTo>
                  <a:cubicBezTo>
                    <a:pt x="67" y="32"/>
                    <a:pt x="67" y="32"/>
                    <a:pt x="67" y="32"/>
                  </a:cubicBezTo>
                  <a:cubicBezTo>
                    <a:pt x="67" y="32"/>
                    <a:pt x="68" y="30"/>
                    <a:pt x="68" y="29"/>
                  </a:cubicBezTo>
                  <a:cubicBezTo>
                    <a:pt x="68" y="29"/>
                    <a:pt x="67" y="27"/>
                    <a:pt x="67" y="27"/>
                  </a:cubicBezTo>
                  <a:cubicBezTo>
                    <a:pt x="67" y="27"/>
                    <a:pt x="66" y="24"/>
                    <a:pt x="66" y="24"/>
                  </a:cubicBezTo>
                  <a:cubicBezTo>
                    <a:pt x="65" y="23"/>
                    <a:pt x="63" y="23"/>
                    <a:pt x="63" y="23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6" y="20"/>
                    <a:pt x="56" y="20"/>
                    <a:pt x="56" y="20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52" y="18"/>
                    <a:pt x="51" y="16"/>
                    <a:pt x="51" y="16"/>
                  </a:cubicBezTo>
                  <a:cubicBezTo>
                    <a:pt x="51" y="16"/>
                    <a:pt x="50" y="16"/>
                    <a:pt x="49" y="16"/>
                  </a:cubicBezTo>
                  <a:cubicBezTo>
                    <a:pt x="48" y="16"/>
                    <a:pt x="47" y="15"/>
                    <a:pt x="47" y="15"/>
                  </a:cubicBezTo>
                  <a:cubicBezTo>
                    <a:pt x="47" y="15"/>
                    <a:pt x="47" y="12"/>
                    <a:pt x="47" y="12"/>
                  </a:cubicBezTo>
                  <a:cubicBezTo>
                    <a:pt x="46" y="11"/>
                    <a:pt x="44" y="11"/>
                    <a:pt x="44" y="11"/>
                  </a:cubicBezTo>
                  <a:cubicBezTo>
                    <a:pt x="44" y="11"/>
                    <a:pt x="44" y="9"/>
                    <a:pt x="43" y="9"/>
                  </a:cubicBezTo>
                  <a:cubicBezTo>
                    <a:pt x="42" y="9"/>
                    <a:pt x="40" y="10"/>
                    <a:pt x="39" y="9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38" y="8"/>
                    <a:pt x="38" y="8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33" y="7"/>
                    <a:pt x="32" y="6"/>
                    <a:pt x="32" y="6"/>
                  </a:cubicBezTo>
                  <a:cubicBezTo>
                    <a:pt x="32" y="6"/>
                    <a:pt x="33" y="5"/>
                    <a:pt x="34" y="4"/>
                  </a:cubicBezTo>
                  <a:cubicBezTo>
                    <a:pt x="34" y="3"/>
                    <a:pt x="33" y="2"/>
                    <a:pt x="33" y="2"/>
                  </a:cubicBezTo>
                  <a:cubicBezTo>
                    <a:pt x="33" y="2"/>
                    <a:pt x="33" y="0"/>
                    <a:pt x="32" y="0"/>
                  </a:cubicBezTo>
                  <a:cubicBezTo>
                    <a:pt x="31" y="0"/>
                    <a:pt x="31" y="2"/>
                    <a:pt x="31" y="1"/>
                  </a:cubicBezTo>
                  <a:cubicBezTo>
                    <a:pt x="31" y="1"/>
                    <a:pt x="30" y="4"/>
                    <a:pt x="30" y="4"/>
                  </a:cubicBezTo>
                  <a:cubicBezTo>
                    <a:pt x="29" y="4"/>
                    <a:pt x="28" y="3"/>
                    <a:pt x="27" y="4"/>
                  </a:cubicBezTo>
                  <a:cubicBezTo>
                    <a:pt x="26" y="4"/>
                    <a:pt x="25" y="5"/>
                    <a:pt x="25" y="5"/>
                  </a:cubicBezTo>
                  <a:cubicBezTo>
                    <a:pt x="25" y="5"/>
                    <a:pt x="24" y="8"/>
                    <a:pt x="24" y="9"/>
                  </a:cubicBezTo>
                  <a:cubicBezTo>
                    <a:pt x="25" y="9"/>
                    <a:pt x="25" y="10"/>
                    <a:pt x="26" y="11"/>
                  </a:cubicBezTo>
                  <a:cubicBezTo>
                    <a:pt x="26" y="11"/>
                    <a:pt x="25" y="15"/>
                    <a:pt x="25" y="15"/>
                  </a:cubicBezTo>
                  <a:cubicBezTo>
                    <a:pt x="25" y="15"/>
                    <a:pt x="23" y="17"/>
                    <a:pt x="22" y="18"/>
                  </a:cubicBezTo>
                  <a:cubicBezTo>
                    <a:pt x="21" y="19"/>
                    <a:pt x="22" y="20"/>
                    <a:pt x="22" y="20"/>
                  </a:cubicBezTo>
                  <a:cubicBezTo>
                    <a:pt x="21" y="21"/>
                    <a:pt x="21" y="22"/>
                    <a:pt x="20" y="23"/>
                  </a:cubicBezTo>
                  <a:cubicBezTo>
                    <a:pt x="20" y="23"/>
                    <a:pt x="18" y="24"/>
                    <a:pt x="18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4" y="35"/>
                    <a:pt x="4" y="35"/>
                    <a:pt x="4" y="35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9" y="35"/>
                    <a:pt x="11" y="36"/>
                    <a:pt x="12" y="38"/>
                  </a:cubicBezTo>
                  <a:cubicBezTo>
                    <a:pt x="14" y="40"/>
                    <a:pt x="15" y="45"/>
                    <a:pt x="15" y="45"/>
                  </a:cubicBezTo>
                  <a:cubicBezTo>
                    <a:pt x="15" y="45"/>
                    <a:pt x="23" y="46"/>
                    <a:pt x="26" y="48"/>
                  </a:cubicBezTo>
                  <a:cubicBezTo>
                    <a:pt x="28" y="52"/>
                    <a:pt x="31" y="59"/>
                    <a:pt x="31" y="5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3" y="58"/>
                    <a:pt x="35" y="55"/>
                  </a:cubicBezTo>
                  <a:cubicBezTo>
                    <a:pt x="37" y="51"/>
                    <a:pt x="42" y="51"/>
                    <a:pt x="42" y="51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60" y="43"/>
                    <a:pt x="61" y="43"/>
                  </a:cubicBezTo>
                  <a:cubicBezTo>
                    <a:pt x="62" y="42"/>
                    <a:pt x="63" y="42"/>
                    <a:pt x="63" y="42"/>
                  </a:cubicBezTo>
                  <a:close/>
                </a:path>
              </a:pathLst>
            </a:custGeom>
            <a:solidFill>
              <a:schemeClr val="tx1"/>
            </a:solidFill>
            <a:ln w="3175" cap="rnd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2" name="Montenegro" descr="© INSCALE GmbH, 05.05.2010&#10;http://www.presentationload.com/">
              <a:extLst>
                <a:ext uri="{FF2B5EF4-FFF2-40B4-BE49-F238E27FC236}">
                  <a16:creationId xmlns:a16="http://schemas.microsoft.com/office/drawing/2014/main" id="{3049B1F9-07FE-4911-B129-EC3D67AB207A}"/>
                </a:ext>
              </a:extLst>
            </p:cNvPr>
            <p:cNvSpPr>
              <a:spLocks/>
            </p:cNvSpPr>
            <p:nvPr/>
          </p:nvSpPr>
          <p:spPr bwMode="gray">
            <a:xfrm>
              <a:off x="8592844" y="4817956"/>
              <a:ext cx="351988" cy="317547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59" y="9"/>
                </a:cxn>
                <a:cxn ang="0">
                  <a:pos x="44" y="9"/>
                </a:cxn>
                <a:cxn ang="0">
                  <a:pos x="34" y="2"/>
                </a:cxn>
                <a:cxn ang="0">
                  <a:pos x="32" y="13"/>
                </a:cxn>
                <a:cxn ang="0">
                  <a:pos x="49" y="36"/>
                </a:cxn>
                <a:cxn ang="0">
                  <a:pos x="30" y="32"/>
                </a:cxn>
                <a:cxn ang="0">
                  <a:pos x="13" y="43"/>
                </a:cxn>
                <a:cxn ang="0">
                  <a:pos x="15" y="70"/>
                </a:cxn>
                <a:cxn ang="0">
                  <a:pos x="2" y="78"/>
                </a:cxn>
                <a:cxn ang="0">
                  <a:pos x="3" y="108"/>
                </a:cxn>
                <a:cxn ang="0">
                  <a:pos x="9" y="108"/>
                </a:cxn>
                <a:cxn ang="0">
                  <a:pos x="9" y="127"/>
                </a:cxn>
                <a:cxn ang="0">
                  <a:pos x="0" y="133"/>
                </a:cxn>
                <a:cxn ang="0">
                  <a:pos x="0" y="144"/>
                </a:cxn>
                <a:cxn ang="0">
                  <a:pos x="7" y="148"/>
                </a:cxn>
                <a:cxn ang="0">
                  <a:pos x="19" y="136"/>
                </a:cxn>
                <a:cxn ang="0">
                  <a:pos x="28" y="138"/>
                </a:cxn>
                <a:cxn ang="0">
                  <a:pos x="25" y="159"/>
                </a:cxn>
                <a:cxn ang="0">
                  <a:pos x="34" y="165"/>
                </a:cxn>
                <a:cxn ang="0">
                  <a:pos x="47" y="163"/>
                </a:cxn>
                <a:cxn ang="0">
                  <a:pos x="49" y="170"/>
                </a:cxn>
                <a:cxn ang="0">
                  <a:pos x="72" y="189"/>
                </a:cxn>
                <a:cxn ang="0">
                  <a:pos x="72" y="199"/>
                </a:cxn>
                <a:cxn ang="0">
                  <a:pos x="82" y="205"/>
                </a:cxn>
                <a:cxn ang="0">
                  <a:pos x="93" y="208"/>
                </a:cxn>
                <a:cxn ang="0">
                  <a:pos x="91" y="193"/>
                </a:cxn>
                <a:cxn ang="0">
                  <a:pos x="87" y="174"/>
                </a:cxn>
                <a:cxn ang="0">
                  <a:pos x="82" y="172"/>
                </a:cxn>
                <a:cxn ang="0">
                  <a:pos x="116" y="106"/>
                </a:cxn>
                <a:cxn ang="0">
                  <a:pos x="121" y="108"/>
                </a:cxn>
                <a:cxn ang="0">
                  <a:pos x="121" y="121"/>
                </a:cxn>
                <a:cxn ang="0">
                  <a:pos x="135" y="129"/>
                </a:cxn>
                <a:cxn ang="0">
                  <a:pos x="145" y="122"/>
                </a:cxn>
                <a:cxn ang="0">
                  <a:pos x="140" y="116"/>
                </a:cxn>
                <a:cxn ang="0">
                  <a:pos x="130" y="96"/>
                </a:cxn>
                <a:cxn ang="0">
                  <a:pos x="138" y="90"/>
                </a:cxn>
                <a:cxn ang="0">
                  <a:pos x="146" y="90"/>
                </a:cxn>
                <a:cxn ang="0">
                  <a:pos x="153" y="92"/>
                </a:cxn>
                <a:cxn ang="0">
                  <a:pos x="158" y="83"/>
                </a:cxn>
                <a:cxn ang="0">
                  <a:pos x="164" y="78"/>
                </a:cxn>
                <a:cxn ang="0">
                  <a:pos x="166" y="66"/>
                </a:cxn>
                <a:cxn ang="0">
                  <a:pos x="153" y="63"/>
                </a:cxn>
                <a:cxn ang="0">
                  <a:pos x="120" y="47"/>
                </a:cxn>
                <a:cxn ang="0">
                  <a:pos x="109" y="43"/>
                </a:cxn>
                <a:cxn ang="0">
                  <a:pos x="94" y="30"/>
                </a:cxn>
                <a:cxn ang="0">
                  <a:pos x="78" y="19"/>
                </a:cxn>
                <a:cxn ang="0">
                  <a:pos x="66" y="10"/>
                </a:cxn>
                <a:cxn ang="0">
                  <a:pos x="60" y="0"/>
                </a:cxn>
              </a:cxnLst>
              <a:rect l="0" t="0" r="r" b="b"/>
              <a:pathLst>
                <a:path w="166" h="208">
                  <a:moveTo>
                    <a:pt x="60" y="0"/>
                  </a:moveTo>
                  <a:cubicBezTo>
                    <a:pt x="59" y="9"/>
                    <a:pt x="59" y="9"/>
                    <a:pt x="5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34" y="2"/>
                    <a:pt x="34" y="2"/>
                    <a:pt x="34" y="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53" y="30"/>
                    <a:pt x="49" y="36"/>
                  </a:cubicBezTo>
                  <a:cubicBezTo>
                    <a:pt x="44" y="42"/>
                    <a:pt x="36" y="32"/>
                    <a:pt x="30" y="32"/>
                  </a:cubicBezTo>
                  <a:cubicBezTo>
                    <a:pt x="21" y="32"/>
                    <a:pt x="15" y="40"/>
                    <a:pt x="13" y="43"/>
                  </a:cubicBezTo>
                  <a:cubicBezTo>
                    <a:pt x="9" y="49"/>
                    <a:pt x="19" y="66"/>
                    <a:pt x="15" y="70"/>
                  </a:cubicBezTo>
                  <a:cubicBezTo>
                    <a:pt x="11" y="72"/>
                    <a:pt x="6" y="72"/>
                    <a:pt x="2" y="78"/>
                  </a:cubicBezTo>
                  <a:cubicBezTo>
                    <a:pt x="0" y="83"/>
                    <a:pt x="3" y="108"/>
                    <a:pt x="3" y="108"/>
                  </a:cubicBezTo>
                  <a:cubicBezTo>
                    <a:pt x="9" y="108"/>
                    <a:pt x="9" y="108"/>
                    <a:pt x="9" y="108"/>
                  </a:cubicBezTo>
                  <a:cubicBezTo>
                    <a:pt x="9" y="127"/>
                    <a:pt x="9" y="127"/>
                    <a:pt x="9" y="127"/>
                  </a:cubicBezTo>
                  <a:cubicBezTo>
                    <a:pt x="0" y="133"/>
                    <a:pt x="0" y="133"/>
                    <a:pt x="0" y="133"/>
                  </a:cubicBezTo>
                  <a:cubicBezTo>
                    <a:pt x="0" y="144"/>
                    <a:pt x="0" y="144"/>
                    <a:pt x="0" y="144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28" y="138"/>
                    <a:pt x="28" y="138"/>
                    <a:pt x="28" y="138"/>
                  </a:cubicBezTo>
                  <a:cubicBezTo>
                    <a:pt x="25" y="159"/>
                    <a:pt x="25" y="159"/>
                    <a:pt x="25" y="159"/>
                  </a:cubicBezTo>
                  <a:cubicBezTo>
                    <a:pt x="34" y="165"/>
                    <a:pt x="34" y="165"/>
                    <a:pt x="34" y="165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9" y="170"/>
                    <a:pt x="49" y="170"/>
                    <a:pt x="49" y="170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2" y="199"/>
                    <a:pt x="72" y="199"/>
                    <a:pt x="72" y="199"/>
                  </a:cubicBezTo>
                  <a:cubicBezTo>
                    <a:pt x="82" y="205"/>
                    <a:pt x="82" y="205"/>
                    <a:pt x="82" y="205"/>
                  </a:cubicBezTo>
                  <a:cubicBezTo>
                    <a:pt x="93" y="208"/>
                    <a:pt x="93" y="208"/>
                    <a:pt x="93" y="208"/>
                  </a:cubicBezTo>
                  <a:cubicBezTo>
                    <a:pt x="91" y="193"/>
                    <a:pt x="91" y="193"/>
                    <a:pt x="91" y="193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82" y="172"/>
                    <a:pt x="82" y="172"/>
                    <a:pt x="82" y="172"/>
                  </a:cubicBezTo>
                  <a:cubicBezTo>
                    <a:pt x="116" y="106"/>
                    <a:pt x="116" y="106"/>
                    <a:pt x="116" y="106"/>
                  </a:cubicBezTo>
                  <a:cubicBezTo>
                    <a:pt x="121" y="108"/>
                    <a:pt x="121" y="108"/>
                    <a:pt x="121" y="108"/>
                  </a:cubicBezTo>
                  <a:cubicBezTo>
                    <a:pt x="121" y="121"/>
                    <a:pt x="121" y="121"/>
                    <a:pt x="121" y="121"/>
                  </a:cubicBezTo>
                  <a:cubicBezTo>
                    <a:pt x="135" y="129"/>
                    <a:pt x="135" y="129"/>
                    <a:pt x="135" y="129"/>
                  </a:cubicBezTo>
                  <a:cubicBezTo>
                    <a:pt x="145" y="122"/>
                    <a:pt x="145" y="122"/>
                    <a:pt x="145" y="122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30" y="96"/>
                    <a:pt x="130" y="96"/>
                    <a:pt x="130" y="96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6" y="90"/>
                    <a:pt x="146" y="90"/>
                    <a:pt x="146" y="90"/>
                  </a:cubicBezTo>
                  <a:cubicBezTo>
                    <a:pt x="153" y="92"/>
                    <a:pt x="153" y="92"/>
                    <a:pt x="153" y="92"/>
                  </a:cubicBezTo>
                  <a:cubicBezTo>
                    <a:pt x="158" y="83"/>
                    <a:pt x="158" y="83"/>
                    <a:pt x="158" y="83"/>
                  </a:cubicBezTo>
                  <a:cubicBezTo>
                    <a:pt x="164" y="78"/>
                    <a:pt x="164" y="78"/>
                    <a:pt x="164" y="78"/>
                  </a:cubicBezTo>
                  <a:cubicBezTo>
                    <a:pt x="166" y="66"/>
                    <a:pt x="166" y="66"/>
                    <a:pt x="166" y="66"/>
                  </a:cubicBezTo>
                  <a:cubicBezTo>
                    <a:pt x="153" y="63"/>
                    <a:pt x="153" y="63"/>
                    <a:pt x="153" y="63"/>
                  </a:cubicBezTo>
                  <a:cubicBezTo>
                    <a:pt x="120" y="47"/>
                    <a:pt x="120" y="47"/>
                    <a:pt x="120" y="47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78" y="19"/>
                    <a:pt x="78" y="19"/>
                    <a:pt x="78" y="19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0" y="0"/>
                  </a:lnTo>
                  <a:close/>
                </a:path>
              </a:pathLst>
            </a:custGeom>
            <a:solidFill>
              <a:schemeClr val="tx1"/>
            </a:solidFill>
            <a:ln w="3175" cap="rnd" cmpd="sng">
              <a:solidFill>
                <a:srgbClr val="D9D9D9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3" name="Rumänien" descr="© INSCALE GmbH, 05.05.2010&#10;http://www.presentationload.com/">
              <a:extLst>
                <a:ext uri="{FF2B5EF4-FFF2-40B4-BE49-F238E27FC236}">
                  <a16:creationId xmlns:a16="http://schemas.microsoft.com/office/drawing/2014/main" id="{7E90F290-05EE-431F-B730-C1C83D3B1FB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496762" y="3785094"/>
              <a:ext cx="1799306" cy="924230"/>
            </a:xfrm>
            <a:custGeom>
              <a:avLst/>
              <a:gdLst/>
              <a:ahLst/>
              <a:cxnLst>
                <a:cxn ang="0">
                  <a:pos x="428" y="156"/>
                </a:cxn>
                <a:cxn ang="0">
                  <a:pos x="402" y="170"/>
                </a:cxn>
                <a:cxn ang="0">
                  <a:pos x="387" y="175"/>
                </a:cxn>
                <a:cxn ang="0">
                  <a:pos x="365" y="162"/>
                </a:cxn>
                <a:cxn ang="0">
                  <a:pos x="361" y="136"/>
                </a:cxn>
                <a:cxn ang="0">
                  <a:pos x="361" y="116"/>
                </a:cxn>
                <a:cxn ang="0">
                  <a:pos x="350" y="83"/>
                </a:cxn>
                <a:cxn ang="0">
                  <a:pos x="332" y="65"/>
                </a:cxn>
                <a:cxn ang="0">
                  <a:pos x="291" y="18"/>
                </a:cxn>
                <a:cxn ang="0">
                  <a:pos x="247" y="24"/>
                </a:cxn>
                <a:cxn ang="0">
                  <a:pos x="202" y="51"/>
                </a:cxn>
                <a:cxn ang="0">
                  <a:pos x="164" y="44"/>
                </a:cxn>
                <a:cxn ang="0">
                  <a:pos x="115" y="37"/>
                </a:cxn>
                <a:cxn ang="0">
                  <a:pos x="107" y="47"/>
                </a:cxn>
                <a:cxn ang="0">
                  <a:pos x="93" y="67"/>
                </a:cxn>
                <a:cxn ang="0">
                  <a:pos x="81" y="70"/>
                </a:cxn>
                <a:cxn ang="0">
                  <a:pos x="71" y="94"/>
                </a:cxn>
                <a:cxn ang="0">
                  <a:pos x="65" y="108"/>
                </a:cxn>
                <a:cxn ang="0">
                  <a:pos x="59" y="125"/>
                </a:cxn>
                <a:cxn ang="0">
                  <a:pos x="55" y="140"/>
                </a:cxn>
                <a:cxn ang="0">
                  <a:pos x="45" y="148"/>
                </a:cxn>
                <a:cxn ang="0">
                  <a:pos x="43" y="164"/>
                </a:cxn>
                <a:cxn ang="0">
                  <a:pos x="27" y="174"/>
                </a:cxn>
                <a:cxn ang="0">
                  <a:pos x="12" y="181"/>
                </a:cxn>
                <a:cxn ang="0">
                  <a:pos x="0" y="184"/>
                </a:cxn>
                <a:cxn ang="0">
                  <a:pos x="12" y="194"/>
                </a:cxn>
                <a:cxn ang="0">
                  <a:pos x="17" y="197"/>
                </a:cxn>
                <a:cxn ang="0">
                  <a:pos x="31" y="205"/>
                </a:cxn>
                <a:cxn ang="0">
                  <a:pos x="33" y="219"/>
                </a:cxn>
                <a:cxn ang="0">
                  <a:pos x="45" y="235"/>
                </a:cxn>
                <a:cxn ang="0">
                  <a:pos x="55" y="237"/>
                </a:cxn>
                <a:cxn ang="0">
                  <a:pos x="63" y="254"/>
                </a:cxn>
                <a:cxn ang="0">
                  <a:pos x="71" y="260"/>
                </a:cxn>
                <a:cxn ang="0">
                  <a:pos x="75" y="266"/>
                </a:cxn>
                <a:cxn ang="0">
                  <a:pos x="95" y="271"/>
                </a:cxn>
                <a:cxn ang="0">
                  <a:pos x="115" y="263"/>
                </a:cxn>
                <a:cxn ang="0">
                  <a:pos x="129" y="274"/>
                </a:cxn>
                <a:cxn ang="0">
                  <a:pos x="123" y="278"/>
                </a:cxn>
                <a:cxn ang="0">
                  <a:pos x="123" y="290"/>
                </a:cxn>
                <a:cxn ang="0">
                  <a:pos x="129" y="294"/>
                </a:cxn>
                <a:cxn ang="0">
                  <a:pos x="148" y="302"/>
                </a:cxn>
                <a:cxn ang="0">
                  <a:pos x="151" y="318"/>
                </a:cxn>
                <a:cxn ang="0">
                  <a:pos x="179" y="314"/>
                </a:cxn>
                <a:cxn ang="0">
                  <a:pos x="206" y="318"/>
                </a:cxn>
                <a:cxn ang="0">
                  <a:pos x="229" y="310"/>
                </a:cxn>
                <a:cxn ang="0">
                  <a:pos x="250" y="310"/>
                </a:cxn>
                <a:cxn ang="0">
                  <a:pos x="271" y="309"/>
                </a:cxn>
                <a:cxn ang="0">
                  <a:pos x="308" y="275"/>
                </a:cxn>
                <a:cxn ang="0">
                  <a:pos x="355" y="268"/>
                </a:cxn>
                <a:cxn ang="0">
                  <a:pos x="372" y="268"/>
                </a:cxn>
                <a:cxn ang="0">
                  <a:pos x="385" y="272"/>
                </a:cxn>
                <a:cxn ang="0">
                  <a:pos x="413" y="273"/>
                </a:cxn>
                <a:cxn ang="0">
                  <a:pos x="408" y="239"/>
                </a:cxn>
                <a:cxn ang="0">
                  <a:pos x="411" y="221"/>
                </a:cxn>
                <a:cxn ang="0">
                  <a:pos x="407" y="207"/>
                </a:cxn>
                <a:cxn ang="0">
                  <a:pos x="413" y="191"/>
                </a:cxn>
                <a:cxn ang="0">
                  <a:pos x="420" y="193"/>
                </a:cxn>
                <a:cxn ang="0">
                  <a:pos x="424" y="195"/>
                </a:cxn>
                <a:cxn ang="0">
                  <a:pos x="419" y="204"/>
                </a:cxn>
                <a:cxn ang="0">
                  <a:pos x="431" y="199"/>
                </a:cxn>
                <a:cxn ang="0">
                  <a:pos x="443" y="167"/>
                </a:cxn>
                <a:cxn ang="0">
                  <a:pos x="418" y="212"/>
                </a:cxn>
                <a:cxn ang="0">
                  <a:pos x="418" y="207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solidFill>
              <a:schemeClr val="tx1"/>
            </a:solidFill>
            <a:ln w="3175" cap="flat" cmpd="sng">
              <a:solidFill>
                <a:srgbClr val="D9D9D9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4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C12ECD16-D1F7-45C5-8FFD-186E3863B2FE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6207694" y="2853148"/>
              <a:ext cx="1313083" cy="1089190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5" name="Oval 133" descr="© INSCALE GmbH, 05.05.2010&#10;http://www.presentationload.com/">
              <a:extLst>
                <a:ext uri="{FF2B5EF4-FFF2-40B4-BE49-F238E27FC236}">
                  <a16:creationId xmlns:a16="http://schemas.microsoft.com/office/drawing/2014/main" id="{C14FC552-DC57-49ED-8F86-3D936DB1A938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547092" y="3258237"/>
              <a:ext cx="285530" cy="206631"/>
            </a:xfrm>
            <a:prstGeom prst="ellipse">
              <a:avLst/>
            </a:prstGeom>
            <a:solidFill>
              <a:schemeClr val="tx1"/>
            </a:solidFill>
            <a:ln w="19050">
              <a:noFill/>
              <a:round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6" name="Oval 133" descr="© INSCALE GmbH, 05.05.2010&#10;http://www.presentationload.com/">
              <a:extLst>
                <a:ext uri="{FF2B5EF4-FFF2-40B4-BE49-F238E27FC236}">
                  <a16:creationId xmlns:a16="http://schemas.microsoft.com/office/drawing/2014/main" id="{6A965DEB-BB92-4E17-9375-7285A1FF250B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1446056" y="1981615"/>
              <a:ext cx="142744" cy="102062"/>
            </a:xfrm>
            <a:prstGeom prst="ellipse">
              <a:avLst/>
            </a:prstGeom>
            <a:solidFill>
              <a:schemeClr val="tx1"/>
            </a:solidFill>
            <a:ln w="19050">
              <a:noFill/>
              <a:round/>
              <a:headEnd/>
              <a:tailEnd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7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CA2C4466-319B-4428-B4BA-C743501463AE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1140610" y="1763650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8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2251A1F7-572B-45B8-B182-47F0D7DDE5E8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8032234" y="2810467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79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5BD126C8-7F0C-40EC-AB37-10EA67ED36DB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0237457" y="5064968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0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2A9EB01C-B89F-45AC-ACC4-1F075B97937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6406841" y="4410238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1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D48ABFEE-847B-4BD8-A8AA-58878640D451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7278600" y="2026293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2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4E9513F8-A3D9-42FF-90A3-8DC6930466A9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8744177" y="2057715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83" name="Oval 132" descr="© INSCALE GmbH, 05.05.2010&#10;http://www.presentationload.com/">
              <a:extLst>
                <a:ext uri="{FF2B5EF4-FFF2-40B4-BE49-F238E27FC236}">
                  <a16:creationId xmlns:a16="http://schemas.microsoft.com/office/drawing/2014/main" id="{318FCF49-FB3E-4439-94AE-1C15C91A3F54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9446822" y="3859177"/>
              <a:ext cx="753634" cy="537993"/>
            </a:xfrm>
            <a:prstGeom prst="ellipse">
              <a:avLst/>
            </a:prstGeom>
            <a:solidFill>
              <a:schemeClr val="tx1"/>
            </a:solidFill>
            <a:ln w="285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>
                <a:solidFill>
                  <a:schemeClr val="accent1"/>
                </a:solidFill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184" name="Rechteck 183">
            <a:extLst>
              <a:ext uri="{FF2B5EF4-FFF2-40B4-BE49-F238E27FC236}">
                <a16:creationId xmlns:a16="http://schemas.microsoft.com/office/drawing/2014/main" id="{02DB666D-D6C6-4552-8984-547262C65A0C}"/>
              </a:ext>
            </a:extLst>
          </p:cNvPr>
          <p:cNvSpPr/>
          <p:nvPr/>
        </p:nvSpPr>
        <p:spPr bwMode="gray">
          <a:xfrm>
            <a:off x="3719736" y="1035823"/>
            <a:ext cx="8152559" cy="5345505"/>
          </a:xfrm>
          <a:prstGeom prst="rect">
            <a:avLst/>
          </a:prstGeom>
          <a:solidFill>
            <a:schemeClr val="bg1">
              <a:alpha val="70000"/>
            </a:schemeClr>
          </a:solidFill>
          <a:ln w="3175">
            <a:noFill/>
            <a:miter lim="800000"/>
            <a:headEnd/>
            <a:tailEnd/>
          </a:ln>
          <a:effectLst/>
        </p:spPr>
        <p:txBody>
          <a:bodyPr lIns="81011" tIns="54007" rIns="81011" bIns="54007" rtlCol="0" anchor="ctr" anchorCtr="0"/>
          <a:lstStyle/>
          <a:p>
            <a:pPr algn="ctr">
              <a:spcBef>
                <a:spcPts val="1350"/>
              </a:spcBef>
              <a:buClr>
                <a:schemeClr val="bg1">
                  <a:lumMod val="50000"/>
                </a:schemeClr>
              </a:buClr>
              <a:buSzPct val="100000"/>
            </a:pPr>
            <a:endParaRPr lang="en-US" sz="1050" dirty="0"/>
          </a:p>
        </p:txBody>
      </p:sp>
      <p:grpSp>
        <p:nvGrpSpPr>
          <p:cNvPr id="185" name="Gruppieren 184">
            <a:extLst>
              <a:ext uri="{FF2B5EF4-FFF2-40B4-BE49-F238E27FC236}">
                <a16:creationId xmlns:a16="http://schemas.microsoft.com/office/drawing/2014/main" id="{5DE6C393-133C-4E81-9489-8270E1977B88}"/>
              </a:ext>
            </a:extLst>
          </p:cNvPr>
          <p:cNvGrpSpPr/>
          <p:nvPr/>
        </p:nvGrpSpPr>
        <p:grpSpPr>
          <a:xfrm>
            <a:off x="4079776" y="1340768"/>
            <a:ext cx="7371577" cy="4744153"/>
            <a:chOff x="4735299" y="1754553"/>
            <a:chExt cx="7371577" cy="4744153"/>
          </a:xfrm>
        </p:grpSpPr>
        <p:sp>
          <p:nvSpPr>
            <p:cNvPr id="186" name="Textfeld 185">
              <a:extLst>
                <a:ext uri="{FF2B5EF4-FFF2-40B4-BE49-F238E27FC236}">
                  <a16:creationId xmlns:a16="http://schemas.microsoft.com/office/drawing/2014/main" id="{589F335D-3DFA-49D2-95A5-95E0960A2F67}"/>
                </a:ext>
              </a:extLst>
            </p:cNvPr>
            <p:cNvSpPr txBox="1"/>
            <p:nvPr/>
          </p:nvSpPr>
          <p:spPr>
            <a:xfrm>
              <a:off x="5607479" y="3001267"/>
              <a:ext cx="984244" cy="230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Amsterdam</a:t>
              </a:r>
            </a:p>
          </p:txBody>
        </p:sp>
        <p:sp>
          <p:nvSpPr>
            <p:cNvPr id="187" name="Textfeld 186">
              <a:extLst>
                <a:ext uri="{FF2B5EF4-FFF2-40B4-BE49-F238E27FC236}">
                  <a16:creationId xmlns:a16="http://schemas.microsoft.com/office/drawing/2014/main" id="{8202973B-F8C5-492F-B6E4-8F7AABFD36D4}"/>
                </a:ext>
              </a:extLst>
            </p:cNvPr>
            <p:cNvSpPr txBox="1"/>
            <p:nvPr/>
          </p:nvSpPr>
          <p:spPr>
            <a:xfrm>
              <a:off x="6195646" y="3278293"/>
              <a:ext cx="716543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Stockholm</a:t>
              </a:r>
            </a:p>
          </p:txBody>
        </p:sp>
        <p:sp>
          <p:nvSpPr>
            <p:cNvPr id="188" name="Textfeld 187">
              <a:extLst>
                <a:ext uri="{FF2B5EF4-FFF2-40B4-BE49-F238E27FC236}">
                  <a16:creationId xmlns:a16="http://schemas.microsoft.com/office/drawing/2014/main" id="{CEEDFDB3-4535-49A8-94E8-32A094693546}"/>
                </a:ext>
              </a:extLst>
            </p:cNvPr>
            <p:cNvSpPr txBox="1"/>
            <p:nvPr/>
          </p:nvSpPr>
          <p:spPr>
            <a:xfrm>
              <a:off x="9203453" y="4398079"/>
              <a:ext cx="68929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Barcelona</a:t>
              </a:r>
            </a:p>
          </p:txBody>
        </p:sp>
        <p:sp>
          <p:nvSpPr>
            <p:cNvPr id="189" name="Textfeld 188">
              <a:extLst>
                <a:ext uri="{FF2B5EF4-FFF2-40B4-BE49-F238E27FC236}">
                  <a16:creationId xmlns:a16="http://schemas.microsoft.com/office/drawing/2014/main" id="{187413F1-0258-4F70-A606-33B4EEE3D382}"/>
                </a:ext>
              </a:extLst>
            </p:cNvPr>
            <p:cNvSpPr txBox="1"/>
            <p:nvPr/>
          </p:nvSpPr>
          <p:spPr>
            <a:xfrm>
              <a:off x="10433352" y="3388390"/>
              <a:ext cx="399148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Berlin</a:t>
              </a:r>
            </a:p>
          </p:txBody>
        </p:sp>
        <p:sp>
          <p:nvSpPr>
            <p:cNvPr id="190" name="Textfeld 189">
              <a:extLst>
                <a:ext uri="{FF2B5EF4-FFF2-40B4-BE49-F238E27FC236}">
                  <a16:creationId xmlns:a16="http://schemas.microsoft.com/office/drawing/2014/main" id="{00A24BC9-4F12-4577-BC44-9F466F524B0A}"/>
                </a:ext>
              </a:extLst>
            </p:cNvPr>
            <p:cNvSpPr txBox="1"/>
            <p:nvPr/>
          </p:nvSpPr>
          <p:spPr>
            <a:xfrm>
              <a:off x="4937354" y="2178215"/>
              <a:ext cx="738985" cy="230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Brussels</a:t>
              </a:r>
            </a:p>
          </p:txBody>
        </p:sp>
        <p:sp>
          <p:nvSpPr>
            <p:cNvPr id="191" name="Textfeld 190">
              <a:extLst>
                <a:ext uri="{FF2B5EF4-FFF2-40B4-BE49-F238E27FC236}">
                  <a16:creationId xmlns:a16="http://schemas.microsoft.com/office/drawing/2014/main" id="{87906E17-AD0F-4EA3-A84B-F998A0FE9F3B}"/>
                </a:ext>
              </a:extLst>
            </p:cNvPr>
            <p:cNvSpPr txBox="1"/>
            <p:nvPr/>
          </p:nvSpPr>
          <p:spPr>
            <a:xfrm>
              <a:off x="9597133" y="3142820"/>
              <a:ext cx="867225" cy="230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Bucharest</a:t>
              </a:r>
            </a:p>
          </p:txBody>
        </p:sp>
        <p:sp>
          <p:nvSpPr>
            <p:cNvPr id="192" name="Textfeld 191">
              <a:extLst>
                <a:ext uri="{FF2B5EF4-FFF2-40B4-BE49-F238E27FC236}">
                  <a16:creationId xmlns:a16="http://schemas.microsoft.com/office/drawing/2014/main" id="{8A905636-59AF-4A5A-B342-72CAE17F548C}"/>
                </a:ext>
              </a:extLst>
            </p:cNvPr>
            <p:cNvSpPr txBox="1"/>
            <p:nvPr/>
          </p:nvSpPr>
          <p:spPr>
            <a:xfrm>
              <a:off x="5852368" y="4132614"/>
              <a:ext cx="97462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Budapest</a:t>
              </a:r>
            </a:p>
          </p:txBody>
        </p:sp>
        <p:sp>
          <p:nvSpPr>
            <p:cNvPr id="193" name="Textfeld 192">
              <a:extLst>
                <a:ext uri="{FF2B5EF4-FFF2-40B4-BE49-F238E27FC236}">
                  <a16:creationId xmlns:a16="http://schemas.microsoft.com/office/drawing/2014/main" id="{B48491B2-C696-46B8-B9AD-686D2B18788E}"/>
                </a:ext>
              </a:extLst>
            </p:cNvPr>
            <p:cNvSpPr txBox="1"/>
            <p:nvPr/>
          </p:nvSpPr>
          <p:spPr>
            <a:xfrm>
              <a:off x="10188687" y="3861198"/>
              <a:ext cx="951479" cy="2308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Casablanca</a:t>
              </a:r>
            </a:p>
          </p:txBody>
        </p:sp>
        <p:sp>
          <p:nvSpPr>
            <p:cNvPr id="194" name="Textfeld 193">
              <a:extLst>
                <a:ext uri="{FF2B5EF4-FFF2-40B4-BE49-F238E27FC236}">
                  <a16:creationId xmlns:a16="http://schemas.microsoft.com/office/drawing/2014/main" id="{D34CF24B-F266-4B84-906D-A9C7FA9DBB8A}"/>
                </a:ext>
              </a:extLst>
            </p:cNvPr>
            <p:cNvSpPr txBox="1"/>
            <p:nvPr/>
          </p:nvSpPr>
          <p:spPr>
            <a:xfrm>
              <a:off x="4925242" y="4562812"/>
              <a:ext cx="742383" cy="2308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Belgrade</a:t>
              </a:r>
            </a:p>
          </p:txBody>
        </p:sp>
        <p:sp>
          <p:nvSpPr>
            <p:cNvPr id="195" name="Textfeld 194">
              <a:extLst>
                <a:ext uri="{FF2B5EF4-FFF2-40B4-BE49-F238E27FC236}">
                  <a16:creationId xmlns:a16="http://schemas.microsoft.com/office/drawing/2014/main" id="{29495619-0CCF-4130-9BFF-99DC31B20394}"/>
                </a:ext>
              </a:extLst>
            </p:cNvPr>
            <p:cNvSpPr txBox="1"/>
            <p:nvPr/>
          </p:nvSpPr>
          <p:spPr>
            <a:xfrm>
              <a:off x="6565561" y="4341513"/>
              <a:ext cx="599523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Berlin</a:t>
              </a:r>
            </a:p>
          </p:txBody>
        </p:sp>
        <p:sp>
          <p:nvSpPr>
            <p:cNvPr id="196" name="Textfeld 195">
              <a:extLst>
                <a:ext uri="{FF2B5EF4-FFF2-40B4-BE49-F238E27FC236}">
                  <a16:creationId xmlns:a16="http://schemas.microsoft.com/office/drawing/2014/main" id="{A79A173D-3390-41DD-A164-4BA94389296A}"/>
                </a:ext>
              </a:extLst>
            </p:cNvPr>
            <p:cNvSpPr txBox="1"/>
            <p:nvPr/>
          </p:nvSpPr>
          <p:spPr>
            <a:xfrm>
              <a:off x="9283763" y="3608585"/>
              <a:ext cx="94275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Frankfurt</a:t>
              </a:r>
            </a:p>
          </p:txBody>
        </p:sp>
        <p:sp>
          <p:nvSpPr>
            <p:cNvPr id="197" name="Textfeld 196">
              <a:extLst>
                <a:ext uri="{FF2B5EF4-FFF2-40B4-BE49-F238E27FC236}">
                  <a16:creationId xmlns:a16="http://schemas.microsoft.com/office/drawing/2014/main" id="{A6CFB924-028B-49EA-B918-93C061927240}"/>
                </a:ext>
              </a:extLst>
            </p:cNvPr>
            <p:cNvSpPr txBox="1"/>
            <p:nvPr/>
          </p:nvSpPr>
          <p:spPr>
            <a:xfrm>
              <a:off x="7591347" y="3914139"/>
              <a:ext cx="948978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Hamburg</a:t>
              </a:r>
            </a:p>
          </p:txBody>
        </p:sp>
        <p:sp>
          <p:nvSpPr>
            <p:cNvPr id="198" name="Textfeld 197">
              <a:extLst>
                <a:ext uri="{FF2B5EF4-FFF2-40B4-BE49-F238E27FC236}">
                  <a16:creationId xmlns:a16="http://schemas.microsoft.com/office/drawing/2014/main" id="{6D6EC5AF-8833-4108-BDAF-BADB0B2188A9}"/>
                </a:ext>
              </a:extLst>
            </p:cNvPr>
            <p:cNvSpPr txBox="1"/>
            <p:nvPr/>
          </p:nvSpPr>
          <p:spPr>
            <a:xfrm>
              <a:off x="4834385" y="3381365"/>
              <a:ext cx="940963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100" dirty="0">
                  <a:solidFill>
                    <a:schemeClr val="accent1"/>
                  </a:solidFill>
                  <a:latin typeface="+mn-lt"/>
                </a:rPr>
                <a:t>Istanbul</a:t>
              </a:r>
            </a:p>
          </p:txBody>
        </p:sp>
        <p:sp>
          <p:nvSpPr>
            <p:cNvPr id="199" name="Textfeld 198">
              <a:extLst>
                <a:ext uri="{FF2B5EF4-FFF2-40B4-BE49-F238E27FC236}">
                  <a16:creationId xmlns:a16="http://schemas.microsoft.com/office/drawing/2014/main" id="{9C7038E8-F2F1-4748-ADA5-40763A1A4324}"/>
                </a:ext>
              </a:extLst>
            </p:cNvPr>
            <p:cNvSpPr txBox="1"/>
            <p:nvPr/>
          </p:nvSpPr>
          <p:spPr>
            <a:xfrm>
              <a:off x="9846539" y="5967473"/>
              <a:ext cx="482440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100" dirty="0">
                  <a:solidFill>
                    <a:schemeClr val="accent1"/>
                  </a:solidFill>
                  <a:latin typeface="+mn-lt"/>
                </a:rPr>
                <a:t>Kyiv</a:t>
              </a:r>
            </a:p>
          </p:txBody>
        </p:sp>
        <p:sp>
          <p:nvSpPr>
            <p:cNvPr id="200" name="Textfeld 199">
              <a:extLst>
                <a:ext uri="{FF2B5EF4-FFF2-40B4-BE49-F238E27FC236}">
                  <a16:creationId xmlns:a16="http://schemas.microsoft.com/office/drawing/2014/main" id="{53FB3FB9-E949-4B27-9F4E-CFA5A3E2BDBC}"/>
                </a:ext>
              </a:extLst>
            </p:cNvPr>
            <p:cNvSpPr txBox="1"/>
            <p:nvPr/>
          </p:nvSpPr>
          <p:spPr>
            <a:xfrm>
              <a:off x="8719798" y="3810055"/>
              <a:ext cx="790281" cy="32316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100" dirty="0" err="1">
                  <a:solidFill>
                    <a:schemeClr val="accent1"/>
                  </a:solidFill>
                  <a:latin typeface="+mn-lt"/>
                </a:rPr>
                <a:t>Lisboa</a:t>
              </a:r>
              <a:endParaRPr lang="en-US" sz="2100" dirty="0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201" name="Textfeld 200">
              <a:extLst>
                <a:ext uri="{FF2B5EF4-FFF2-40B4-BE49-F238E27FC236}">
                  <a16:creationId xmlns:a16="http://schemas.microsoft.com/office/drawing/2014/main" id="{4ACEF1F0-C930-4B9F-BC6F-05C75535C8B7}"/>
                </a:ext>
              </a:extLst>
            </p:cNvPr>
            <p:cNvSpPr txBox="1"/>
            <p:nvPr/>
          </p:nvSpPr>
          <p:spPr>
            <a:xfrm>
              <a:off x="10701663" y="2358715"/>
              <a:ext cx="1106072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700" dirty="0">
                  <a:solidFill>
                    <a:schemeClr val="accent1"/>
                  </a:solidFill>
                  <a:latin typeface="+mn-lt"/>
                </a:rPr>
                <a:t>London</a:t>
              </a:r>
            </a:p>
          </p:txBody>
        </p:sp>
        <p:sp>
          <p:nvSpPr>
            <p:cNvPr id="202" name="Textfeld 201">
              <a:extLst>
                <a:ext uri="{FF2B5EF4-FFF2-40B4-BE49-F238E27FC236}">
                  <a16:creationId xmlns:a16="http://schemas.microsoft.com/office/drawing/2014/main" id="{532D4233-C1C4-4482-8032-CEB3BAAE6991}"/>
                </a:ext>
              </a:extLst>
            </p:cNvPr>
            <p:cNvSpPr txBox="1"/>
            <p:nvPr/>
          </p:nvSpPr>
          <p:spPr>
            <a:xfrm>
              <a:off x="10012503" y="4658105"/>
              <a:ext cx="1057982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700" dirty="0">
                  <a:solidFill>
                    <a:schemeClr val="accent1"/>
                  </a:solidFill>
                  <a:latin typeface="+mn-lt"/>
                </a:rPr>
                <a:t>Madrid</a:t>
              </a:r>
            </a:p>
          </p:txBody>
        </p:sp>
        <p:sp>
          <p:nvSpPr>
            <p:cNvPr id="203" name="Textfeld 202">
              <a:extLst>
                <a:ext uri="{FF2B5EF4-FFF2-40B4-BE49-F238E27FC236}">
                  <a16:creationId xmlns:a16="http://schemas.microsoft.com/office/drawing/2014/main" id="{63528D24-C1F7-4288-BACA-A5609F5B3B1B}"/>
                </a:ext>
              </a:extLst>
            </p:cNvPr>
            <p:cNvSpPr txBox="1"/>
            <p:nvPr/>
          </p:nvSpPr>
          <p:spPr>
            <a:xfrm>
              <a:off x="7136904" y="3559716"/>
              <a:ext cx="737382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Milan</a:t>
              </a:r>
            </a:p>
          </p:txBody>
        </p:sp>
        <p:sp>
          <p:nvSpPr>
            <p:cNvPr id="204" name="Textfeld 203">
              <a:extLst>
                <a:ext uri="{FF2B5EF4-FFF2-40B4-BE49-F238E27FC236}">
                  <a16:creationId xmlns:a16="http://schemas.microsoft.com/office/drawing/2014/main" id="{AE5FDD1D-BD6B-40A7-A905-55BB4FB65AD7}"/>
                </a:ext>
              </a:extLst>
            </p:cNvPr>
            <p:cNvSpPr txBox="1"/>
            <p:nvPr/>
          </p:nvSpPr>
          <p:spPr>
            <a:xfrm>
              <a:off x="7676346" y="4308871"/>
              <a:ext cx="1203086" cy="41549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700" dirty="0">
                  <a:solidFill>
                    <a:schemeClr val="accent1"/>
                  </a:solidFill>
                  <a:latin typeface="+mn-lt"/>
                </a:rPr>
                <a:t>Moscow</a:t>
              </a:r>
            </a:p>
          </p:txBody>
        </p:sp>
        <p:sp>
          <p:nvSpPr>
            <p:cNvPr id="205" name="Textfeld 204">
              <a:extLst>
                <a:ext uri="{FF2B5EF4-FFF2-40B4-BE49-F238E27FC236}">
                  <a16:creationId xmlns:a16="http://schemas.microsoft.com/office/drawing/2014/main" id="{428BBA34-F789-4C47-95C6-D6A64B4677BC}"/>
                </a:ext>
              </a:extLst>
            </p:cNvPr>
            <p:cNvSpPr txBox="1"/>
            <p:nvPr/>
          </p:nvSpPr>
          <p:spPr>
            <a:xfrm>
              <a:off x="11153089" y="5281680"/>
              <a:ext cx="953787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Munich</a:t>
              </a:r>
            </a:p>
          </p:txBody>
        </p:sp>
        <p:sp>
          <p:nvSpPr>
            <p:cNvPr id="206" name="Textfeld 205">
              <a:extLst>
                <a:ext uri="{FF2B5EF4-FFF2-40B4-BE49-F238E27FC236}">
                  <a16:creationId xmlns:a16="http://schemas.microsoft.com/office/drawing/2014/main" id="{9D8D582E-1A90-4EDE-8475-7E7447FAF643}"/>
                </a:ext>
              </a:extLst>
            </p:cNvPr>
            <p:cNvSpPr txBox="1"/>
            <p:nvPr/>
          </p:nvSpPr>
          <p:spPr>
            <a:xfrm>
              <a:off x="7396128" y="6129374"/>
              <a:ext cx="70211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Paris</a:t>
              </a:r>
            </a:p>
          </p:txBody>
        </p:sp>
        <p:sp>
          <p:nvSpPr>
            <p:cNvPr id="207" name="Textfeld 206">
              <a:extLst>
                <a:ext uri="{FF2B5EF4-FFF2-40B4-BE49-F238E27FC236}">
                  <a16:creationId xmlns:a16="http://schemas.microsoft.com/office/drawing/2014/main" id="{A9DE9D5C-F777-4CAB-812F-8A28FE69DF19}"/>
                </a:ext>
              </a:extLst>
            </p:cNvPr>
            <p:cNvSpPr txBox="1"/>
            <p:nvPr/>
          </p:nvSpPr>
          <p:spPr>
            <a:xfrm>
              <a:off x="6076041" y="4572607"/>
              <a:ext cx="948016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Prague</a:t>
              </a:r>
            </a:p>
          </p:txBody>
        </p:sp>
        <p:sp>
          <p:nvSpPr>
            <p:cNvPr id="208" name="Textfeld 207">
              <a:extLst>
                <a:ext uri="{FF2B5EF4-FFF2-40B4-BE49-F238E27FC236}">
                  <a16:creationId xmlns:a16="http://schemas.microsoft.com/office/drawing/2014/main" id="{49456EF7-9224-421E-8DF8-EC492D97FD88}"/>
                </a:ext>
              </a:extLst>
            </p:cNvPr>
            <p:cNvSpPr txBox="1"/>
            <p:nvPr/>
          </p:nvSpPr>
          <p:spPr>
            <a:xfrm>
              <a:off x="4735299" y="5772536"/>
              <a:ext cx="58990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Riga</a:t>
              </a:r>
            </a:p>
          </p:txBody>
        </p:sp>
        <p:sp>
          <p:nvSpPr>
            <p:cNvPr id="209" name="Textfeld 208">
              <a:extLst>
                <a:ext uri="{FF2B5EF4-FFF2-40B4-BE49-F238E27FC236}">
                  <a16:creationId xmlns:a16="http://schemas.microsoft.com/office/drawing/2014/main" id="{02E271A8-0C79-480A-8805-A3B1298AE9E2}"/>
                </a:ext>
              </a:extLst>
            </p:cNvPr>
            <p:cNvSpPr txBox="1"/>
            <p:nvPr/>
          </p:nvSpPr>
          <p:spPr>
            <a:xfrm>
              <a:off x="8593006" y="2342004"/>
              <a:ext cx="761555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>
                  <a:solidFill>
                    <a:schemeClr val="accent1"/>
                  </a:solidFill>
                  <a:latin typeface="+mn-lt"/>
                </a:rPr>
                <a:t>Rome</a:t>
              </a:r>
            </a:p>
          </p:txBody>
        </p:sp>
        <p:sp>
          <p:nvSpPr>
            <p:cNvPr id="210" name="Textfeld 209">
              <a:extLst>
                <a:ext uri="{FF2B5EF4-FFF2-40B4-BE49-F238E27FC236}">
                  <a16:creationId xmlns:a16="http://schemas.microsoft.com/office/drawing/2014/main" id="{D5E5B36D-C138-4AAE-8C83-22566189BF9C}"/>
                </a:ext>
              </a:extLst>
            </p:cNvPr>
            <p:cNvSpPr txBox="1"/>
            <p:nvPr/>
          </p:nvSpPr>
          <p:spPr>
            <a:xfrm>
              <a:off x="5172058" y="5100654"/>
              <a:ext cx="1146019" cy="3693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2400" dirty="0" err="1">
                  <a:solidFill>
                    <a:schemeClr val="accent1"/>
                  </a:solidFill>
                  <a:latin typeface="+mn-lt"/>
                </a:rPr>
                <a:t>Toglliatti</a:t>
              </a:r>
              <a:endParaRPr lang="en-US" sz="2400" dirty="0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211" name="Textfeld 210">
              <a:extLst>
                <a:ext uri="{FF2B5EF4-FFF2-40B4-BE49-F238E27FC236}">
                  <a16:creationId xmlns:a16="http://schemas.microsoft.com/office/drawing/2014/main" id="{FFF10C45-8A95-4AD1-BA2B-A2928F4E8AE3}"/>
                </a:ext>
              </a:extLst>
            </p:cNvPr>
            <p:cNvSpPr txBox="1"/>
            <p:nvPr/>
          </p:nvSpPr>
          <p:spPr>
            <a:xfrm>
              <a:off x="8284671" y="4757197"/>
              <a:ext cx="65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endParaRPr lang="en-US" sz="1200" dirty="0">
                <a:solidFill>
                  <a:schemeClr val="accent1"/>
                </a:solidFill>
                <a:latin typeface="+mn-lt"/>
              </a:endParaRPr>
            </a:p>
          </p:txBody>
        </p:sp>
        <p:sp>
          <p:nvSpPr>
            <p:cNvPr id="212" name="Textfeld 211">
              <a:extLst>
                <a:ext uri="{FF2B5EF4-FFF2-40B4-BE49-F238E27FC236}">
                  <a16:creationId xmlns:a16="http://schemas.microsoft.com/office/drawing/2014/main" id="{19D552B3-B30D-4E88-9836-DC801B62DD35}"/>
                </a:ext>
              </a:extLst>
            </p:cNvPr>
            <p:cNvSpPr txBox="1"/>
            <p:nvPr/>
          </p:nvSpPr>
          <p:spPr>
            <a:xfrm>
              <a:off x="6755908" y="2341696"/>
              <a:ext cx="591509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200" dirty="0">
                  <a:solidFill>
                    <a:schemeClr val="accent1"/>
                  </a:solidFill>
                  <a:latin typeface="+mn-lt"/>
                </a:rPr>
                <a:t>Stuttgart</a:t>
              </a:r>
            </a:p>
          </p:txBody>
        </p:sp>
        <p:sp>
          <p:nvSpPr>
            <p:cNvPr id="213" name="Textfeld 212">
              <a:extLst>
                <a:ext uri="{FF2B5EF4-FFF2-40B4-BE49-F238E27FC236}">
                  <a16:creationId xmlns:a16="http://schemas.microsoft.com/office/drawing/2014/main" id="{AF0BA767-627E-47F4-AF7B-5248EF9221F0}"/>
                </a:ext>
              </a:extLst>
            </p:cNvPr>
            <p:cNvSpPr txBox="1"/>
            <p:nvPr/>
          </p:nvSpPr>
          <p:spPr>
            <a:xfrm>
              <a:off x="7474014" y="4785771"/>
              <a:ext cx="676467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Vienna</a:t>
              </a:r>
            </a:p>
          </p:txBody>
        </p:sp>
        <p:sp>
          <p:nvSpPr>
            <p:cNvPr id="214" name="Textfeld 213">
              <a:extLst>
                <a:ext uri="{FF2B5EF4-FFF2-40B4-BE49-F238E27FC236}">
                  <a16:creationId xmlns:a16="http://schemas.microsoft.com/office/drawing/2014/main" id="{16E4EDF6-0877-48C2-B7A9-A6C6A9ED997A}"/>
                </a:ext>
              </a:extLst>
            </p:cNvPr>
            <p:cNvSpPr txBox="1"/>
            <p:nvPr/>
          </p:nvSpPr>
          <p:spPr>
            <a:xfrm>
              <a:off x="8242477" y="5320886"/>
              <a:ext cx="824969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Warsaw</a:t>
              </a:r>
            </a:p>
          </p:txBody>
        </p:sp>
        <p:sp>
          <p:nvSpPr>
            <p:cNvPr id="215" name="Textfeld 214">
              <a:extLst>
                <a:ext uri="{FF2B5EF4-FFF2-40B4-BE49-F238E27FC236}">
                  <a16:creationId xmlns:a16="http://schemas.microsoft.com/office/drawing/2014/main" id="{DFE58F22-27DC-41E6-913F-32DDA2486A86}"/>
                </a:ext>
              </a:extLst>
            </p:cNvPr>
            <p:cNvSpPr txBox="1"/>
            <p:nvPr/>
          </p:nvSpPr>
          <p:spPr>
            <a:xfrm>
              <a:off x="7978774" y="1754553"/>
              <a:ext cx="580031" cy="23083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Zagreb</a:t>
              </a:r>
            </a:p>
          </p:txBody>
        </p:sp>
        <p:sp>
          <p:nvSpPr>
            <p:cNvPr id="216" name="Textfeld 215">
              <a:extLst>
                <a:ext uri="{FF2B5EF4-FFF2-40B4-BE49-F238E27FC236}">
                  <a16:creationId xmlns:a16="http://schemas.microsoft.com/office/drawing/2014/main" id="{5C111D35-BA98-4219-B1DB-AF5045604B2E}"/>
                </a:ext>
              </a:extLst>
            </p:cNvPr>
            <p:cNvSpPr txBox="1"/>
            <p:nvPr/>
          </p:nvSpPr>
          <p:spPr>
            <a:xfrm>
              <a:off x="8138486" y="2971169"/>
              <a:ext cx="535403" cy="230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Zurich</a:t>
              </a:r>
            </a:p>
          </p:txBody>
        </p:sp>
        <p:sp>
          <p:nvSpPr>
            <p:cNvPr id="217" name="Textfeld 216">
              <a:extLst>
                <a:ext uri="{FF2B5EF4-FFF2-40B4-BE49-F238E27FC236}">
                  <a16:creationId xmlns:a16="http://schemas.microsoft.com/office/drawing/2014/main" id="{DAD7A8E4-2A4F-4107-9982-5D308D042597}"/>
                </a:ext>
              </a:extLst>
            </p:cNvPr>
            <p:cNvSpPr txBox="1"/>
            <p:nvPr/>
          </p:nvSpPr>
          <p:spPr>
            <a:xfrm>
              <a:off x="7033631" y="5037779"/>
              <a:ext cx="535403" cy="2308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500" dirty="0">
                  <a:solidFill>
                    <a:schemeClr val="accent1"/>
                  </a:solidFill>
                  <a:latin typeface="+mn-lt"/>
                </a:rPr>
                <a:t>Zurich</a:t>
              </a:r>
            </a:p>
          </p:txBody>
        </p:sp>
        <p:sp>
          <p:nvSpPr>
            <p:cNvPr id="218" name="Textfeld 217">
              <a:extLst>
                <a:ext uri="{FF2B5EF4-FFF2-40B4-BE49-F238E27FC236}">
                  <a16:creationId xmlns:a16="http://schemas.microsoft.com/office/drawing/2014/main" id="{4E5ABEAD-54E0-4BDA-907D-C4FC1C06DEAE}"/>
                </a:ext>
              </a:extLst>
            </p:cNvPr>
            <p:cNvSpPr txBox="1"/>
            <p:nvPr/>
          </p:nvSpPr>
          <p:spPr>
            <a:xfrm>
              <a:off x="9279441" y="1825313"/>
              <a:ext cx="525786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dirty="0">
                  <a:solidFill>
                    <a:schemeClr val="accent1"/>
                  </a:solidFill>
                  <a:latin typeface="+mn-lt"/>
                </a:rPr>
                <a:t>Sofia</a:t>
              </a:r>
            </a:p>
          </p:txBody>
        </p: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9D279A7F-0C6D-46C2-A18D-29EDB2F5DE3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631" y="1054070"/>
            <a:ext cx="2570567" cy="481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10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itel 3"/>
          <p:cNvSpPr>
            <a:spLocks noGrp="1"/>
          </p:cNvSpPr>
          <p:nvPr>
            <p:ph type="title"/>
          </p:nvPr>
        </p:nvSpPr>
        <p:spPr>
          <a:xfrm>
            <a:off x="540795" y="188640"/>
            <a:ext cx="10972800" cy="633412"/>
          </a:xfrm>
        </p:spPr>
        <p:txBody>
          <a:bodyPr/>
          <a:lstStyle/>
          <a:p>
            <a:r>
              <a:rPr lang="en-US" cap="all" dirty="0"/>
              <a:t>Aftermarket sales and marketing services</a:t>
            </a:r>
            <a:endParaRPr lang="en-US" dirty="0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7DFEAD0-4748-4E2D-81AD-75B294EC75FA}"/>
              </a:ext>
            </a:extLst>
          </p:cNvPr>
          <p:cNvGrpSpPr/>
          <p:nvPr/>
        </p:nvGrpSpPr>
        <p:grpSpPr>
          <a:xfrm>
            <a:off x="407368" y="1052736"/>
            <a:ext cx="11377264" cy="1584176"/>
            <a:chOff x="407368" y="1052736"/>
            <a:chExt cx="11377264" cy="1584176"/>
          </a:xfrm>
        </p:grpSpPr>
        <p:pic>
          <p:nvPicPr>
            <p:cNvPr id="49" name="Grafik 4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34322" y="1196752"/>
              <a:ext cx="3609370" cy="1321200"/>
            </a:xfrm>
            <a:prstGeom prst="rect">
              <a:avLst/>
            </a:prstGeom>
            <a:ln w="9525">
              <a:solidFill>
                <a:schemeClr val="accent1"/>
              </a:solidFill>
            </a:ln>
          </p:spPr>
        </p:pic>
        <p:pic>
          <p:nvPicPr>
            <p:cNvPr id="48" name="Grafik 4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8442" y="1196752"/>
              <a:ext cx="3611165" cy="1332000"/>
            </a:xfrm>
            <a:prstGeom prst="rect">
              <a:avLst/>
            </a:prstGeom>
            <a:ln w="9525">
              <a:solidFill>
                <a:schemeClr val="accent1"/>
              </a:solidFill>
            </a:ln>
          </p:spPr>
        </p:pic>
        <p:pic>
          <p:nvPicPr>
            <p:cNvPr id="47" name="Grafik 4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0982" y="1196752"/>
              <a:ext cx="3618030" cy="1332000"/>
            </a:xfrm>
            <a:prstGeom prst="rect">
              <a:avLst/>
            </a:prstGeom>
            <a:ln w="9525">
              <a:solidFill>
                <a:schemeClr val="accent1"/>
              </a:solidFill>
            </a:ln>
          </p:spPr>
        </p:pic>
        <p:sp>
          <p:nvSpPr>
            <p:cNvPr id="32" name="Rectangle 19"/>
            <p:cNvSpPr>
              <a:spLocks noChangeArrowheads="1"/>
            </p:cNvSpPr>
            <p:nvPr/>
          </p:nvSpPr>
          <p:spPr bwMode="gray">
            <a:xfrm>
              <a:off x="8027620" y="2178876"/>
              <a:ext cx="3609370" cy="360363"/>
            </a:xfrm>
            <a:prstGeom prst="rect">
              <a:avLst/>
            </a:prstGeom>
            <a:solidFill>
              <a:schemeClr val="accent5">
                <a:alpha val="7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72000" rIns="108000" bIns="72000" anchor="ctr"/>
            <a:lstStyle/>
            <a:p>
              <a:pPr defTabSz="601346" eaLnBrk="0" hangingPunct="0"/>
              <a:r>
                <a:rPr lang="de-DE" sz="1400" cap="all" noProof="1">
                  <a:solidFill>
                    <a:srgbClr val="FFFFFF"/>
                  </a:solidFill>
                  <a:latin typeface="+mn-lt"/>
                  <a:cs typeface="Arial" charset="0"/>
                </a:rPr>
                <a:t>Tailored market research</a:t>
              </a:r>
            </a:p>
          </p:txBody>
        </p:sp>
        <p:sp>
          <p:nvSpPr>
            <p:cNvPr id="30" name="Rectangle 19"/>
            <p:cNvSpPr>
              <a:spLocks noChangeArrowheads="1"/>
            </p:cNvSpPr>
            <p:nvPr/>
          </p:nvSpPr>
          <p:spPr bwMode="gray">
            <a:xfrm>
              <a:off x="4278216" y="2177414"/>
              <a:ext cx="3610795" cy="360363"/>
            </a:xfrm>
            <a:prstGeom prst="rect">
              <a:avLst/>
            </a:prstGeom>
            <a:solidFill>
              <a:schemeClr val="accent5">
                <a:alpha val="7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72000" rIns="108000" bIns="72000" anchor="ctr"/>
            <a:lstStyle/>
            <a:p>
              <a:pPr defTabSz="801688" eaLnBrk="0" hangingPunct="0"/>
              <a:r>
                <a:rPr lang="en-US" sz="1400" cap="all" dirty="0">
                  <a:solidFill>
                    <a:srgbClr val="FFFFFF"/>
                  </a:solidFill>
                  <a:latin typeface="+mn-lt"/>
                  <a:cs typeface="Arial" charset="0"/>
                </a:rPr>
                <a:t>Aftermarket Wall Charts</a:t>
              </a:r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gray">
            <a:xfrm>
              <a:off x="528814" y="2177414"/>
              <a:ext cx="3610795" cy="360363"/>
            </a:xfrm>
            <a:prstGeom prst="rect">
              <a:avLst/>
            </a:prstGeom>
            <a:solidFill>
              <a:schemeClr val="accent5">
                <a:alpha val="75000"/>
              </a:schemeClr>
            </a:solidFill>
            <a:ln w="12700">
              <a:noFill/>
              <a:miter lim="800000"/>
              <a:headEnd/>
              <a:tailEnd/>
            </a:ln>
            <a:effectLst/>
          </p:spPr>
          <p:txBody>
            <a:bodyPr lIns="108000" tIns="72000" rIns="108000" bIns="72000" anchor="ctr"/>
            <a:lstStyle/>
            <a:p>
              <a:pPr defTabSz="601346" eaLnBrk="0" hangingPunct="0"/>
              <a:r>
                <a:rPr lang="de-DE" sz="1400" cap="all" noProof="1">
                  <a:solidFill>
                    <a:srgbClr val="FFFFFF"/>
                  </a:solidFill>
                  <a:latin typeface="+mn-lt"/>
                  <a:cs typeface="Arial" charset="0"/>
                </a:rPr>
                <a:t>Aftermarket Studies / Databases</a:t>
              </a:r>
            </a:p>
          </p:txBody>
        </p:sp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F487D02F-6588-460C-8214-A08FB33A1480}"/>
                </a:ext>
              </a:extLst>
            </p:cNvPr>
            <p:cNvSpPr/>
            <p:nvPr/>
          </p:nvSpPr>
          <p:spPr>
            <a:xfrm>
              <a:off x="407368" y="1052736"/>
              <a:ext cx="11377264" cy="15841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457D4877-510C-420A-A16D-BE4B1AC00141}"/>
              </a:ext>
            </a:extLst>
          </p:cNvPr>
          <p:cNvGrpSpPr/>
          <p:nvPr/>
        </p:nvGrpSpPr>
        <p:grpSpPr>
          <a:xfrm>
            <a:off x="418215" y="2743012"/>
            <a:ext cx="11377264" cy="1584176"/>
            <a:chOff x="418215" y="2743012"/>
            <a:chExt cx="11377264" cy="1584176"/>
          </a:xfrm>
        </p:grpSpPr>
        <p:grpSp>
          <p:nvGrpSpPr>
            <p:cNvPr id="9" name="Gruppieren 8"/>
            <p:cNvGrpSpPr/>
            <p:nvPr/>
          </p:nvGrpSpPr>
          <p:grpSpPr>
            <a:xfrm>
              <a:off x="8027618" y="2875101"/>
              <a:ext cx="3609371" cy="1319999"/>
              <a:chOff x="8038806" y="3019200"/>
              <a:chExt cx="3609371" cy="1319999"/>
            </a:xfrm>
          </p:grpSpPr>
          <p:sp>
            <p:nvSpPr>
              <p:cNvPr id="25" name="Rechteck 24"/>
              <p:cNvSpPr/>
              <p:nvPr/>
            </p:nvSpPr>
            <p:spPr bwMode="gray">
              <a:xfrm flipH="1">
                <a:off x="8038806" y="3019200"/>
                <a:ext cx="3609370" cy="1319999"/>
              </a:xfrm>
              <a:prstGeom prst="rect">
                <a:avLst/>
              </a:prstGeom>
              <a:blipFill dpi="0" rotWithShape="1">
                <a:blip r:embed="rId5" cstate="screen">
                  <a:extLst>
                    <a:ext uri="{BEBA8EAE-BF5A-486C-A8C5-ECC9F3942E4B}">
                      <a14:imgProps xmlns:a14="http://schemas.microsoft.com/office/drawing/2010/main">
                        <a14:imgLayer r:embed="rId6"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26" name="Rectangle 19"/>
              <p:cNvSpPr>
                <a:spLocks noChangeArrowheads="1"/>
              </p:cNvSpPr>
              <p:nvPr/>
            </p:nvSpPr>
            <p:spPr bwMode="gray">
              <a:xfrm>
                <a:off x="8038809" y="3978836"/>
                <a:ext cx="3609368" cy="360363"/>
              </a:xfrm>
              <a:prstGeom prst="rect">
                <a:avLst/>
              </a:prstGeom>
              <a:solidFill>
                <a:schemeClr val="accent3">
                  <a:alpha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108000" tIns="72000" rIns="108000" bIns="72000" anchor="ctr"/>
              <a:lstStyle/>
              <a:p>
                <a:pPr defTabSz="801688" eaLnBrk="0" hangingPunct="0"/>
                <a:r>
                  <a:rPr lang="en-US" sz="1400" cap="all" dirty="0">
                    <a:solidFill>
                      <a:srgbClr val="FFFFFF"/>
                    </a:solidFill>
                    <a:latin typeface="+mn-lt"/>
                    <a:cs typeface="Arial" charset="0"/>
                  </a:rPr>
                  <a:t>Workshops</a:t>
                </a:r>
                <a:endParaRPr lang="en-US" cap="all" dirty="0">
                  <a:solidFill>
                    <a:srgbClr val="FFFFFF"/>
                  </a:solidFill>
                  <a:latin typeface="+mn-lt"/>
                  <a:cs typeface="Arial" charset="0"/>
                </a:endParaRP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4278216" y="2875101"/>
              <a:ext cx="3611558" cy="1319999"/>
              <a:chOff x="4289404" y="3019200"/>
              <a:chExt cx="3611558" cy="1319999"/>
            </a:xfrm>
          </p:grpSpPr>
          <p:sp>
            <p:nvSpPr>
              <p:cNvPr id="23" name="Rechteck 22"/>
              <p:cNvSpPr/>
              <p:nvPr/>
            </p:nvSpPr>
            <p:spPr bwMode="gray">
              <a:xfrm>
                <a:off x="4289404" y="3019200"/>
                <a:ext cx="3611558" cy="1319999"/>
              </a:xfrm>
              <a:prstGeom prst="rect">
                <a:avLst/>
              </a:prstGeom>
              <a:blipFill dpi="0"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 l="270"/>
                </a:stretch>
              </a:blip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24" name="Rectangle 19"/>
              <p:cNvSpPr>
                <a:spLocks noChangeArrowheads="1"/>
              </p:cNvSpPr>
              <p:nvPr/>
            </p:nvSpPr>
            <p:spPr bwMode="gray">
              <a:xfrm>
                <a:off x="4301415" y="3978836"/>
                <a:ext cx="3598784" cy="360363"/>
              </a:xfrm>
              <a:prstGeom prst="rect">
                <a:avLst/>
              </a:prstGeom>
              <a:solidFill>
                <a:schemeClr val="accent3">
                  <a:alpha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108000" tIns="72000" rIns="108000" bIns="72000" anchor="ctr"/>
              <a:lstStyle/>
              <a:p>
                <a:pPr defTabSz="601346" eaLnBrk="0" hangingPunct="0"/>
                <a:r>
                  <a:rPr lang="de-DE" sz="1400" cap="all" noProof="1">
                    <a:solidFill>
                      <a:srgbClr val="FFFFFF"/>
                    </a:solidFill>
                    <a:latin typeface="+mn-lt"/>
                    <a:cs typeface="Arial" charset="0"/>
                  </a:rPr>
                  <a:t>Aftermarket Strategies </a:t>
                </a: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528813" y="2875101"/>
              <a:ext cx="3610795" cy="1319999"/>
              <a:chOff x="540001" y="3019200"/>
              <a:chExt cx="3610795" cy="1319999"/>
            </a:xfrm>
          </p:grpSpPr>
          <p:sp>
            <p:nvSpPr>
              <p:cNvPr id="21" name="Rechteck 20"/>
              <p:cNvSpPr/>
              <p:nvPr/>
            </p:nvSpPr>
            <p:spPr bwMode="gray">
              <a:xfrm>
                <a:off x="540001" y="3019200"/>
                <a:ext cx="3610795" cy="1319998"/>
              </a:xfrm>
              <a:prstGeom prst="rect">
                <a:avLst/>
              </a:prstGeom>
              <a:blipFill dpi="0" rotWithShape="1"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9525">
                <a:solidFill>
                  <a:schemeClr val="accent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lt1"/>
                  </a:solidFill>
                </a:endParaRPr>
              </a:p>
            </p:txBody>
          </p:sp>
          <p:sp>
            <p:nvSpPr>
              <p:cNvPr id="22" name="Rectangle 19"/>
              <p:cNvSpPr>
                <a:spLocks noChangeArrowheads="1"/>
              </p:cNvSpPr>
              <p:nvPr/>
            </p:nvSpPr>
            <p:spPr bwMode="gray">
              <a:xfrm>
                <a:off x="540002" y="3978836"/>
                <a:ext cx="3610794" cy="360363"/>
              </a:xfrm>
              <a:prstGeom prst="rect">
                <a:avLst/>
              </a:prstGeom>
              <a:solidFill>
                <a:schemeClr val="accent3">
                  <a:alpha val="75000"/>
                </a:scheme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108000" tIns="72000" rIns="108000" bIns="72000" anchor="ctr"/>
              <a:lstStyle/>
              <a:p>
                <a:pPr defTabSz="601346" eaLnBrk="0" hangingPunct="0"/>
                <a:r>
                  <a:rPr lang="de-DE" sz="1400" cap="all" noProof="1">
                    <a:solidFill>
                      <a:srgbClr val="FFFFFF"/>
                    </a:solidFill>
                    <a:latin typeface="+mn-lt"/>
                    <a:cs typeface="Arial" charset="0"/>
                  </a:rPr>
                  <a:t>Marketing / Sales Concepts</a:t>
                </a:r>
              </a:p>
            </p:txBody>
          </p:sp>
        </p:grpSp>
        <p:sp>
          <p:nvSpPr>
            <p:cNvPr id="29" name="Rechteck 28">
              <a:extLst>
                <a:ext uri="{FF2B5EF4-FFF2-40B4-BE49-F238E27FC236}">
                  <a16:creationId xmlns:a16="http://schemas.microsoft.com/office/drawing/2014/main" id="{2BDE5382-38EB-4212-88A4-E1C82B64E677}"/>
                </a:ext>
              </a:extLst>
            </p:cNvPr>
            <p:cNvSpPr/>
            <p:nvPr/>
          </p:nvSpPr>
          <p:spPr>
            <a:xfrm>
              <a:off x="418215" y="2743012"/>
              <a:ext cx="11377264" cy="158417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CB04ADEA-C69F-4D56-963C-336B903B8C90}"/>
              </a:ext>
            </a:extLst>
          </p:cNvPr>
          <p:cNvGrpSpPr/>
          <p:nvPr/>
        </p:nvGrpSpPr>
        <p:grpSpPr>
          <a:xfrm>
            <a:off x="418215" y="4494736"/>
            <a:ext cx="11377264" cy="1584176"/>
            <a:chOff x="418215" y="4494736"/>
            <a:chExt cx="11377264" cy="1584176"/>
          </a:xfrm>
        </p:grpSpPr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4157" y="4612316"/>
              <a:ext cx="3616127" cy="1310976"/>
            </a:xfrm>
            <a:prstGeom prst="rect">
              <a:avLst/>
            </a:prstGeom>
            <a:ln w="9525">
              <a:solidFill>
                <a:schemeClr val="accent1"/>
              </a:solidFill>
            </a:ln>
          </p:spPr>
        </p:pic>
        <p:grpSp>
          <p:nvGrpSpPr>
            <p:cNvPr id="8" name="Gruppieren 7">
              <a:extLst>
                <a:ext uri="{FF2B5EF4-FFF2-40B4-BE49-F238E27FC236}">
                  <a16:creationId xmlns:a16="http://schemas.microsoft.com/office/drawing/2014/main" id="{DCF06D53-519F-4179-9B23-6C7D3DCAD973}"/>
                </a:ext>
              </a:extLst>
            </p:cNvPr>
            <p:cNvGrpSpPr/>
            <p:nvPr/>
          </p:nvGrpSpPr>
          <p:grpSpPr>
            <a:xfrm>
              <a:off x="418215" y="4494736"/>
              <a:ext cx="11377264" cy="1584176"/>
              <a:chOff x="407368" y="4494736"/>
              <a:chExt cx="11377264" cy="1584176"/>
            </a:xfrm>
          </p:grpSpPr>
          <p:pic>
            <p:nvPicPr>
              <p:cNvPr id="3" name="Grafik 2">
                <a:extLst>
                  <a:ext uri="{FF2B5EF4-FFF2-40B4-BE49-F238E27FC236}">
                    <a16:creationId xmlns:a16="http://schemas.microsoft.com/office/drawing/2014/main" id="{6F1C4122-1E37-4B1C-AED4-674A4C57BFD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506" b="10912"/>
              <a:stretch/>
            </p:blipFill>
            <p:spPr>
              <a:xfrm>
                <a:off x="8026857" y="4591965"/>
                <a:ext cx="3598971" cy="1331327"/>
              </a:xfrm>
              <a:prstGeom prst="rect">
                <a:avLst/>
              </a:prstGeom>
              <a:ln w="9525">
                <a:solidFill>
                  <a:schemeClr val="accent1"/>
                </a:solidFill>
              </a:ln>
            </p:spPr>
          </p:pic>
          <p:sp>
            <p:nvSpPr>
              <p:cNvPr id="20" name="Rectangle 19"/>
              <p:cNvSpPr>
                <a:spLocks noChangeArrowheads="1"/>
              </p:cNvSpPr>
              <p:nvPr/>
            </p:nvSpPr>
            <p:spPr bwMode="gray">
              <a:xfrm>
                <a:off x="8027620" y="5562929"/>
                <a:ext cx="3609368" cy="360363"/>
              </a:xfrm>
              <a:prstGeom prst="rect">
                <a:avLst/>
              </a:prstGeom>
              <a:solidFill>
                <a:srgbClr val="00B050">
                  <a:alpha val="75000"/>
                </a:srgbClr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lIns="108000" tIns="72000" rIns="108000" bIns="72000" anchor="ctr"/>
              <a:lstStyle/>
              <a:p>
                <a:pPr defTabSz="801688" eaLnBrk="0" hangingPunct="0"/>
                <a:r>
                  <a:rPr lang="en-US" sz="1400" cap="all" dirty="0">
                    <a:solidFill>
                      <a:srgbClr val="FFFFFF"/>
                    </a:solidFill>
                    <a:latin typeface="+mn-lt"/>
                    <a:cs typeface="Arial" charset="0"/>
                  </a:rPr>
                  <a:t>Active sales team</a:t>
                </a:r>
              </a:p>
            </p:txBody>
          </p:sp>
          <p:grpSp>
            <p:nvGrpSpPr>
              <p:cNvPr id="13" name="Gruppieren 12"/>
              <p:cNvGrpSpPr/>
              <p:nvPr/>
            </p:nvGrpSpPr>
            <p:grpSpPr>
              <a:xfrm>
                <a:off x="4289178" y="4604102"/>
                <a:ext cx="3600596" cy="1319190"/>
                <a:chOff x="4300366" y="4484009"/>
                <a:chExt cx="3600596" cy="1319190"/>
              </a:xfrm>
            </p:grpSpPr>
            <p:sp>
              <p:nvSpPr>
                <p:cNvPr id="17" name="Rechteck 16"/>
                <p:cNvSpPr/>
                <p:nvPr/>
              </p:nvSpPr>
              <p:spPr bwMode="gray">
                <a:xfrm>
                  <a:off x="4301414" y="4484009"/>
                  <a:ext cx="3599548" cy="1319190"/>
                </a:xfrm>
                <a:prstGeom prst="rect">
                  <a:avLst/>
                </a:prstGeom>
                <a:blipFill dpi="0" rotWithShape="1">
                  <a:blip r:embed="rId11" cstate="screen">
                    <a:extLst>
                      <a:ext uri="{BEBA8EAE-BF5A-486C-A8C5-ECC9F3942E4B}">
                        <a14:imgProps xmlns:a14="http://schemas.microsoft.com/office/drawing/2010/main">
                          <a14:imgLayer r:embed="rId12">
                            <a14:imgEffect>
                              <a14:saturation sat="66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a:blipFill>
                <a:ln w="9525">
                  <a:solidFill>
                    <a:schemeClr val="accent1"/>
                  </a:solidFill>
                </a:ln>
                <a:effectLst>
                  <a:innerShdw blurRad="850900">
                    <a:prstClr val="black">
                      <a:alpha val="14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chemeClr val="lt1"/>
                    </a:solidFill>
                  </a:endParaRPr>
                </a:p>
              </p:txBody>
            </p:sp>
            <p:sp>
              <p:nvSpPr>
                <p:cNvPr id="18" name="Rectangle 19"/>
                <p:cNvSpPr>
                  <a:spLocks noChangeArrowheads="1"/>
                </p:cNvSpPr>
                <p:nvPr/>
              </p:nvSpPr>
              <p:spPr bwMode="gray">
                <a:xfrm>
                  <a:off x="4300366" y="5442836"/>
                  <a:ext cx="3599833" cy="360363"/>
                </a:xfrm>
                <a:prstGeom prst="rect">
                  <a:avLst/>
                </a:prstGeom>
                <a:solidFill>
                  <a:srgbClr val="00B050">
                    <a:alpha val="75000"/>
                  </a:srgbClr>
                </a:solid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 lIns="108000" tIns="72000" rIns="108000" bIns="72000" anchor="ctr"/>
                <a:lstStyle/>
                <a:p>
                  <a:pPr defTabSz="801688" eaLnBrk="0" hangingPunct="0"/>
                  <a:r>
                    <a:rPr lang="en-US" sz="1400" cap="all" dirty="0">
                      <a:solidFill>
                        <a:srgbClr val="FFFFFF"/>
                      </a:solidFill>
                      <a:latin typeface="+mn-lt"/>
                      <a:cs typeface="Arial" charset="0"/>
                    </a:rPr>
                    <a:t>Training / coaching</a:t>
                  </a:r>
                </a:p>
              </p:txBody>
            </p:sp>
          </p:grpSp>
          <p:sp>
            <p:nvSpPr>
              <p:cNvPr id="16" name="Rectangle 19"/>
              <p:cNvSpPr>
                <a:spLocks noChangeArrowheads="1"/>
              </p:cNvSpPr>
              <p:nvPr/>
            </p:nvSpPr>
            <p:spPr bwMode="gray">
              <a:xfrm>
                <a:off x="528813" y="5562929"/>
                <a:ext cx="3610794" cy="360363"/>
              </a:xfrm>
              <a:prstGeom prst="rect">
                <a:avLst/>
              </a:prstGeom>
              <a:solidFill>
                <a:srgbClr val="00B050">
                  <a:alpha val="75000"/>
                </a:srgbClr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  <a:effectLst/>
            </p:spPr>
            <p:txBody>
              <a:bodyPr lIns="108000" tIns="72000" rIns="108000" bIns="72000" anchor="ctr"/>
              <a:lstStyle/>
              <a:p>
                <a:pPr defTabSz="601346" eaLnBrk="0" hangingPunct="0"/>
                <a:endParaRPr lang="en-US" sz="1400" cap="all" dirty="0">
                  <a:solidFill>
                    <a:srgbClr val="FFFFFF"/>
                  </a:solidFill>
                  <a:latin typeface="+mn-lt"/>
                  <a:cs typeface="Arial" charset="0"/>
                </a:endParaRPr>
              </a:p>
              <a:p>
                <a:pPr defTabSz="601346" eaLnBrk="0" hangingPunct="0"/>
                <a:r>
                  <a:rPr lang="en-US" sz="1400" cap="all" dirty="0">
                    <a:solidFill>
                      <a:srgbClr val="FFFFFF"/>
                    </a:solidFill>
                    <a:latin typeface="+mn-lt"/>
                    <a:cs typeface="Arial" charset="0"/>
                  </a:rPr>
                  <a:t>Performance improvement</a:t>
                </a:r>
              </a:p>
              <a:p>
                <a:pPr defTabSz="601346" eaLnBrk="0" hangingPunct="0"/>
                <a:endParaRPr lang="de-DE" sz="1400" cap="all" noProof="1">
                  <a:solidFill>
                    <a:srgbClr val="FFFFFF"/>
                  </a:solidFill>
                  <a:latin typeface="+mn-lt"/>
                  <a:cs typeface="Arial" charset="0"/>
                </a:endParaRPr>
              </a:p>
            </p:txBody>
          </p:sp>
          <p:sp>
            <p:nvSpPr>
              <p:cNvPr id="31" name="Rechteck 30">
                <a:extLst>
                  <a:ext uri="{FF2B5EF4-FFF2-40B4-BE49-F238E27FC236}">
                    <a16:creationId xmlns:a16="http://schemas.microsoft.com/office/drawing/2014/main" id="{F38F2D30-0498-49B1-A89B-54A65CB7A0FA}"/>
                  </a:ext>
                </a:extLst>
              </p:cNvPr>
              <p:cNvSpPr/>
              <p:nvPr/>
            </p:nvSpPr>
            <p:spPr>
              <a:xfrm>
                <a:off x="407368" y="4494736"/>
                <a:ext cx="11377264" cy="1584176"/>
              </a:xfrm>
              <a:prstGeom prst="rect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de-DE" sz="1200" dirty="0">
                  <a:solidFill>
                    <a:schemeClr val="tx1"/>
                  </a:solidFill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4797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ruppieren 99"/>
          <p:cNvGrpSpPr/>
          <p:nvPr/>
        </p:nvGrpSpPr>
        <p:grpSpPr>
          <a:xfrm>
            <a:off x="539634" y="1124744"/>
            <a:ext cx="11109384" cy="5040560"/>
            <a:chOff x="538840" y="1553335"/>
            <a:chExt cx="11109384" cy="4246216"/>
          </a:xfrm>
        </p:grpSpPr>
        <p:grpSp>
          <p:nvGrpSpPr>
            <p:cNvPr id="93" name="Gruppieren 92"/>
            <p:cNvGrpSpPr/>
            <p:nvPr/>
          </p:nvGrpSpPr>
          <p:grpSpPr>
            <a:xfrm>
              <a:off x="538840" y="1553335"/>
              <a:ext cx="11109384" cy="522762"/>
              <a:chOff x="538840" y="1553335"/>
              <a:chExt cx="11109384" cy="522762"/>
            </a:xfrm>
          </p:grpSpPr>
          <p:sp>
            <p:nvSpPr>
              <p:cNvPr id="59" name="Rechteck 58"/>
              <p:cNvSpPr/>
              <p:nvPr/>
            </p:nvSpPr>
            <p:spPr bwMode="auto">
              <a:xfrm>
                <a:off x="538840" y="1553335"/>
                <a:ext cx="735920" cy="5227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1</a:t>
                </a: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1362173" y="1553335"/>
                <a:ext cx="10286051" cy="5227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solidFill>
                      <a:schemeClr val="bg1"/>
                    </a:solidFill>
                    <a:latin typeface="+mn-lt"/>
                  </a:rPr>
                  <a:t>What influences the Aftermarket today? </a:t>
                </a:r>
              </a:p>
            </p:txBody>
          </p:sp>
        </p:grpSp>
        <p:grpSp>
          <p:nvGrpSpPr>
            <p:cNvPr id="94" name="Gruppieren 93"/>
            <p:cNvGrpSpPr/>
            <p:nvPr/>
          </p:nvGrpSpPr>
          <p:grpSpPr>
            <a:xfrm>
              <a:off x="538840" y="2162734"/>
              <a:ext cx="11109384" cy="522762"/>
              <a:chOff x="538840" y="2162734"/>
              <a:chExt cx="11109384" cy="522762"/>
            </a:xfrm>
          </p:grpSpPr>
          <p:sp>
            <p:nvSpPr>
              <p:cNvPr id="61" name="Rechteck 60"/>
              <p:cNvSpPr/>
              <p:nvPr/>
            </p:nvSpPr>
            <p:spPr bwMode="auto">
              <a:xfrm>
                <a:off x="538840" y="2162734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2</a:t>
                </a: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1362173" y="2162734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Aftermarket Facts &amp; Figures</a:t>
                </a:r>
              </a:p>
            </p:txBody>
          </p:sp>
        </p:grpSp>
        <p:sp>
          <p:nvSpPr>
            <p:cNvPr id="64" name="Rechteck 63"/>
            <p:cNvSpPr/>
            <p:nvPr/>
          </p:nvSpPr>
          <p:spPr bwMode="auto">
            <a:xfrm>
              <a:off x="1362173" y="2872489"/>
              <a:ext cx="10286051" cy="303267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txBody>
            <a:bodyPr vert="horz" wrap="none" lIns="360000" tIns="126000" rIns="288000" bIns="12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400" noProof="1">
                  <a:latin typeface="+mn-lt"/>
                </a:rPr>
                <a:t>Europe G5</a:t>
              </a:r>
            </a:p>
          </p:txBody>
        </p:sp>
        <p:sp>
          <p:nvSpPr>
            <p:cNvPr id="66" name="Rechteck 65"/>
            <p:cNvSpPr/>
            <p:nvPr/>
          </p:nvSpPr>
          <p:spPr bwMode="auto">
            <a:xfrm>
              <a:off x="1362173" y="3485208"/>
              <a:ext cx="10286051" cy="303267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txBody>
            <a:bodyPr vert="horz" wrap="none" lIns="360000" tIns="126000" rIns="288000" bIns="12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400" noProof="1">
                  <a:latin typeface="+mn-lt"/>
                </a:rPr>
                <a:t>Turkey</a:t>
              </a:r>
            </a:p>
          </p:txBody>
        </p:sp>
        <p:sp>
          <p:nvSpPr>
            <p:cNvPr id="68" name="Rechteck 67"/>
            <p:cNvSpPr/>
            <p:nvPr/>
          </p:nvSpPr>
          <p:spPr bwMode="auto">
            <a:xfrm>
              <a:off x="1362173" y="4111371"/>
              <a:ext cx="10286051" cy="303267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txBody>
            <a:bodyPr vert="horz" wrap="none" lIns="360000" tIns="126000" rIns="288000" bIns="12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400" noProof="1">
                  <a:latin typeface="+mn-lt"/>
                </a:rPr>
                <a:t>Russia</a:t>
              </a:r>
            </a:p>
          </p:txBody>
        </p:sp>
        <p:sp>
          <p:nvSpPr>
            <p:cNvPr id="74" name="Rechteck 73"/>
            <p:cNvSpPr/>
            <p:nvPr/>
          </p:nvSpPr>
          <p:spPr bwMode="auto">
            <a:xfrm>
              <a:off x="1362173" y="4738034"/>
              <a:ext cx="10286051" cy="303267"/>
            </a:xfrm>
            <a:prstGeom prst="rect">
              <a:avLst/>
            </a:prstGeom>
            <a:solidFill>
              <a:srgbClr val="E6E6E6"/>
            </a:solidFill>
            <a:ln>
              <a:noFill/>
            </a:ln>
          </p:spPr>
          <p:txBody>
            <a:bodyPr vert="horz" wrap="none" lIns="360000" tIns="126000" rIns="288000" bIns="126000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2400" noProof="1">
                  <a:latin typeface="+mn-lt"/>
                </a:rPr>
                <a:t>Africa</a:t>
              </a:r>
            </a:p>
          </p:txBody>
        </p:sp>
        <p:grpSp>
          <p:nvGrpSpPr>
            <p:cNvPr id="99" name="Gruppieren 98"/>
            <p:cNvGrpSpPr/>
            <p:nvPr/>
          </p:nvGrpSpPr>
          <p:grpSpPr>
            <a:xfrm>
              <a:off x="538840" y="5276789"/>
              <a:ext cx="11109384" cy="522762"/>
              <a:chOff x="538840" y="5276789"/>
              <a:chExt cx="11109384" cy="522762"/>
            </a:xfrm>
          </p:grpSpPr>
          <p:sp>
            <p:nvSpPr>
              <p:cNvPr id="76" name="Rechteck 75"/>
              <p:cNvSpPr/>
              <p:nvPr/>
            </p:nvSpPr>
            <p:spPr bwMode="auto">
              <a:xfrm>
                <a:off x="538840" y="5276789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4</a:t>
                </a: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1362173" y="5276789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Conclusions &amp; Outlook</a:t>
                </a:r>
              </a:p>
            </p:txBody>
          </p:sp>
        </p:grp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811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ftermarket structure in Europe</a:t>
            </a:r>
            <a:endParaRPr lang="en-US" sz="1800" dirty="0"/>
          </a:p>
        </p:txBody>
      </p:sp>
      <p:grpSp>
        <p:nvGrpSpPr>
          <p:cNvPr id="8" name="Gruppieren 7"/>
          <p:cNvGrpSpPr/>
          <p:nvPr/>
        </p:nvGrpSpPr>
        <p:grpSpPr>
          <a:xfrm>
            <a:off x="623392" y="908720"/>
            <a:ext cx="10729192" cy="5472608"/>
            <a:chOff x="648162" y="1635102"/>
            <a:chExt cx="7559643" cy="4617268"/>
          </a:xfrm>
        </p:grpSpPr>
        <p:pic>
          <p:nvPicPr>
            <p:cNvPr id="10" name="Grafik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24" t="8391" r="1903" b="20230"/>
            <a:stretch/>
          </p:blipFill>
          <p:spPr>
            <a:xfrm>
              <a:off x="648162" y="1635102"/>
              <a:ext cx="7559643" cy="4617268"/>
            </a:xfrm>
            <a:prstGeom prst="rect">
              <a:avLst/>
            </a:prstGeom>
          </p:spPr>
        </p:pic>
        <p:sp>
          <p:nvSpPr>
            <p:cNvPr id="11" name="Rechteck 10"/>
            <p:cNvSpPr/>
            <p:nvPr/>
          </p:nvSpPr>
          <p:spPr>
            <a:xfrm>
              <a:off x="1043608" y="1635102"/>
              <a:ext cx="7164197" cy="137714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12" name="Rechteck 11"/>
            <p:cNvSpPr/>
            <p:nvPr/>
          </p:nvSpPr>
          <p:spPr>
            <a:xfrm>
              <a:off x="6948264" y="1635102"/>
              <a:ext cx="1259541" cy="3162050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E44B57DA-F3EF-4445-A5D7-33B8FDD99D74}"/>
              </a:ext>
            </a:extLst>
          </p:cNvPr>
          <p:cNvSpPr/>
          <p:nvPr/>
        </p:nvSpPr>
        <p:spPr>
          <a:xfrm>
            <a:off x="911424" y="4293096"/>
            <a:ext cx="1224136" cy="14401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1200" dirty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813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cap="all" dirty="0" err="1"/>
              <a:t>GenEral</a:t>
            </a:r>
            <a:r>
              <a:rPr lang="de-DE" cap="all" dirty="0"/>
              <a:t> </a:t>
            </a:r>
            <a:r>
              <a:rPr lang="de-DE" cap="all" dirty="0" err="1"/>
              <a:t>Influence</a:t>
            </a:r>
            <a:r>
              <a:rPr lang="de-DE" cap="all" dirty="0"/>
              <a:t> </a:t>
            </a:r>
            <a:r>
              <a:rPr lang="de-DE" cap="all" dirty="0" err="1"/>
              <a:t>FactOrs</a:t>
            </a:r>
            <a:endParaRPr lang="de-DE" sz="1400" b="1" dirty="0">
              <a:solidFill>
                <a:schemeClr val="bg1">
                  <a:lumMod val="50000"/>
                </a:schemeClr>
              </a:solidFill>
              <a:ea typeface="+mn-ea"/>
              <a:cs typeface="+mn-cs"/>
            </a:endParaRP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EE78ACB-31E4-4E32-9B8F-8158402CA2AD}"/>
              </a:ext>
            </a:extLst>
          </p:cNvPr>
          <p:cNvGrpSpPr/>
          <p:nvPr/>
        </p:nvGrpSpPr>
        <p:grpSpPr>
          <a:xfrm>
            <a:off x="239350" y="1052736"/>
            <a:ext cx="11761306" cy="5400600"/>
            <a:chOff x="1839728" y="2009077"/>
            <a:chExt cx="8576749" cy="3634171"/>
          </a:xfrm>
        </p:grpSpPr>
        <p:grpSp>
          <p:nvGrpSpPr>
            <p:cNvPr id="33" name="Gruppieren 32"/>
            <p:cNvGrpSpPr/>
            <p:nvPr/>
          </p:nvGrpSpPr>
          <p:grpSpPr>
            <a:xfrm>
              <a:off x="7894978" y="2009078"/>
              <a:ext cx="2197468" cy="1905977"/>
              <a:chOff x="8494637" y="1535769"/>
              <a:chExt cx="2929957" cy="2541303"/>
            </a:xfrm>
          </p:grpSpPr>
          <p:pic>
            <p:nvPicPr>
              <p:cNvPr id="29" name="Grafik 28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8598450" y="1535769"/>
                <a:ext cx="2736000" cy="733984"/>
              </a:xfrm>
              <a:prstGeom prst="rect">
                <a:avLst/>
              </a:prstGeom>
            </p:spPr>
          </p:pic>
          <p:grpSp>
            <p:nvGrpSpPr>
              <p:cNvPr id="18" name="Gruppieren 17"/>
              <p:cNvGrpSpPr/>
              <p:nvPr/>
            </p:nvGrpSpPr>
            <p:grpSpPr>
              <a:xfrm>
                <a:off x="8494637" y="1535770"/>
                <a:ext cx="2929957" cy="2541302"/>
                <a:chOff x="6320242" y="1557338"/>
                <a:chExt cx="2327999" cy="2261474"/>
              </a:xfrm>
            </p:grpSpPr>
            <p:sp>
              <p:nvSpPr>
                <p:cNvPr id="24" name="Rectangle 49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6339209" y="2232025"/>
                  <a:ext cx="2309032" cy="1177652"/>
                </a:xfrm>
                <a:prstGeom prst="rect">
                  <a:avLst/>
                </a:prstGeom>
                <a:noFill/>
                <a:ln w="19050">
                  <a:noFill/>
                  <a:miter lim="800000"/>
                  <a:headEnd/>
                  <a:tailEnd/>
                </a:ln>
                <a:effectLst/>
              </p:spPr>
              <p:txBody>
                <a:bodyPr lIns="108000" tIns="108000" rIns="108000" bIns="108000"/>
                <a:lstStyle/>
                <a:p>
                  <a:pPr>
                    <a:spcAft>
                      <a:spcPct val="40000"/>
                    </a:spcAft>
                  </a:pPr>
                  <a:r>
                    <a:rPr lang="de-DE" sz="1200" cap="all" noProof="1">
                      <a:solidFill>
                        <a:schemeClr val="accent1"/>
                      </a:solidFill>
                      <a:latin typeface="+mj-lt"/>
                    </a:rPr>
                    <a:t>Technologies</a:t>
                  </a:r>
                  <a:endParaRPr lang="de-DE" sz="1100" cap="all" noProof="1">
                    <a:solidFill>
                      <a:schemeClr val="accent1"/>
                    </a:solidFill>
                    <a:latin typeface="+mj-lt"/>
                  </a:endParaRPr>
                </a:p>
                <a:p>
                  <a:pPr indent="-132160"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Digital transformation / IOT</a:t>
                  </a:r>
                </a:p>
                <a:p>
                  <a:pPr indent="-132160"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Alternative powertrain</a:t>
                  </a:r>
                </a:p>
                <a:p>
                  <a:pPr indent="-132160"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Connected car</a:t>
                  </a:r>
                </a:p>
                <a:p>
                  <a:pPr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Assistance systems</a:t>
                  </a:r>
                </a:p>
                <a:p>
                  <a:pPr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3D Print</a:t>
                  </a:r>
                </a:p>
                <a:p>
                  <a:pPr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artificial intelligence AI </a:t>
                  </a:r>
                </a:p>
                <a:p>
                  <a:pPr>
                    <a:spcAft>
                      <a:spcPts val="0"/>
                    </a:spcAft>
                  </a:pPr>
                  <a:endParaRPr lang="de-DE" sz="1200" cap="small" noProof="1">
                    <a:latin typeface="+mj-lt"/>
                  </a:endParaRPr>
                </a:p>
                <a:p>
                  <a:pPr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endParaRPr lang="de-DE" sz="1200" cap="small" noProof="1">
                    <a:latin typeface="+mj-lt"/>
                  </a:endParaRPr>
                </a:p>
                <a:p>
                  <a:pPr indent="-132160">
                    <a:spcAft>
                      <a:spcPct val="40000"/>
                    </a:spcAft>
                    <a:buFont typeface="Wingdings" pitchFamily="2" charset="2"/>
                    <a:buChar char="§"/>
                  </a:pPr>
                  <a:endParaRPr lang="de-DE" sz="1200" cap="small" noProof="1">
                    <a:latin typeface="+mj-lt"/>
                  </a:endParaRPr>
                </a:p>
              </p:txBody>
            </p:sp>
            <p:sp>
              <p:nvSpPr>
                <p:cNvPr id="25" name="Line 58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 flipV="1">
                  <a:off x="6320242" y="1557338"/>
                  <a:ext cx="21859" cy="2261474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de-DE" dirty="0"/>
                </a:p>
              </p:txBody>
            </p:sp>
          </p:grpSp>
        </p:grpSp>
        <p:grpSp>
          <p:nvGrpSpPr>
            <p:cNvPr id="13" name="Gruppieren 12"/>
            <p:cNvGrpSpPr/>
            <p:nvPr/>
          </p:nvGrpSpPr>
          <p:grpSpPr>
            <a:xfrm>
              <a:off x="1839728" y="4107967"/>
              <a:ext cx="2744104" cy="1535281"/>
              <a:chOff x="420971" y="4334287"/>
              <a:chExt cx="3658804" cy="2047041"/>
            </a:xfrm>
          </p:grpSpPr>
          <p:grpSp>
            <p:nvGrpSpPr>
              <p:cNvPr id="15" name="Gruppieren 14"/>
              <p:cNvGrpSpPr/>
              <p:nvPr/>
            </p:nvGrpSpPr>
            <p:grpSpPr>
              <a:xfrm>
                <a:off x="420971" y="4334287"/>
                <a:ext cx="3658804" cy="2047041"/>
                <a:chOff x="470510" y="4111783"/>
                <a:chExt cx="2798409" cy="1821637"/>
              </a:xfrm>
            </p:grpSpPr>
            <p:sp>
              <p:nvSpPr>
                <p:cNvPr id="32" name="Rectangle 54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470510" y="4787049"/>
                  <a:ext cx="2798409" cy="1016151"/>
                </a:xfrm>
                <a:prstGeom prst="rect">
                  <a:avLst/>
                </a:prstGeom>
                <a:noFill/>
                <a:ln w="19050">
                  <a:noFill/>
                  <a:miter lim="800000"/>
                  <a:headEnd/>
                  <a:tailEnd/>
                </a:ln>
                <a:effectLst/>
              </p:spPr>
              <p:txBody>
                <a:bodyPr lIns="108000" tIns="108000" rIns="108000" bIns="108000"/>
                <a:lstStyle/>
                <a:p>
                  <a:pPr>
                    <a:spcAft>
                      <a:spcPct val="40000"/>
                    </a:spcAft>
                  </a:pPr>
                  <a:r>
                    <a:rPr lang="de-DE" sz="1200" cap="all" noProof="1">
                      <a:solidFill>
                        <a:schemeClr val="accent1"/>
                      </a:solidFill>
                      <a:latin typeface="+mj-lt"/>
                    </a:rPr>
                    <a:t>Market players</a:t>
                  </a: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New players - Intermediates</a:t>
                  </a: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Concentration process</a:t>
                  </a:r>
                </a:p>
                <a:p>
                  <a:pPr marL="132160" indent="-132160">
                    <a:spcAft>
                      <a:spcPct val="4000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Globalization</a:t>
                  </a:r>
                  <a:endParaRPr lang="ru-RU" sz="1050" cap="small" noProof="1">
                    <a:latin typeface="+mn-lt"/>
                  </a:endParaRPr>
                </a:p>
              </p:txBody>
            </p:sp>
            <p:sp>
              <p:nvSpPr>
                <p:cNvPr id="34" name="Line 56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 flipH="1" flipV="1">
                  <a:off x="474629" y="4111783"/>
                  <a:ext cx="1772" cy="1821637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de-DE" dirty="0"/>
                </a:p>
              </p:txBody>
            </p:sp>
          </p:grpSp>
          <p:sp>
            <p:nvSpPr>
              <p:cNvPr id="41" name="Rectangle 46"/>
              <p:cNvSpPr>
                <a:spLocks noChangeArrowheads="1"/>
              </p:cNvSpPr>
              <p:nvPr/>
            </p:nvSpPr>
            <p:spPr bwMode="gray">
              <a:xfrm>
                <a:off x="492672" y="4377424"/>
                <a:ext cx="2737680" cy="758172"/>
              </a:xfrm>
              <a:prstGeom prst="rect">
                <a:avLst/>
              </a:prstGeom>
              <a:blipFill dpi="0" rotWithShape="1">
                <a:blip r:embed="rId4" cstate="print">
                  <a:extLst>
                    <a:ext uri="{BEBA8EAE-BF5A-486C-A8C5-ECC9F3942E4B}">
                      <a14:imgProps xmlns:a14="http://schemas.microsoft.com/office/drawing/2010/main">
                        <a14:imgLayer r:embed="rId5">
                          <a14:imgEffect>
                            <a14:colorTemperature colorTemp="5900"/>
                          </a14:imgEffect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3175">
                <a:noFill/>
                <a:miter lim="800000"/>
                <a:headEnd/>
                <a:tailEnd/>
              </a:ln>
              <a:effectLst>
                <a:innerShdw blurRad="114300">
                  <a:prstClr val="black">
                    <a:alpha val="15000"/>
                  </a:prstClr>
                </a:innerShdw>
              </a:effectLst>
            </p:spPr>
            <p:txBody>
              <a:bodyPr wrap="none" anchor="ctr"/>
              <a:lstStyle/>
              <a:p>
                <a:pPr algn="ctr" eaLnBrk="0" hangingPunct="0"/>
                <a:endParaRPr lang="en-US" dirty="0"/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1843521" y="2009077"/>
              <a:ext cx="2424423" cy="1886564"/>
              <a:chOff x="426026" y="1535770"/>
              <a:chExt cx="3232564" cy="2515418"/>
            </a:xfrm>
          </p:grpSpPr>
          <p:grpSp>
            <p:nvGrpSpPr>
              <p:cNvPr id="17" name="Gruppieren 16"/>
              <p:cNvGrpSpPr/>
              <p:nvPr/>
            </p:nvGrpSpPr>
            <p:grpSpPr>
              <a:xfrm>
                <a:off x="426026" y="1535770"/>
                <a:ext cx="3232564" cy="2515418"/>
                <a:chOff x="479522" y="1557338"/>
                <a:chExt cx="2472402" cy="2238440"/>
              </a:xfrm>
              <a:solidFill>
                <a:schemeClr val="bg1"/>
              </a:solidFill>
            </p:grpSpPr>
            <p:sp>
              <p:nvSpPr>
                <p:cNvPr id="26" name="Rectangle 44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489602" y="2232024"/>
                  <a:ext cx="2462322" cy="1164606"/>
                </a:xfrm>
                <a:prstGeom prst="rect">
                  <a:avLst/>
                </a:prstGeom>
                <a:noFill/>
                <a:ln w="19050">
                  <a:noFill/>
                  <a:miter lim="800000"/>
                  <a:headEnd/>
                  <a:tailEnd/>
                </a:ln>
                <a:effectLst/>
              </p:spPr>
              <p:txBody>
                <a:bodyPr lIns="108000" tIns="108000" rIns="108000" bIns="108000"/>
                <a:lstStyle/>
                <a:p>
                  <a:pPr>
                    <a:spcAft>
                      <a:spcPct val="40000"/>
                    </a:spcAft>
                  </a:pPr>
                  <a:r>
                    <a:rPr lang="de-DE" sz="1200" cap="all" noProof="1">
                      <a:solidFill>
                        <a:schemeClr val="accent1"/>
                      </a:solidFill>
                      <a:latin typeface="+mj-lt"/>
                    </a:rPr>
                    <a:t>Society</a:t>
                  </a:r>
                </a:p>
                <a:p>
                  <a:pPr marL="132160" indent="-132160"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Urbanisation</a:t>
                  </a:r>
                  <a:endParaRPr lang="de-DE" sz="1050" cap="small" noProof="1">
                    <a:solidFill>
                      <a:schemeClr val="bg2">
                        <a:lumMod val="75000"/>
                      </a:schemeClr>
                    </a:solidFill>
                    <a:latin typeface="+mj-lt"/>
                  </a:endParaRP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Shareconomy</a:t>
                  </a: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Environmental awareness</a:t>
                  </a:r>
                  <a:endParaRPr lang="de-DE" sz="1000" cap="small" noProof="1">
                    <a:solidFill>
                      <a:schemeClr val="bg2">
                        <a:lumMod val="75000"/>
                      </a:schemeClr>
                    </a:solidFill>
                    <a:latin typeface="+mj-lt"/>
                  </a:endParaRP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Fast pace</a:t>
                  </a:r>
                  <a:r>
                    <a:rPr lang="ru-RU" sz="1050" cap="small" noProof="1">
                      <a:latin typeface="+mj-lt"/>
                    </a:rPr>
                    <a:t> </a:t>
                  </a:r>
                  <a:endParaRPr lang="de-DE" sz="1000" cap="small" noProof="1">
                    <a:solidFill>
                      <a:schemeClr val="bg2">
                        <a:lumMod val="75000"/>
                      </a:schemeClr>
                    </a:solidFill>
                    <a:latin typeface="+mj-lt"/>
                  </a:endParaRP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j-lt"/>
                    </a:rPr>
                    <a:t>Pluralization/complexity</a:t>
                  </a:r>
                  <a:endParaRPr lang="de-DE" sz="1000" cap="small" noProof="1">
                    <a:solidFill>
                      <a:schemeClr val="bg2">
                        <a:lumMod val="75000"/>
                      </a:schemeClr>
                    </a:solidFill>
                    <a:latin typeface="+mj-lt"/>
                  </a:endParaRPr>
                </a:p>
                <a:p>
                  <a:pPr>
                    <a:spcAft>
                      <a:spcPts val="0"/>
                    </a:spcAft>
                  </a:pPr>
                  <a:endParaRPr lang="de-DE" sz="1050" cap="small" noProof="1">
                    <a:latin typeface="+mj-lt"/>
                  </a:endParaRPr>
                </a:p>
              </p:txBody>
            </p:sp>
            <p:sp>
              <p:nvSpPr>
                <p:cNvPr id="28" name="Line 56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 flipV="1">
                  <a:off x="479522" y="1557338"/>
                  <a:ext cx="7465" cy="2238440"/>
                </a:xfrm>
                <a:prstGeom prst="line">
                  <a:avLst/>
                </a:prstGeom>
                <a:grp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de-DE" dirty="0"/>
                </a:p>
              </p:txBody>
            </p:sp>
          </p:grpSp>
          <p:pic>
            <p:nvPicPr>
              <p:cNvPr id="3" name="Grafik 2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12088" y="1538943"/>
                <a:ext cx="2739600" cy="772317"/>
              </a:xfrm>
              <a:prstGeom prst="rect">
                <a:avLst/>
              </a:prstGeom>
            </p:spPr>
          </p:pic>
        </p:grpSp>
        <p:grpSp>
          <p:nvGrpSpPr>
            <p:cNvPr id="12" name="Gruppieren 11"/>
            <p:cNvGrpSpPr/>
            <p:nvPr/>
          </p:nvGrpSpPr>
          <p:grpSpPr>
            <a:xfrm>
              <a:off x="7883295" y="4107967"/>
              <a:ext cx="2533182" cy="1535281"/>
              <a:chOff x="8479061" y="4334287"/>
              <a:chExt cx="3377577" cy="2047041"/>
            </a:xfrm>
          </p:grpSpPr>
          <p:grpSp>
            <p:nvGrpSpPr>
              <p:cNvPr id="14" name="Gruppieren 13"/>
              <p:cNvGrpSpPr/>
              <p:nvPr/>
            </p:nvGrpSpPr>
            <p:grpSpPr>
              <a:xfrm>
                <a:off x="8479061" y="4334288"/>
                <a:ext cx="3377577" cy="2047040"/>
                <a:chOff x="6335100" y="4111785"/>
                <a:chExt cx="2688805" cy="1821636"/>
              </a:xfrm>
            </p:grpSpPr>
            <p:sp>
              <p:nvSpPr>
                <p:cNvPr id="35" name="Rectangle 51" descr="© INSCALE GmbH, 26.05.2010&#10;http://www.presentationload.com/"/>
                <p:cNvSpPr>
                  <a:spLocks noChangeArrowheads="1"/>
                </p:cNvSpPr>
                <p:nvPr/>
              </p:nvSpPr>
              <p:spPr bwMode="gray">
                <a:xfrm>
                  <a:off x="6340867" y="4787051"/>
                  <a:ext cx="2683038" cy="1018212"/>
                </a:xfrm>
                <a:prstGeom prst="rect">
                  <a:avLst/>
                </a:prstGeom>
                <a:noFill/>
                <a:ln w="19050">
                  <a:noFill/>
                  <a:miter lim="800000"/>
                  <a:headEnd/>
                  <a:tailEnd/>
                </a:ln>
                <a:effectLst/>
              </p:spPr>
              <p:txBody>
                <a:bodyPr lIns="108000" tIns="108000" rIns="108000" bIns="108000"/>
                <a:lstStyle/>
                <a:p>
                  <a:pPr>
                    <a:spcAft>
                      <a:spcPct val="40000"/>
                    </a:spcAft>
                  </a:pPr>
                  <a:r>
                    <a:rPr lang="de-DE" sz="1200" cap="all" noProof="1">
                      <a:solidFill>
                        <a:schemeClr val="accent1"/>
                      </a:solidFill>
                      <a:latin typeface="+mj-lt"/>
                    </a:rPr>
                    <a:t>Legislation</a:t>
                  </a:r>
                  <a:endParaRPr lang="de-DE" sz="1100" cap="all" noProof="1">
                    <a:solidFill>
                      <a:schemeClr val="accent1"/>
                    </a:solidFill>
                    <a:latin typeface="+mj-lt"/>
                  </a:endParaRP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BER</a:t>
                  </a: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E/B/S Call</a:t>
                  </a:r>
                </a:p>
                <a:p>
                  <a:pPr marL="132160" indent="-132160">
                    <a:spcAft>
                      <a:spcPts val="0"/>
                    </a:spcAft>
                    <a:buFont typeface="Wingdings" pitchFamily="2" charset="2"/>
                    <a:buChar char="§"/>
                  </a:pPr>
                  <a:r>
                    <a:rPr lang="de-DE" sz="1050" cap="small" noProof="1">
                      <a:latin typeface="+mn-lt"/>
                    </a:rPr>
                    <a:t>CO2 </a:t>
                  </a:r>
                </a:p>
              </p:txBody>
            </p:sp>
            <p:sp>
              <p:nvSpPr>
                <p:cNvPr id="37" name="Line 57" descr="© INSCALE GmbH, 26.05.2010&#10;http://www.presentationload.com/"/>
                <p:cNvSpPr>
                  <a:spLocks noChangeShapeType="1"/>
                </p:cNvSpPr>
                <p:nvPr/>
              </p:nvSpPr>
              <p:spPr bwMode="gray">
                <a:xfrm flipV="1">
                  <a:off x="6335100" y="4111785"/>
                  <a:ext cx="12399" cy="1821636"/>
                </a:xfrm>
                <a:prstGeom prst="line">
                  <a:avLst/>
                </a:prstGeom>
                <a:noFill/>
                <a:ln w="19050">
                  <a:solidFill>
                    <a:srgbClr val="969696"/>
                  </a:solidFill>
                  <a:prstDash val="sysDot"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endParaRPr lang="de-DE" dirty="0"/>
                </a:p>
              </p:txBody>
            </p:sp>
          </p:grpSp>
          <p:pic>
            <p:nvPicPr>
              <p:cNvPr id="1028" name="Picture 4" descr="Bildergebnis für paragraph"/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51367" y="4334287"/>
                <a:ext cx="2847607" cy="78085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194051D4-57C0-4082-8F47-648E73AF6A9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754" t="11136" r="30009" b="33042"/>
            <a:stretch/>
          </p:blipFill>
          <p:spPr>
            <a:xfrm>
              <a:off x="4140801" y="2057533"/>
              <a:ext cx="3534091" cy="3353205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</p:spTree>
    <p:extLst>
      <p:ext uri="{BB962C8B-B14F-4D97-AF65-F5344CB8AC3E}">
        <p14:creationId xmlns:p14="http://schemas.microsoft.com/office/powerpoint/2010/main" val="2834236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" name="Gruppieren 99"/>
          <p:cNvGrpSpPr/>
          <p:nvPr/>
        </p:nvGrpSpPr>
        <p:grpSpPr>
          <a:xfrm>
            <a:off x="539634" y="1124744"/>
            <a:ext cx="11109384" cy="5040560"/>
            <a:chOff x="538840" y="1553335"/>
            <a:chExt cx="11109384" cy="4246216"/>
          </a:xfrm>
        </p:grpSpPr>
        <p:grpSp>
          <p:nvGrpSpPr>
            <p:cNvPr id="93" name="Gruppieren 92"/>
            <p:cNvGrpSpPr/>
            <p:nvPr/>
          </p:nvGrpSpPr>
          <p:grpSpPr>
            <a:xfrm>
              <a:off x="538840" y="1553335"/>
              <a:ext cx="11109384" cy="522762"/>
              <a:chOff x="538840" y="1553335"/>
              <a:chExt cx="11109384" cy="522762"/>
            </a:xfrm>
          </p:grpSpPr>
          <p:sp>
            <p:nvSpPr>
              <p:cNvPr id="59" name="Rechteck 58"/>
              <p:cNvSpPr/>
              <p:nvPr/>
            </p:nvSpPr>
            <p:spPr bwMode="auto">
              <a:xfrm>
                <a:off x="538840" y="1553335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1</a:t>
                </a: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1362173" y="1553335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What influences the Aftermarket today? </a:t>
                </a:r>
              </a:p>
            </p:txBody>
          </p:sp>
        </p:grpSp>
        <p:grpSp>
          <p:nvGrpSpPr>
            <p:cNvPr id="94" name="Gruppieren 93"/>
            <p:cNvGrpSpPr/>
            <p:nvPr/>
          </p:nvGrpSpPr>
          <p:grpSpPr>
            <a:xfrm>
              <a:off x="538840" y="2162734"/>
              <a:ext cx="11109384" cy="522762"/>
              <a:chOff x="538840" y="2162734"/>
              <a:chExt cx="11109384" cy="522762"/>
            </a:xfrm>
          </p:grpSpPr>
          <p:sp>
            <p:nvSpPr>
              <p:cNvPr id="61" name="Rechteck 60"/>
              <p:cNvSpPr/>
              <p:nvPr/>
            </p:nvSpPr>
            <p:spPr bwMode="auto">
              <a:xfrm>
                <a:off x="538840" y="2162734"/>
                <a:ext cx="735920" cy="5227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2</a:t>
                </a: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1362173" y="2162734"/>
                <a:ext cx="10286051" cy="522762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solidFill>
                      <a:schemeClr val="bg1"/>
                    </a:solidFill>
                    <a:latin typeface="+mn-lt"/>
                  </a:rPr>
                  <a:t>Aftermarket Facts &amp; Figures</a:t>
                </a:r>
              </a:p>
            </p:txBody>
          </p:sp>
        </p:grpSp>
        <p:grpSp>
          <p:nvGrpSpPr>
            <p:cNvPr id="99" name="Gruppieren 98"/>
            <p:cNvGrpSpPr/>
            <p:nvPr/>
          </p:nvGrpSpPr>
          <p:grpSpPr>
            <a:xfrm>
              <a:off x="538840" y="5276789"/>
              <a:ext cx="11109384" cy="522762"/>
              <a:chOff x="538840" y="5276789"/>
              <a:chExt cx="11109384" cy="522762"/>
            </a:xfrm>
          </p:grpSpPr>
          <p:sp>
            <p:nvSpPr>
              <p:cNvPr id="76" name="Rechteck 75"/>
              <p:cNvSpPr/>
              <p:nvPr/>
            </p:nvSpPr>
            <p:spPr bwMode="auto">
              <a:xfrm>
                <a:off x="538840" y="5276789"/>
                <a:ext cx="735920" cy="522762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31" tIns="45715" rIns="91431" bIns="45715" numCol="1" anchor="ctr" anchorCtr="0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2400" dirty="0">
                    <a:solidFill>
                      <a:srgbClr val="F3F6F7"/>
                    </a:solidFill>
                    <a:latin typeface="+mn-lt"/>
                  </a:rPr>
                  <a:t>4</a:t>
                </a: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1362173" y="5276789"/>
                <a:ext cx="10286051" cy="522762"/>
              </a:xfrm>
              <a:prstGeom prst="rect">
                <a:avLst/>
              </a:prstGeom>
              <a:solidFill>
                <a:srgbClr val="E6E6E6"/>
              </a:solidFill>
              <a:ln>
                <a:noFill/>
              </a:ln>
            </p:spPr>
            <p:txBody>
              <a:bodyPr vert="horz" wrap="none" lIns="360000" tIns="126000" rIns="288000" bIns="12600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2400" noProof="1">
                    <a:latin typeface="+mn-lt"/>
                  </a:rPr>
                  <a:t>Conclusions &amp; Outlook</a:t>
                </a:r>
              </a:p>
            </p:txBody>
          </p:sp>
        </p:grp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F3CDFB15-B7EF-418A-B4F3-5FDFD6E77ACB}"/>
              </a:ext>
            </a:extLst>
          </p:cNvPr>
          <p:cNvSpPr/>
          <p:nvPr/>
        </p:nvSpPr>
        <p:spPr bwMode="auto">
          <a:xfrm>
            <a:off x="1362967" y="2690673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Europe G5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39872BA9-7E32-49CE-936C-CAD1B2C0929E}"/>
              </a:ext>
            </a:extLst>
          </p:cNvPr>
          <p:cNvSpPr/>
          <p:nvPr/>
        </p:nvSpPr>
        <p:spPr bwMode="auto">
          <a:xfrm>
            <a:off x="1362967" y="3418014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Turkey</a:t>
            </a: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085B0F4D-14D8-4E81-B9C7-66690829F861}"/>
              </a:ext>
            </a:extLst>
          </p:cNvPr>
          <p:cNvSpPr/>
          <p:nvPr/>
        </p:nvSpPr>
        <p:spPr bwMode="auto">
          <a:xfrm>
            <a:off x="1362967" y="4161314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Russia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621B462E-5543-49CB-8351-F767A84FC3DD}"/>
              </a:ext>
            </a:extLst>
          </p:cNvPr>
          <p:cNvSpPr/>
          <p:nvPr/>
        </p:nvSpPr>
        <p:spPr bwMode="auto">
          <a:xfrm>
            <a:off x="1362967" y="4905208"/>
            <a:ext cx="10286051" cy="35999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txBody>
          <a:bodyPr vert="horz" wrap="none" lIns="360000" tIns="126000" rIns="288000" bIns="12600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noProof="1">
                <a:latin typeface="+mn-lt"/>
              </a:rPr>
              <a:t>Africa</a:t>
            </a:r>
          </a:p>
        </p:txBody>
      </p:sp>
    </p:spTree>
    <p:extLst>
      <p:ext uri="{BB962C8B-B14F-4D97-AF65-F5344CB8AC3E}">
        <p14:creationId xmlns:p14="http://schemas.microsoft.com/office/powerpoint/2010/main" val="3662430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cap="small" dirty="0"/>
              <a:t>Global </a:t>
            </a:r>
            <a:r>
              <a:rPr lang="de-DE" cap="small" dirty="0" err="1"/>
              <a:t>view</a:t>
            </a:r>
            <a:r>
              <a:rPr lang="de-DE" cap="small" dirty="0"/>
              <a:t> on </a:t>
            </a:r>
            <a:r>
              <a:rPr lang="de-DE" dirty="0" err="1"/>
              <a:t>vehicle</a:t>
            </a:r>
            <a:r>
              <a:rPr lang="de-DE" dirty="0"/>
              <a:t> park – </a:t>
            </a:r>
            <a:r>
              <a:rPr lang="de-DE" cap="small" dirty="0" err="1"/>
              <a:t>forecast</a:t>
            </a:r>
            <a:endParaRPr lang="de-DE" cap="small" dirty="0"/>
          </a:p>
        </p:txBody>
      </p:sp>
      <p:graphicFrame>
        <p:nvGraphicFramePr>
          <p:cNvPr id="3" name="Diagram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8045897"/>
              </p:ext>
            </p:extLst>
          </p:nvPr>
        </p:nvGraphicFramePr>
        <p:xfrm>
          <a:off x="695400" y="1052736"/>
          <a:ext cx="10089912" cy="2880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7761312" y="6224205"/>
            <a:ext cx="4430688" cy="219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 sz="825" kern="0" dirty="0">
                <a:solidFill>
                  <a:sysClr val="windowText" lastClr="000000"/>
                </a:solidFill>
                <a:latin typeface="DIN Next LT Pro"/>
              </a:rPr>
              <a:t>Evolution vehicles in operation below 7.5 tons. </a:t>
            </a:r>
            <a:r>
              <a:rPr lang="de-DE" sz="825" kern="0" dirty="0">
                <a:solidFill>
                  <a:sysClr val="windowText" lastClr="000000"/>
                </a:solidFill>
                <a:latin typeface="DIN Next LT Pro"/>
              </a:rPr>
              <a:t>Source: </a:t>
            </a:r>
            <a:r>
              <a:rPr lang="de-DE" sz="825" kern="0" dirty="0" err="1">
                <a:solidFill>
                  <a:sysClr val="windowText" lastClr="000000"/>
                </a:solidFill>
                <a:latin typeface="DIN Next LT Pro"/>
              </a:rPr>
              <a:t>Tec</a:t>
            </a:r>
            <a:r>
              <a:rPr lang="de-DE" sz="825" kern="0" dirty="0">
                <a:solidFill>
                  <a:sysClr val="windowText" lastClr="000000"/>
                </a:solidFill>
                <a:latin typeface="DIN Next LT Pro"/>
              </a:rPr>
              <a:t> Alliance, </a:t>
            </a:r>
            <a:r>
              <a:rPr lang="de-DE" sz="825" kern="0" dirty="0" err="1">
                <a:solidFill>
                  <a:sysClr val="windowText" lastClr="000000"/>
                </a:solidFill>
                <a:latin typeface="DIN Next LT Pro"/>
              </a:rPr>
              <a:t>wolk</a:t>
            </a:r>
            <a:r>
              <a:rPr lang="de-DE" sz="825" kern="0" dirty="0">
                <a:solidFill>
                  <a:sysClr val="windowText" lastClr="000000"/>
                </a:solidFill>
                <a:latin typeface="DIN Next LT Pro"/>
              </a:rPr>
              <a:t> after </a:t>
            </a:r>
            <a:r>
              <a:rPr lang="de-DE" sz="825" kern="0" dirty="0" err="1">
                <a:solidFill>
                  <a:sysClr val="windowText" lastClr="000000"/>
                </a:solidFill>
                <a:latin typeface="DIN Next LT Pro"/>
              </a:rPr>
              <a:t>sales</a:t>
            </a:r>
            <a:r>
              <a:rPr lang="de-DE" sz="825" kern="0" dirty="0">
                <a:solidFill>
                  <a:sysClr val="windowText" lastClr="000000"/>
                </a:solidFill>
                <a:latin typeface="DIN Next LT Pro"/>
              </a:rPr>
              <a:t> </a:t>
            </a:r>
            <a:r>
              <a:rPr lang="de-DE" sz="825" kern="0" dirty="0" err="1">
                <a:solidFill>
                  <a:sysClr val="windowText" lastClr="000000"/>
                </a:solidFill>
                <a:latin typeface="DIN Next LT Pro"/>
              </a:rPr>
              <a:t>experts</a:t>
            </a:r>
            <a:endParaRPr lang="de-DE" sz="825" kern="0" dirty="0">
              <a:solidFill>
                <a:sysClr val="windowText" lastClr="000000"/>
              </a:solidFill>
              <a:latin typeface="DIN Next LT Pro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10785312" y="1731223"/>
            <a:ext cx="128735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cap="small" dirty="0">
                <a:solidFill>
                  <a:schemeClr val="accent1"/>
                </a:solidFill>
                <a:latin typeface="+mn-lt"/>
              </a:rPr>
              <a:t>Growth velocity:</a:t>
            </a:r>
          </a:p>
          <a:p>
            <a:r>
              <a:rPr lang="en-US" cap="small" dirty="0">
                <a:solidFill>
                  <a:schemeClr val="accent1"/>
                </a:solidFill>
                <a:latin typeface="+mn-lt"/>
              </a:rPr>
              <a:t>1,3 cars per second</a:t>
            </a:r>
            <a:endParaRPr lang="de-DE" dirty="0">
              <a:solidFill>
                <a:schemeClr val="accent1"/>
              </a:solidFill>
              <a:latin typeface="+mn-lt"/>
            </a:endParaRPr>
          </a:p>
        </p:txBody>
      </p:sp>
      <p:graphicFrame>
        <p:nvGraphicFramePr>
          <p:cNvPr id="6" name="Diagram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36897206"/>
              </p:ext>
            </p:extLst>
          </p:nvPr>
        </p:nvGraphicFramePr>
        <p:xfrm>
          <a:off x="695400" y="4049460"/>
          <a:ext cx="3024336" cy="215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Diagramm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55331177"/>
              </p:ext>
            </p:extLst>
          </p:nvPr>
        </p:nvGraphicFramePr>
        <p:xfrm>
          <a:off x="4264360" y="4073624"/>
          <a:ext cx="2952328" cy="215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Diagramm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5582702"/>
              </p:ext>
            </p:extLst>
          </p:nvPr>
        </p:nvGraphicFramePr>
        <p:xfrm>
          <a:off x="7761312" y="4024773"/>
          <a:ext cx="3024000" cy="21472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2207568" y="5096369"/>
            <a:ext cx="648072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1400" kern="0" dirty="0">
                <a:solidFill>
                  <a:schemeClr val="bg1"/>
                </a:solidFill>
                <a:latin typeface="DIN Next LT Pro"/>
              </a:rPr>
              <a:t>+23</a:t>
            </a: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Next LT Pro"/>
              </a:rPr>
              <a:t>%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743389" y="5137447"/>
            <a:ext cx="648072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Next LT Pro"/>
              </a:rPr>
              <a:t>+39%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9226363" y="5065439"/>
            <a:ext cx="648072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Next LT Pro"/>
              </a:rPr>
              <a:t>+54%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10056440" y="1099064"/>
            <a:ext cx="648072" cy="307777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DIN Next LT Pro"/>
              </a:rPr>
              <a:t>+39%</a:t>
            </a:r>
          </a:p>
        </p:txBody>
      </p:sp>
    </p:spTree>
    <p:extLst>
      <p:ext uri="{BB962C8B-B14F-4D97-AF65-F5344CB8AC3E}">
        <p14:creationId xmlns:p14="http://schemas.microsoft.com/office/powerpoint/2010/main" val="42022571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ine clusters of the European aftermarket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8412CC0-3C0E-468E-9028-94B33EF53445}"/>
              </a:ext>
            </a:extLst>
          </p:cNvPr>
          <p:cNvGrpSpPr/>
          <p:nvPr/>
        </p:nvGrpSpPr>
        <p:grpSpPr>
          <a:xfrm>
            <a:off x="1397096" y="1124744"/>
            <a:ext cx="9397808" cy="4921070"/>
            <a:chOff x="1055440" y="1465040"/>
            <a:chExt cx="9397808" cy="4921070"/>
          </a:xfrm>
        </p:grpSpPr>
        <p:grpSp>
          <p:nvGrpSpPr>
            <p:cNvPr id="822" name="Gruppieren 46"/>
            <p:cNvGrpSpPr/>
            <p:nvPr/>
          </p:nvGrpSpPr>
          <p:grpSpPr>
            <a:xfrm>
              <a:off x="4640325" y="504932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82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2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2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3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3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3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3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3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3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3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3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3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3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4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4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4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4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4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4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4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4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4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4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5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5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5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5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862" name="Gruppieren 46"/>
            <p:cNvGrpSpPr/>
            <p:nvPr/>
          </p:nvGrpSpPr>
          <p:grpSpPr>
            <a:xfrm>
              <a:off x="7871160" y="504932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86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6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6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6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7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7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7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7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7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7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7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7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7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7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8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8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8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8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8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8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8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8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8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8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9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9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9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9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90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90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782" name="Gruppieren 46"/>
            <p:cNvGrpSpPr/>
            <p:nvPr/>
          </p:nvGrpSpPr>
          <p:grpSpPr>
            <a:xfrm>
              <a:off x="1174415" y="504932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78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8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8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9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9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9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9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9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9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9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9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9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9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0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0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0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0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0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0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0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0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0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0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1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1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1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81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82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742" name="Gruppieren 46"/>
            <p:cNvGrpSpPr/>
            <p:nvPr/>
          </p:nvGrpSpPr>
          <p:grpSpPr>
            <a:xfrm>
              <a:off x="7871160" y="342900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74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4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4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5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5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5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5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5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5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5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5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5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5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6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6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6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6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6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6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6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6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6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6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7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7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7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7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8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702" name="Gruppieren 46"/>
            <p:cNvGrpSpPr/>
            <p:nvPr/>
          </p:nvGrpSpPr>
          <p:grpSpPr>
            <a:xfrm>
              <a:off x="4640325" y="342900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70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0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0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1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1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1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1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solidFill>
                <a:srgbClr val="002060"/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1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1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1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71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1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1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2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2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solidFill>
                <a:srgbClr val="002060"/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2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002060"/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2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2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2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2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2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solidFill>
                <a:srgbClr val="002060"/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2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2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3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3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3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73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4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662" name="Gruppieren 46"/>
            <p:cNvGrpSpPr/>
            <p:nvPr/>
          </p:nvGrpSpPr>
          <p:grpSpPr>
            <a:xfrm>
              <a:off x="1174415" y="3429000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66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6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6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7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7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7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7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7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7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7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7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7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7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8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8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8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8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8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8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8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8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8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8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9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9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9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9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70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622" name="Gruppieren 46"/>
            <p:cNvGrpSpPr/>
            <p:nvPr/>
          </p:nvGrpSpPr>
          <p:grpSpPr>
            <a:xfrm>
              <a:off x="7871160" y="1772816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623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24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25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26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27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28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29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30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31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32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3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3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3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3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3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3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3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4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4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4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4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5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5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5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5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6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grpSp>
          <p:nvGrpSpPr>
            <p:cNvPr id="542" name="Gruppieren 46"/>
            <p:cNvGrpSpPr/>
            <p:nvPr/>
          </p:nvGrpSpPr>
          <p:grpSpPr>
            <a:xfrm>
              <a:off x="4639195" y="1772816"/>
              <a:ext cx="1466330" cy="1258508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545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46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47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48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51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52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53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54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55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56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93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94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95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96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597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98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599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00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01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02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03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04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05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06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07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08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09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0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1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2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13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4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5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6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17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18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619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20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621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cxnSp>
          <p:nvCxnSpPr>
            <p:cNvPr id="3" name="Gerade Verbindung 2"/>
            <p:cNvCxnSpPr>
              <a:cxnSpLocks/>
            </p:cNvCxnSpPr>
            <p:nvPr/>
          </p:nvCxnSpPr>
          <p:spPr>
            <a:xfrm>
              <a:off x="1127447" y="1725794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Gerade Verbindung 220"/>
            <p:cNvCxnSpPr>
              <a:cxnSpLocks/>
            </p:cNvCxnSpPr>
            <p:nvPr/>
          </p:nvCxnSpPr>
          <p:spPr>
            <a:xfrm>
              <a:off x="4606425" y="1725794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Gerade Verbindung 222"/>
            <p:cNvCxnSpPr>
              <a:cxnSpLocks/>
            </p:cNvCxnSpPr>
            <p:nvPr/>
          </p:nvCxnSpPr>
          <p:spPr>
            <a:xfrm>
              <a:off x="7896200" y="1725794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7" name="Gruppieren 46"/>
            <p:cNvGrpSpPr/>
            <p:nvPr/>
          </p:nvGrpSpPr>
          <p:grpSpPr>
            <a:xfrm>
              <a:off x="1168103" y="1772816"/>
              <a:ext cx="1465200" cy="1260000"/>
              <a:chOff x="4120455" y="980728"/>
              <a:chExt cx="4844033" cy="3960438"/>
            </a:xfrm>
            <a:solidFill>
              <a:schemeClr val="bg1"/>
            </a:solidFill>
          </p:grpSpPr>
          <p:sp>
            <p:nvSpPr>
              <p:cNvPr id="228" name="Freeform 192"/>
              <p:cNvSpPr>
                <a:spLocks/>
              </p:cNvSpPr>
              <p:nvPr/>
            </p:nvSpPr>
            <p:spPr bwMode="gray">
              <a:xfrm>
                <a:off x="6580522" y="3964883"/>
                <a:ext cx="127352" cy="229643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5" y="13"/>
                  </a:cxn>
                  <a:cxn ang="0">
                    <a:pos x="0" y="18"/>
                  </a:cxn>
                  <a:cxn ang="0">
                    <a:pos x="0" y="36"/>
                  </a:cxn>
                  <a:cxn ang="0">
                    <a:pos x="0" y="40"/>
                  </a:cxn>
                  <a:cxn ang="0">
                    <a:pos x="0" y="45"/>
                  </a:cxn>
                  <a:cxn ang="0">
                    <a:pos x="5" y="54"/>
                  </a:cxn>
                  <a:cxn ang="0">
                    <a:pos x="5" y="58"/>
                  </a:cxn>
                  <a:cxn ang="0">
                    <a:pos x="9" y="63"/>
                  </a:cxn>
                  <a:cxn ang="0">
                    <a:pos x="14" y="63"/>
                  </a:cxn>
                  <a:cxn ang="0">
                    <a:pos x="14" y="54"/>
                  </a:cxn>
                  <a:cxn ang="0">
                    <a:pos x="27" y="40"/>
                  </a:cxn>
                  <a:cxn ang="0">
                    <a:pos x="18" y="36"/>
                  </a:cxn>
                  <a:cxn ang="0">
                    <a:pos x="18" y="13"/>
                  </a:cxn>
                  <a:cxn ang="0">
                    <a:pos x="14" y="13"/>
                  </a:cxn>
                  <a:cxn ang="0">
                    <a:pos x="14" y="5"/>
                  </a:cxn>
                  <a:cxn ang="0">
                    <a:pos x="5" y="0"/>
                  </a:cxn>
                  <a:cxn ang="0">
                    <a:pos x="0" y="13"/>
                  </a:cxn>
                </a:cxnLst>
                <a:rect l="0" t="0" r="r" b="b"/>
                <a:pathLst>
                  <a:path w="27" h="63">
                    <a:moveTo>
                      <a:pt x="0" y="13"/>
                    </a:moveTo>
                    <a:lnTo>
                      <a:pt x="5" y="13"/>
                    </a:lnTo>
                    <a:lnTo>
                      <a:pt x="0" y="18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45"/>
                    </a:lnTo>
                    <a:lnTo>
                      <a:pt x="5" y="54"/>
                    </a:lnTo>
                    <a:lnTo>
                      <a:pt x="5" y="58"/>
                    </a:lnTo>
                    <a:lnTo>
                      <a:pt x="9" y="63"/>
                    </a:lnTo>
                    <a:lnTo>
                      <a:pt x="14" y="63"/>
                    </a:lnTo>
                    <a:lnTo>
                      <a:pt x="14" y="54"/>
                    </a:lnTo>
                    <a:lnTo>
                      <a:pt x="27" y="40"/>
                    </a:lnTo>
                    <a:lnTo>
                      <a:pt x="18" y="36"/>
                    </a:lnTo>
                    <a:lnTo>
                      <a:pt x="18" y="13"/>
                    </a:lnTo>
                    <a:lnTo>
                      <a:pt x="14" y="13"/>
                    </a:lnTo>
                    <a:lnTo>
                      <a:pt x="14" y="5"/>
                    </a:lnTo>
                    <a:lnTo>
                      <a:pt x="5" y="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29" name="Freeform 193"/>
              <p:cNvSpPr>
                <a:spLocks/>
              </p:cNvSpPr>
              <p:nvPr/>
            </p:nvSpPr>
            <p:spPr bwMode="gray">
              <a:xfrm>
                <a:off x="5931337" y="3476742"/>
                <a:ext cx="503196" cy="210406"/>
              </a:xfrm>
              <a:custGeom>
                <a:avLst/>
                <a:gdLst/>
                <a:ahLst/>
                <a:cxnLst>
                  <a:cxn ang="0">
                    <a:pos x="0" y="31"/>
                  </a:cxn>
                  <a:cxn ang="0">
                    <a:pos x="0" y="45"/>
                  </a:cxn>
                  <a:cxn ang="0">
                    <a:pos x="0" y="49"/>
                  </a:cxn>
                  <a:cxn ang="0">
                    <a:pos x="9" y="45"/>
                  </a:cxn>
                  <a:cxn ang="0">
                    <a:pos x="9" y="49"/>
                  </a:cxn>
                  <a:cxn ang="0">
                    <a:pos x="18" y="49"/>
                  </a:cxn>
                  <a:cxn ang="0">
                    <a:pos x="22" y="45"/>
                  </a:cxn>
                  <a:cxn ang="0">
                    <a:pos x="36" y="45"/>
                  </a:cxn>
                  <a:cxn ang="0">
                    <a:pos x="40" y="54"/>
                  </a:cxn>
                  <a:cxn ang="0">
                    <a:pos x="54" y="58"/>
                  </a:cxn>
                  <a:cxn ang="0">
                    <a:pos x="67" y="58"/>
                  </a:cxn>
                  <a:cxn ang="0">
                    <a:pos x="76" y="54"/>
                  </a:cxn>
                  <a:cxn ang="0">
                    <a:pos x="89" y="49"/>
                  </a:cxn>
                  <a:cxn ang="0">
                    <a:pos x="94" y="45"/>
                  </a:cxn>
                  <a:cxn ang="0">
                    <a:pos x="94" y="40"/>
                  </a:cxn>
                  <a:cxn ang="0">
                    <a:pos x="94" y="36"/>
                  </a:cxn>
                  <a:cxn ang="0">
                    <a:pos x="94" y="31"/>
                  </a:cxn>
                  <a:cxn ang="0">
                    <a:pos x="103" y="31"/>
                  </a:cxn>
                  <a:cxn ang="0">
                    <a:pos x="107" y="22"/>
                  </a:cxn>
                  <a:cxn ang="0">
                    <a:pos x="107" y="18"/>
                  </a:cxn>
                  <a:cxn ang="0">
                    <a:pos x="107" y="13"/>
                  </a:cxn>
                  <a:cxn ang="0">
                    <a:pos x="103" y="13"/>
                  </a:cxn>
                  <a:cxn ang="0">
                    <a:pos x="98" y="13"/>
                  </a:cxn>
                  <a:cxn ang="0">
                    <a:pos x="98" y="4"/>
                  </a:cxn>
                  <a:cxn ang="0">
                    <a:pos x="76" y="0"/>
                  </a:cxn>
                  <a:cxn ang="0">
                    <a:pos x="67" y="9"/>
                  </a:cxn>
                  <a:cxn ang="0">
                    <a:pos x="58" y="9"/>
                  </a:cxn>
                  <a:cxn ang="0">
                    <a:pos x="54" y="13"/>
                  </a:cxn>
                  <a:cxn ang="0">
                    <a:pos x="45" y="18"/>
                  </a:cxn>
                  <a:cxn ang="0">
                    <a:pos x="40" y="22"/>
                  </a:cxn>
                  <a:cxn ang="0">
                    <a:pos x="49" y="27"/>
                  </a:cxn>
                  <a:cxn ang="0">
                    <a:pos x="45" y="36"/>
                  </a:cxn>
                  <a:cxn ang="0">
                    <a:pos x="40" y="31"/>
                  </a:cxn>
                  <a:cxn ang="0">
                    <a:pos x="22" y="36"/>
                  </a:cxn>
                  <a:cxn ang="0">
                    <a:pos x="0" y="31"/>
                  </a:cxn>
                </a:cxnLst>
                <a:rect l="0" t="0" r="r" b="b"/>
                <a:pathLst>
                  <a:path w="107" h="58">
                    <a:moveTo>
                      <a:pt x="0" y="31"/>
                    </a:moveTo>
                    <a:lnTo>
                      <a:pt x="0" y="45"/>
                    </a:lnTo>
                    <a:lnTo>
                      <a:pt x="0" y="49"/>
                    </a:lnTo>
                    <a:lnTo>
                      <a:pt x="9" y="45"/>
                    </a:lnTo>
                    <a:lnTo>
                      <a:pt x="9" y="49"/>
                    </a:lnTo>
                    <a:lnTo>
                      <a:pt x="18" y="49"/>
                    </a:lnTo>
                    <a:lnTo>
                      <a:pt x="22" y="45"/>
                    </a:lnTo>
                    <a:lnTo>
                      <a:pt x="36" y="45"/>
                    </a:lnTo>
                    <a:lnTo>
                      <a:pt x="40" y="54"/>
                    </a:lnTo>
                    <a:lnTo>
                      <a:pt x="54" y="58"/>
                    </a:lnTo>
                    <a:lnTo>
                      <a:pt x="67" y="58"/>
                    </a:lnTo>
                    <a:lnTo>
                      <a:pt x="76" y="54"/>
                    </a:lnTo>
                    <a:lnTo>
                      <a:pt x="89" y="49"/>
                    </a:lnTo>
                    <a:lnTo>
                      <a:pt x="94" y="45"/>
                    </a:lnTo>
                    <a:lnTo>
                      <a:pt x="94" y="40"/>
                    </a:lnTo>
                    <a:lnTo>
                      <a:pt x="94" y="36"/>
                    </a:lnTo>
                    <a:lnTo>
                      <a:pt x="94" y="31"/>
                    </a:lnTo>
                    <a:lnTo>
                      <a:pt x="103" y="31"/>
                    </a:lnTo>
                    <a:lnTo>
                      <a:pt x="107" y="22"/>
                    </a:lnTo>
                    <a:lnTo>
                      <a:pt x="107" y="18"/>
                    </a:lnTo>
                    <a:lnTo>
                      <a:pt x="107" y="13"/>
                    </a:lnTo>
                    <a:lnTo>
                      <a:pt x="103" y="13"/>
                    </a:lnTo>
                    <a:lnTo>
                      <a:pt x="98" y="13"/>
                    </a:lnTo>
                    <a:lnTo>
                      <a:pt x="98" y="4"/>
                    </a:lnTo>
                    <a:lnTo>
                      <a:pt x="76" y="0"/>
                    </a:lnTo>
                    <a:lnTo>
                      <a:pt x="67" y="9"/>
                    </a:lnTo>
                    <a:lnTo>
                      <a:pt x="58" y="9"/>
                    </a:lnTo>
                    <a:lnTo>
                      <a:pt x="54" y="13"/>
                    </a:lnTo>
                    <a:lnTo>
                      <a:pt x="45" y="18"/>
                    </a:lnTo>
                    <a:lnTo>
                      <a:pt x="40" y="22"/>
                    </a:lnTo>
                    <a:lnTo>
                      <a:pt x="49" y="27"/>
                    </a:lnTo>
                    <a:lnTo>
                      <a:pt x="45" y="36"/>
                    </a:lnTo>
                    <a:lnTo>
                      <a:pt x="40" y="31"/>
                    </a:lnTo>
                    <a:lnTo>
                      <a:pt x="22" y="36"/>
                    </a:lnTo>
                    <a:lnTo>
                      <a:pt x="0" y="31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0" name="Freeform 194"/>
              <p:cNvSpPr>
                <a:spLocks/>
              </p:cNvSpPr>
              <p:nvPr/>
            </p:nvSpPr>
            <p:spPr bwMode="gray">
              <a:xfrm>
                <a:off x="5443672" y="3262729"/>
                <a:ext cx="274894" cy="180348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9" y="22"/>
                  </a:cxn>
                  <a:cxn ang="0">
                    <a:pos x="14" y="22"/>
                  </a:cxn>
                  <a:cxn ang="0">
                    <a:pos x="18" y="27"/>
                  </a:cxn>
                  <a:cxn ang="0">
                    <a:pos x="23" y="27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36" y="31"/>
                  </a:cxn>
                  <a:cxn ang="0">
                    <a:pos x="32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9" y="49"/>
                  </a:cxn>
                  <a:cxn ang="0">
                    <a:pos x="49" y="45"/>
                  </a:cxn>
                  <a:cxn ang="0">
                    <a:pos x="49" y="36"/>
                  </a:cxn>
                  <a:cxn ang="0">
                    <a:pos x="54" y="36"/>
                  </a:cxn>
                  <a:cxn ang="0">
                    <a:pos x="58" y="27"/>
                  </a:cxn>
                  <a:cxn ang="0">
                    <a:pos x="54" y="18"/>
                  </a:cxn>
                  <a:cxn ang="0">
                    <a:pos x="49" y="18"/>
                  </a:cxn>
                  <a:cxn ang="0">
                    <a:pos x="49" y="13"/>
                  </a:cxn>
                  <a:cxn ang="0">
                    <a:pos x="45" y="9"/>
                  </a:cxn>
                  <a:cxn ang="0">
                    <a:pos x="36" y="9"/>
                  </a:cxn>
                  <a:cxn ang="0">
                    <a:pos x="27" y="0"/>
                  </a:cxn>
                  <a:cxn ang="0">
                    <a:pos x="23" y="9"/>
                  </a:cxn>
                  <a:cxn ang="0">
                    <a:pos x="18" y="9"/>
                  </a:cxn>
                  <a:cxn ang="0">
                    <a:pos x="9" y="9"/>
                  </a:cxn>
                  <a:cxn ang="0">
                    <a:pos x="9" y="4"/>
                  </a:cxn>
                  <a:cxn ang="0">
                    <a:pos x="5" y="4"/>
                  </a:cxn>
                  <a:cxn ang="0">
                    <a:pos x="0" y="9"/>
                  </a:cxn>
                </a:cxnLst>
                <a:rect l="0" t="0" r="r" b="b"/>
                <a:pathLst>
                  <a:path w="58" h="49">
                    <a:moveTo>
                      <a:pt x="0" y="9"/>
                    </a:moveTo>
                    <a:lnTo>
                      <a:pt x="9" y="22"/>
                    </a:lnTo>
                    <a:lnTo>
                      <a:pt x="14" y="22"/>
                    </a:lnTo>
                    <a:lnTo>
                      <a:pt x="18" y="27"/>
                    </a:lnTo>
                    <a:lnTo>
                      <a:pt x="23" y="27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36" y="31"/>
                    </a:lnTo>
                    <a:lnTo>
                      <a:pt x="32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9" y="49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54" y="36"/>
                    </a:lnTo>
                    <a:lnTo>
                      <a:pt x="58" y="27"/>
                    </a:lnTo>
                    <a:lnTo>
                      <a:pt x="54" y="18"/>
                    </a:lnTo>
                    <a:lnTo>
                      <a:pt x="49" y="18"/>
                    </a:lnTo>
                    <a:lnTo>
                      <a:pt x="49" y="13"/>
                    </a:lnTo>
                    <a:lnTo>
                      <a:pt x="45" y="9"/>
                    </a:lnTo>
                    <a:lnTo>
                      <a:pt x="36" y="9"/>
                    </a:lnTo>
                    <a:lnTo>
                      <a:pt x="27" y="0"/>
                    </a:lnTo>
                    <a:lnTo>
                      <a:pt x="23" y="9"/>
                    </a:lnTo>
                    <a:lnTo>
                      <a:pt x="18" y="9"/>
                    </a:lnTo>
                    <a:lnTo>
                      <a:pt x="9" y="9"/>
                    </a:lnTo>
                    <a:lnTo>
                      <a:pt x="9" y="4"/>
                    </a:lnTo>
                    <a:lnTo>
                      <a:pt x="5" y="4"/>
                    </a:lnTo>
                    <a:lnTo>
                      <a:pt x="0" y="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1" name="Freeform 195"/>
              <p:cNvSpPr>
                <a:spLocks/>
              </p:cNvSpPr>
              <p:nvPr/>
            </p:nvSpPr>
            <p:spPr bwMode="gray">
              <a:xfrm>
                <a:off x="6308734" y="3768905"/>
                <a:ext cx="271788" cy="180348"/>
              </a:xfrm>
              <a:custGeom>
                <a:avLst/>
                <a:gdLst/>
                <a:ahLst/>
                <a:cxnLst>
                  <a:cxn ang="0">
                    <a:pos x="32" y="45"/>
                  </a:cxn>
                  <a:cxn ang="0">
                    <a:pos x="32" y="45"/>
                  </a:cxn>
                  <a:cxn ang="0">
                    <a:pos x="36" y="45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50"/>
                  </a:cxn>
                  <a:cxn ang="0">
                    <a:pos x="45" y="45"/>
                  </a:cxn>
                  <a:cxn ang="0">
                    <a:pos x="45" y="45"/>
                  </a:cxn>
                  <a:cxn ang="0">
                    <a:pos x="45" y="41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6"/>
                  </a:cxn>
                  <a:cxn ang="0">
                    <a:pos x="50" y="32"/>
                  </a:cxn>
                  <a:cxn ang="0">
                    <a:pos x="54" y="32"/>
                  </a:cxn>
                  <a:cxn ang="0">
                    <a:pos x="58" y="27"/>
                  </a:cxn>
                  <a:cxn ang="0">
                    <a:pos x="54" y="23"/>
                  </a:cxn>
                  <a:cxn ang="0">
                    <a:pos x="58" y="23"/>
                  </a:cxn>
                  <a:cxn ang="0">
                    <a:pos x="58" y="23"/>
                  </a:cxn>
                  <a:cxn ang="0">
                    <a:pos x="50" y="18"/>
                  </a:cxn>
                  <a:cxn ang="0">
                    <a:pos x="50" y="14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0" y="5"/>
                  </a:cxn>
                  <a:cxn ang="0">
                    <a:pos x="45" y="5"/>
                  </a:cxn>
                  <a:cxn ang="0">
                    <a:pos x="45" y="5"/>
                  </a:cxn>
                  <a:cxn ang="0">
                    <a:pos x="41" y="0"/>
                  </a:cxn>
                  <a:cxn ang="0">
                    <a:pos x="36" y="0"/>
                  </a:cxn>
                  <a:cxn ang="0">
                    <a:pos x="32" y="5"/>
                  </a:cxn>
                  <a:cxn ang="0">
                    <a:pos x="23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9" y="5"/>
                  </a:cxn>
                  <a:cxn ang="0">
                    <a:pos x="5" y="0"/>
                  </a:cxn>
                  <a:cxn ang="0">
                    <a:pos x="5" y="0"/>
                  </a:cxn>
                  <a:cxn ang="0">
                    <a:pos x="0" y="9"/>
                  </a:cxn>
                  <a:cxn ang="0">
                    <a:pos x="5" y="9"/>
                  </a:cxn>
                  <a:cxn ang="0">
                    <a:pos x="9" y="18"/>
                  </a:cxn>
                  <a:cxn ang="0">
                    <a:pos x="9" y="23"/>
                  </a:cxn>
                  <a:cxn ang="0">
                    <a:pos x="23" y="36"/>
                  </a:cxn>
                  <a:cxn ang="0">
                    <a:pos x="27" y="36"/>
                  </a:cxn>
                  <a:cxn ang="0">
                    <a:pos x="27" y="36"/>
                  </a:cxn>
                  <a:cxn ang="0">
                    <a:pos x="32" y="45"/>
                  </a:cxn>
                  <a:cxn ang="0">
                    <a:pos x="32" y="45"/>
                  </a:cxn>
                </a:cxnLst>
                <a:rect l="0" t="0" r="r" b="b"/>
                <a:pathLst>
                  <a:path w="58" h="50">
                    <a:moveTo>
                      <a:pt x="32" y="45"/>
                    </a:moveTo>
                    <a:lnTo>
                      <a:pt x="32" y="45"/>
                    </a:lnTo>
                    <a:lnTo>
                      <a:pt x="36" y="45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50"/>
                    </a:lnTo>
                    <a:lnTo>
                      <a:pt x="45" y="45"/>
                    </a:lnTo>
                    <a:lnTo>
                      <a:pt x="45" y="45"/>
                    </a:lnTo>
                    <a:lnTo>
                      <a:pt x="45" y="41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8" y="27"/>
                    </a:lnTo>
                    <a:lnTo>
                      <a:pt x="54" y="23"/>
                    </a:lnTo>
                    <a:lnTo>
                      <a:pt x="58" y="23"/>
                    </a:lnTo>
                    <a:lnTo>
                      <a:pt x="58" y="23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4" y="9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45" y="5"/>
                    </a:lnTo>
                    <a:lnTo>
                      <a:pt x="41" y="0"/>
                    </a:lnTo>
                    <a:lnTo>
                      <a:pt x="36" y="0"/>
                    </a:lnTo>
                    <a:lnTo>
                      <a:pt x="32" y="5"/>
                    </a:lnTo>
                    <a:lnTo>
                      <a:pt x="23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0" y="9"/>
                    </a:lnTo>
                    <a:lnTo>
                      <a:pt x="5" y="9"/>
                    </a:lnTo>
                    <a:lnTo>
                      <a:pt x="9" y="18"/>
                    </a:lnTo>
                    <a:lnTo>
                      <a:pt x="9" y="23"/>
                    </a:lnTo>
                    <a:lnTo>
                      <a:pt x="23" y="36"/>
                    </a:lnTo>
                    <a:lnTo>
                      <a:pt x="27" y="36"/>
                    </a:lnTo>
                    <a:lnTo>
                      <a:pt x="27" y="36"/>
                    </a:lnTo>
                    <a:lnTo>
                      <a:pt x="32" y="45"/>
                    </a:lnTo>
                    <a:lnTo>
                      <a:pt x="32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2" name="Freeform 196"/>
              <p:cNvSpPr>
                <a:spLocks/>
              </p:cNvSpPr>
              <p:nvPr/>
            </p:nvSpPr>
            <p:spPr bwMode="gray">
              <a:xfrm>
                <a:off x="6771550" y="3833830"/>
                <a:ext cx="422436" cy="229643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18"/>
                  </a:cxn>
                  <a:cxn ang="0">
                    <a:pos x="13" y="27"/>
                  </a:cxn>
                  <a:cxn ang="0">
                    <a:pos x="13" y="32"/>
                  </a:cxn>
                  <a:cxn ang="0">
                    <a:pos x="4" y="36"/>
                  </a:cxn>
                  <a:cxn ang="0">
                    <a:pos x="4" y="45"/>
                  </a:cxn>
                  <a:cxn ang="0">
                    <a:pos x="13" y="49"/>
                  </a:cxn>
                  <a:cxn ang="0">
                    <a:pos x="13" y="63"/>
                  </a:cxn>
                  <a:cxn ang="0">
                    <a:pos x="22" y="63"/>
                  </a:cxn>
                  <a:cxn ang="0">
                    <a:pos x="31" y="58"/>
                  </a:cxn>
                  <a:cxn ang="0">
                    <a:pos x="40" y="63"/>
                  </a:cxn>
                  <a:cxn ang="0">
                    <a:pos x="53" y="63"/>
                  </a:cxn>
                  <a:cxn ang="0">
                    <a:pos x="53" y="54"/>
                  </a:cxn>
                  <a:cxn ang="0">
                    <a:pos x="71" y="45"/>
                  </a:cxn>
                  <a:cxn ang="0">
                    <a:pos x="76" y="49"/>
                  </a:cxn>
                  <a:cxn ang="0">
                    <a:pos x="85" y="49"/>
                  </a:cxn>
                  <a:cxn ang="0">
                    <a:pos x="80" y="36"/>
                  </a:cxn>
                  <a:cxn ang="0">
                    <a:pos x="76" y="36"/>
                  </a:cxn>
                  <a:cxn ang="0">
                    <a:pos x="80" y="32"/>
                  </a:cxn>
                  <a:cxn ang="0">
                    <a:pos x="80" y="18"/>
                  </a:cxn>
                  <a:cxn ang="0">
                    <a:pos x="89" y="18"/>
                  </a:cxn>
                  <a:cxn ang="0">
                    <a:pos x="89" y="14"/>
                  </a:cxn>
                  <a:cxn ang="0">
                    <a:pos x="71" y="5"/>
                  </a:cxn>
                  <a:cxn ang="0">
                    <a:pos x="58" y="9"/>
                  </a:cxn>
                  <a:cxn ang="0">
                    <a:pos x="49" y="18"/>
                  </a:cxn>
                  <a:cxn ang="0">
                    <a:pos x="35" y="18"/>
                  </a:cxn>
                  <a:cxn ang="0">
                    <a:pos x="22" y="14"/>
                  </a:cxn>
                  <a:cxn ang="0">
                    <a:pos x="9" y="9"/>
                  </a:cxn>
                  <a:cxn ang="0">
                    <a:pos x="9" y="0"/>
                  </a:cxn>
                  <a:cxn ang="0">
                    <a:pos x="4" y="0"/>
                  </a:cxn>
                </a:cxnLst>
                <a:rect l="0" t="0" r="r" b="b"/>
                <a:pathLst>
                  <a:path w="89" h="63">
                    <a:moveTo>
                      <a:pt x="4" y="0"/>
                    </a:moveTo>
                    <a:lnTo>
                      <a:pt x="0" y="18"/>
                    </a:lnTo>
                    <a:lnTo>
                      <a:pt x="13" y="27"/>
                    </a:lnTo>
                    <a:lnTo>
                      <a:pt x="13" y="32"/>
                    </a:lnTo>
                    <a:lnTo>
                      <a:pt x="4" y="36"/>
                    </a:lnTo>
                    <a:lnTo>
                      <a:pt x="4" y="45"/>
                    </a:lnTo>
                    <a:lnTo>
                      <a:pt x="13" y="49"/>
                    </a:lnTo>
                    <a:lnTo>
                      <a:pt x="13" y="63"/>
                    </a:lnTo>
                    <a:lnTo>
                      <a:pt x="22" y="63"/>
                    </a:lnTo>
                    <a:lnTo>
                      <a:pt x="31" y="58"/>
                    </a:lnTo>
                    <a:lnTo>
                      <a:pt x="40" y="63"/>
                    </a:lnTo>
                    <a:lnTo>
                      <a:pt x="53" y="63"/>
                    </a:lnTo>
                    <a:lnTo>
                      <a:pt x="53" y="54"/>
                    </a:lnTo>
                    <a:lnTo>
                      <a:pt x="71" y="45"/>
                    </a:lnTo>
                    <a:lnTo>
                      <a:pt x="76" y="49"/>
                    </a:lnTo>
                    <a:lnTo>
                      <a:pt x="85" y="49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80" y="18"/>
                    </a:lnTo>
                    <a:lnTo>
                      <a:pt x="89" y="18"/>
                    </a:lnTo>
                    <a:lnTo>
                      <a:pt x="89" y="14"/>
                    </a:lnTo>
                    <a:lnTo>
                      <a:pt x="71" y="5"/>
                    </a:lnTo>
                    <a:lnTo>
                      <a:pt x="58" y="9"/>
                    </a:lnTo>
                    <a:lnTo>
                      <a:pt x="49" y="18"/>
                    </a:lnTo>
                    <a:lnTo>
                      <a:pt x="35" y="18"/>
                    </a:lnTo>
                    <a:lnTo>
                      <a:pt x="22" y="14"/>
                    </a:lnTo>
                    <a:lnTo>
                      <a:pt x="9" y="9"/>
                    </a:lnTo>
                    <a:lnTo>
                      <a:pt x="9" y="0"/>
                    </a:lnTo>
                    <a:lnTo>
                      <a:pt x="4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33" name="Freeform 197"/>
              <p:cNvSpPr>
                <a:spLocks/>
              </p:cNvSpPr>
              <p:nvPr/>
            </p:nvSpPr>
            <p:spPr bwMode="gray">
              <a:xfrm>
                <a:off x="6833672" y="2856345"/>
                <a:ext cx="632101" cy="440049"/>
              </a:xfrm>
              <a:custGeom>
                <a:avLst/>
                <a:gdLst/>
                <a:ahLst/>
                <a:cxnLst>
                  <a:cxn ang="0">
                    <a:pos x="13" y="116"/>
                  </a:cxn>
                  <a:cxn ang="0">
                    <a:pos x="22" y="103"/>
                  </a:cxn>
                  <a:cxn ang="0">
                    <a:pos x="45" y="112"/>
                  </a:cxn>
                  <a:cxn ang="0">
                    <a:pos x="63" y="112"/>
                  </a:cxn>
                  <a:cxn ang="0">
                    <a:pos x="67" y="116"/>
                  </a:cxn>
                  <a:cxn ang="0">
                    <a:pos x="76" y="112"/>
                  </a:cxn>
                  <a:cxn ang="0">
                    <a:pos x="85" y="112"/>
                  </a:cxn>
                  <a:cxn ang="0">
                    <a:pos x="98" y="116"/>
                  </a:cxn>
                  <a:cxn ang="0">
                    <a:pos x="107" y="116"/>
                  </a:cxn>
                  <a:cxn ang="0">
                    <a:pos x="112" y="99"/>
                  </a:cxn>
                  <a:cxn ang="0">
                    <a:pos x="121" y="94"/>
                  </a:cxn>
                  <a:cxn ang="0">
                    <a:pos x="121" y="76"/>
                  </a:cxn>
                  <a:cxn ang="0">
                    <a:pos x="125" y="81"/>
                  </a:cxn>
                  <a:cxn ang="0">
                    <a:pos x="134" y="72"/>
                  </a:cxn>
                  <a:cxn ang="0">
                    <a:pos x="125" y="63"/>
                  </a:cxn>
                  <a:cxn ang="0">
                    <a:pos x="116" y="54"/>
                  </a:cxn>
                  <a:cxn ang="0">
                    <a:pos x="112" y="45"/>
                  </a:cxn>
                  <a:cxn ang="0">
                    <a:pos x="112" y="31"/>
                  </a:cxn>
                  <a:cxn ang="0">
                    <a:pos x="98" y="9"/>
                  </a:cxn>
                  <a:cxn ang="0">
                    <a:pos x="85" y="5"/>
                  </a:cxn>
                  <a:cxn ang="0">
                    <a:pos x="76" y="0"/>
                  </a:cxn>
                  <a:cxn ang="0">
                    <a:pos x="67" y="0"/>
                  </a:cxn>
                  <a:cxn ang="0">
                    <a:pos x="63" y="9"/>
                  </a:cxn>
                  <a:cxn ang="0">
                    <a:pos x="45" y="18"/>
                  </a:cxn>
                  <a:cxn ang="0">
                    <a:pos x="45" y="23"/>
                  </a:cxn>
                  <a:cxn ang="0">
                    <a:pos x="45" y="27"/>
                  </a:cxn>
                  <a:cxn ang="0">
                    <a:pos x="40" y="31"/>
                  </a:cxn>
                  <a:cxn ang="0">
                    <a:pos x="31" y="45"/>
                  </a:cxn>
                  <a:cxn ang="0">
                    <a:pos x="27" y="49"/>
                  </a:cxn>
                  <a:cxn ang="0">
                    <a:pos x="13" y="49"/>
                  </a:cxn>
                  <a:cxn ang="0">
                    <a:pos x="9" y="72"/>
                  </a:cxn>
                  <a:cxn ang="0">
                    <a:pos x="13" y="90"/>
                  </a:cxn>
                  <a:cxn ang="0">
                    <a:pos x="5" y="103"/>
                  </a:cxn>
                </a:cxnLst>
                <a:rect l="0" t="0" r="r" b="b"/>
                <a:pathLst>
                  <a:path w="134" h="121">
                    <a:moveTo>
                      <a:pt x="5" y="112"/>
                    </a:moveTo>
                    <a:lnTo>
                      <a:pt x="13" y="116"/>
                    </a:lnTo>
                    <a:lnTo>
                      <a:pt x="18" y="107"/>
                    </a:lnTo>
                    <a:lnTo>
                      <a:pt x="22" y="103"/>
                    </a:lnTo>
                    <a:lnTo>
                      <a:pt x="36" y="107"/>
                    </a:lnTo>
                    <a:lnTo>
                      <a:pt x="45" y="112"/>
                    </a:lnTo>
                    <a:lnTo>
                      <a:pt x="58" y="107"/>
                    </a:lnTo>
                    <a:lnTo>
                      <a:pt x="63" y="112"/>
                    </a:lnTo>
                    <a:lnTo>
                      <a:pt x="67" y="121"/>
                    </a:lnTo>
                    <a:lnTo>
                      <a:pt x="67" y="116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5" y="112"/>
                    </a:lnTo>
                    <a:lnTo>
                      <a:pt x="89" y="121"/>
                    </a:lnTo>
                    <a:lnTo>
                      <a:pt x="98" y="116"/>
                    </a:lnTo>
                    <a:lnTo>
                      <a:pt x="107" y="121"/>
                    </a:lnTo>
                    <a:lnTo>
                      <a:pt x="107" y="116"/>
                    </a:lnTo>
                    <a:lnTo>
                      <a:pt x="107" y="112"/>
                    </a:lnTo>
                    <a:lnTo>
                      <a:pt x="112" y="99"/>
                    </a:lnTo>
                    <a:lnTo>
                      <a:pt x="121" y="103"/>
                    </a:lnTo>
                    <a:lnTo>
                      <a:pt x="121" y="94"/>
                    </a:lnTo>
                    <a:lnTo>
                      <a:pt x="116" y="81"/>
                    </a:lnTo>
                    <a:lnTo>
                      <a:pt x="121" y="76"/>
                    </a:lnTo>
                    <a:lnTo>
                      <a:pt x="125" y="81"/>
                    </a:lnTo>
                    <a:lnTo>
                      <a:pt x="125" y="81"/>
                    </a:lnTo>
                    <a:lnTo>
                      <a:pt x="130" y="76"/>
                    </a:lnTo>
                    <a:lnTo>
                      <a:pt x="134" y="72"/>
                    </a:lnTo>
                    <a:lnTo>
                      <a:pt x="130" y="72"/>
                    </a:lnTo>
                    <a:lnTo>
                      <a:pt x="125" y="63"/>
                    </a:lnTo>
                    <a:lnTo>
                      <a:pt x="116" y="67"/>
                    </a:lnTo>
                    <a:lnTo>
                      <a:pt x="116" y="54"/>
                    </a:lnTo>
                    <a:lnTo>
                      <a:pt x="112" y="49"/>
                    </a:lnTo>
                    <a:lnTo>
                      <a:pt x="112" y="45"/>
                    </a:lnTo>
                    <a:lnTo>
                      <a:pt x="112" y="36"/>
                    </a:lnTo>
                    <a:lnTo>
                      <a:pt x="112" y="31"/>
                    </a:lnTo>
                    <a:lnTo>
                      <a:pt x="107" y="18"/>
                    </a:lnTo>
                    <a:lnTo>
                      <a:pt x="98" y="9"/>
                    </a:lnTo>
                    <a:lnTo>
                      <a:pt x="89" y="14"/>
                    </a:lnTo>
                    <a:lnTo>
                      <a:pt x="85" y="5"/>
                    </a:lnTo>
                    <a:lnTo>
                      <a:pt x="76" y="5"/>
                    </a:lnTo>
                    <a:lnTo>
                      <a:pt x="76" y="0"/>
                    </a:lnTo>
                    <a:lnTo>
                      <a:pt x="72" y="0"/>
                    </a:lnTo>
                    <a:lnTo>
                      <a:pt x="67" y="0"/>
                    </a:lnTo>
                    <a:lnTo>
                      <a:pt x="67" y="0"/>
                    </a:lnTo>
                    <a:lnTo>
                      <a:pt x="63" y="9"/>
                    </a:lnTo>
                    <a:lnTo>
                      <a:pt x="58" y="14"/>
                    </a:lnTo>
                    <a:lnTo>
                      <a:pt x="45" y="18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9" y="27"/>
                    </a:lnTo>
                    <a:lnTo>
                      <a:pt x="45" y="27"/>
                    </a:lnTo>
                    <a:lnTo>
                      <a:pt x="45" y="27"/>
                    </a:lnTo>
                    <a:lnTo>
                      <a:pt x="40" y="31"/>
                    </a:lnTo>
                    <a:lnTo>
                      <a:pt x="36" y="40"/>
                    </a:lnTo>
                    <a:lnTo>
                      <a:pt x="31" y="45"/>
                    </a:lnTo>
                    <a:lnTo>
                      <a:pt x="31" y="54"/>
                    </a:lnTo>
                    <a:lnTo>
                      <a:pt x="27" y="49"/>
                    </a:lnTo>
                    <a:lnTo>
                      <a:pt x="22" y="54"/>
                    </a:lnTo>
                    <a:lnTo>
                      <a:pt x="13" y="49"/>
                    </a:lnTo>
                    <a:lnTo>
                      <a:pt x="5" y="58"/>
                    </a:lnTo>
                    <a:lnTo>
                      <a:pt x="9" y="72"/>
                    </a:lnTo>
                    <a:lnTo>
                      <a:pt x="13" y="81"/>
                    </a:lnTo>
                    <a:lnTo>
                      <a:pt x="13" y="90"/>
                    </a:lnTo>
                    <a:lnTo>
                      <a:pt x="0" y="94"/>
                    </a:lnTo>
                    <a:lnTo>
                      <a:pt x="5" y="103"/>
                    </a:lnTo>
                    <a:lnTo>
                      <a:pt x="5" y="11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34" name="Freeform 198"/>
              <p:cNvSpPr>
                <a:spLocks noEditPoints="1"/>
              </p:cNvSpPr>
              <p:nvPr/>
            </p:nvSpPr>
            <p:spPr bwMode="gray">
              <a:xfrm>
                <a:off x="6159639" y="3672720"/>
                <a:ext cx="402246" cy="292163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9" y="35"/>
                  </a:cxn>
                  <a:cxn ang="0">
                    <a:pos x="22" y="31"/>
                  </a:cxn>
                  <a:cxn ang="0">
                    <a:pos x="27" y="44"/>
                  </a:cxn>
                  <a:cxn ang="0">
                    <a:pos x="22" y="53"/>
                  </a:cxn>
                  <a:cxn ang="0">
                    <a:pos x="36" y="62"/>
                  </a:cxn>
                  <a:cxn ang="0">
                    <a:pos x="45" y="67"/>
                  </a:cxn>
                  <a:cxn ang="0">
                    <a:pos x="45" y="62"/>
                  </a:cxn>
                  <a:cxn ang="0">
                    <a:pos x="54" y="67"/>
                  </a:cxn>
                  <a:cxn ang="0">
                    <a:pos x="63" y="71"/>
                  </a:cxn>
                  <a:cxn ang="0">
                    <a:pos x="58" y="62"/>
                  </a:cxn>
                  <a:cxn ang="0">
                    <a:pos x="54" y="62"/>
                  </a:cxn>
                  <a:cxn ang="0">
                    <a:pos x="40" y="44"/>
                  </a:cxn>
                  <a:cxn ang="0">
                    <a:pos x="31" y="35"/>
                  </a:cxn>
                  <a:cxn ang="0">
                    <a:pos x="36" y="26"/>
                  </a:cxn>
                  <a:cxn ang="0">
                    <a:pos x="45" y="26"/>
                  </a:cxn>
                  <a:cxn ang="0">
                    <a:pos x="49" y="26"/>
                  </a:cxn>
                  <a:cxn ang="0">
                    <a:pos x="63" y="31"/>
                  </a:cxn>
                  <a:cxn ang="0">
                    <a:pos x="72" y="26"/>
                  </a:cxn>
                  <a:cxn ang="0">
                    <a:pos x="76" y="31"/>
                  </a:cxn>
                  <a:cxn ang="0">
                    <a:pos x="81" y="26"/>
                  </a:cxn>
                  <a:cxn ang="0">
                    <a:pos x="85" y="22"/>
                  </a:cxn>
                  <a:cxn ang="0">
                    <a:pos x="81" y="22"/>
                  </a:cxn>
                  <a:cxn ang="0">
                    <a:pos x="81" y="18"/>
                  </a:cxn>
                  <a:cxn ang="0">
                    <a:pos x="76" y="13"/>
                  </a:cxn>
                  <a:cxn ang="0">
                    <a:pos x="49" y="13"/>
                  </a:cxn>
                  <a:cxn ang="0">
                    <a:pos x="45" y="4"/>
                  </a:cxn>
                  <a:cxn ang="0">
                    <a:pos x="40" y="0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1" y="9"/>
                  </a:cxn>
                  <a:cxn ang="0">
                    <a:pos x="31" y="13"/>
                  </a:cxn>
                  <a:cxn ang="0">
                    <a:pos x="27" y="22"/>
                  </a:cxn>
                  <a:cxn ang="0">
                    <a:pos x="22" y="22"/>
                  </a:cxn>
                  <a:cxn ang="0">
                    <a:pos x="14" y="22"/>
                  </a:cxn>
                  <a:cxn ang="0">
                    <a:pos x="5" y="22"/>
                  </a:cxn>
                  <a:cxn ang="0">
                    <a:pos x="63" y="71"/>
                  </a:cxn>
                  <a:cxn ang="0">
                    <a:pos x="72" y="80"/>
                  </a:cxn>
                  <a:cxn ang="0">
                    <a:pos x="76" y="76"/>
                  </a:cxn>
                  <a:cxn ang="0">
                    <a:pos x="63" y="71"/>
                  </a:cxn>
                </a:cxnLst>
                <a:rect l="0" t="0" r="r" b="b"/>
                <a:pathLst>
                  <a:path w="85" h="80">
                    <a:moveTo>
                      <a:pt x="5" y="22"/>
                    </a:moveTo>
                    <a:lnTo>
                      <a:pt x="0" y="22"/>
                    </a:lnTo>
                    <a:lnTo>
                      <a:pt x="5" y="35"/>
                    </a:lnTo>
                    <a:lnTo>
                      <a:pt x="9" y="35"/>
                    </a:lnTo>
                    <a:lnTo>
                      <a:pt x="14" y="26"/>
                    </a:lnTo>
                    <a:lnTo>
                      <a:pt x="22" y="31"/>
                    </a:lnTo>
                    <a:lnTo>
                      <a:pt x="18" y="35"/>
                    </a:lnTo>
                    <a:lnTo>
                      <a:pt x="27" y="44"/>
                    </a:lnTo>
                    <a:lnTo>
                      <a:pt x="22" y="44"/>
                    </a:lnTo>
                    <a:lnTo>
                      <a:pt x="22" y="53"/>
                    </a:lnTo>
                    <a:lnTo>
                      <a:pt x="31" y="49"/>
                    </a:lnTo>
                    <a:lnTo>
                      <a:pt x="36" y="62"/>
                    </a:lnTo>
                    <a:lnTo>
                      <a:pt x="45" y="62"/>
                    </a:lnTo>
                    <a:lnTo>
                      <a:pt x="45" y="67"/>
                    </a:lnTo>
                    <a:lnTo>
                      <a:pt x="54" y="67"/>
                    </a:lnTo>
                    <a:lnTo>
                      <a:pt x="45" y="62"/>
                    </a:lnTo>
                    <a:lnTo>
                      <a:pt x="49" y="62"/>
                    </a:lnTo>
                    <a:lnTo>
                      <a:pt x="54" y="67"/>
                    </a:lnTo>
                    <a:lnTo>
                      <a:pt x="54" y="71"/>
                    </a:lnTo>
                    <a:lnTo>
                      <a:pt x="63" y="71"/>
                    </a:lnTo>
                    <a:lnTo>
                      <a:pt x="63" y="71"/>
                    </a:lnTo>
                    <a:lnTo>
                      <a:pt x="58" y="62"/>
                    </a:lnTo>
                    <a:lnTo>
                      <a:pt x="58" y="62"/>
                    </a:lnTo>
                    <a:lnTo>
                      <a:pt x="54" y="62"/>
                    </a:lnTo>
                    <a:lnTo>
                      <a:pt x="40" y="49"/>
                    </a:lnTo>
                    <a:lnTo>
                      <a:pt x="40" y="44"/>
                    </a:lnTo>
                    <a:lnTo>
                      <a:pt x="36" y="35"/>
                    </a:lnTo>
                    <a:lnTo>
                      <a:pt x="31" y="35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31"/>
                    </a:lnTo>
                    <a:lnTo>
                      <a:pt x="45" y="26"/>
                    </a:lnTo>
                    <a:lnTo>
                      <a:pt x="49" y="26"/>
                    </a:lnTo>
                    <a:lnTo>
                      <a:pt x="49" y="26"/>
                    </a:lnTo>
                    <a:lnTo>
                      <a:pt x="54" y="26"/>
                    </a:lnTo>
                    <a:lnTo>
                      <a:pt x="63" y="31"/>
                    </a:lnTo>
                    <a:lnTo>
                      <a:pt x="67" y="26"/>
                    </a:lnTo>
                    <a:lnTo>
                      <a:pt x="72" y="26"/>
                    </a:lnTo>
                    <a:lnTo>
                      <a:pt x="76" y="31"/>
                    </a:lnTo>
                    <a:lnTo>
                      <a:pt x="76" y="31"/>
                    </a:lnTo>
                    <a:lnTo>
                      <a:pt x="81" y="31"/>
                    </a:lnTo>
                    <a:lnTo>
                      <a:pt x="81" y="26"/>
                    </a:lnTo>
                    <a:lnTo>
                      <a:pt x="85" y="26"/>
                    </a:lnTo>
                    <a:lnTo>
                      <a:pt x="85" y="22"/>
                    </a:lnTo>
                    <a:lnTo>
                      <a:pt x="81" y="22"/>
                    </a:lnTo>
                    <a:lnTo>
                      <a:pt x="81" y="22"/>
                    </a:lnTo>
                    <a:lnTo>
                      <a:pt x="81" y="18"/>
                    </a:lnTo>
                    <a:lnTo>
                      <a:pt x="81" y="18"/>
                    </a:lnTo>
                    <a:lnTo>
                      <a:pt x="81" y="13"/>
                    </a:lnTo>
                    <a:lnTo>
                      <a:pt x="76" y="13"/>
                    </a:lnTo>
                    <a:lnTo>
                      <a:pt x="67" y="18"/>
                    </a:lnTo>
                    <a:lnTo>
                      <a:pt x="49" y="13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5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6" y="9"/>
                    </a:lnTo>
                    <a:lnTo>
                      <a:pt x="31" y="9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1" y="13"/>
                    </a:lnTo>
                    <a:lnTo>
                      <a:pt x="27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2"/>
                    </a:lnTo>
                    <a:lnTo>
                      <a:pt x="18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5" y="22"/>
                    </a:lnTo>
                    <a:lnTo>
                      <a:pt x="5" y="22"/>
                    </a:lnTo>
                    <a:close/>
                    <a:moveTo>
                      <a:pt x="63" y="71"/>
                    </a:moveTo>
                    <a:lnTo>
                      <a:pt x="72" y="80"/>
                    </a:lnTo>
                    <a:lnTo>
                      <a:pt x="72" y="80"/>
                    </a:lnTo>
                    <a:lnTo>
                      <a:pt x="76" y="80"/>
                    </a:lnTo>
                    <a:lnTo>
                      <a:pt x="76" y="76"/>
                    </a:lnTo>
                    <a:lnTo>
                      <a:pt x="67" y="71"/>
                    </a:lnTo>
                    <a:lnTo>
                      <a:pt x="63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5" name="Freeform 199"/>
              <p:cNvSpPr>
                <a:spLocks/>
              </p:cNvSpPr>
              <p:nvPr/>
            </p:nvSpPr>
            <p:spPr bwMode="gray">
              <a:xfrm>
                <a:off x="7445583" y="4438597"/>
                <a:ext cx="166179" cy="64925"/>
              </a:xfrm>
              <a:custGeom>
                <a:avLst/>
                <a:gdLst/>
                <a:ahLst/>
                <a:cxnLst>
                  <a:cxn ang="0">
                    <a:pos x="9" y="9"/>
                  </a:cxn>
                  <a:cxn ang="0">
                    <a:pos x="9" y="9"/>
                  </a:cxn>
                  <a:cxn ang="0">
                    <a:pos x="0" y="13"/>
                  </a:cxn>
                  <a:cxn ang="0">
                    <a:pos x="4" y="18"/>
                  </a:cxn>
                  <a:cxn ang="0">
                    <a:pos x="13" y="18"/>
                  </a:cxn>
                  <a:cxn ang="0">
                    <a:pos x="22" y="13"/>
                  </a:cxn>
                  <a:cxn ang="0">
                    <a:pos x="22" y="9"/>
                  </a:cxn>
                  <a:cxn ang="0">
                    <a:pos x="35" y="0"/>
                  </a:cxn>
                  <a:cxn ang="0">
                    <a:pos x="31" y="0"/>
                  </a:cxn>
                  <a:cxn ang="0">
                    <a:pos x="26" y="0"/>
                  </a:cxn>
                  <a:cxn ang="0">
                    <a:pos x="17" y="9"/>
                  </a:cxn>
                  <a:cxn ang="0">
                    <a:pos x="9" y="9"/>
                  </a:cxn>
                </a:cxnLst>
                <a:rect l="0" t="0" r="r" b="b"/>
                <a:pathLst>
                  <a:path w="35" h="18">
                    <a:moveTo>
                      <a:pt x="9" y="9"/>
                    </a:moveTo>
                    <a:lnTo>
                      <a:pt x="9" y="9"/>
                    </a:lnTo>
                    <a:lnTo>
                      <a:pt x="0" y="13"/>
                    </a:lnTo>
                    <a:lnTo>
                      <a:pt x="4" y="18"/>
                    </a:lnTo>
                    <a:lnTo>
                      <a:pt x="13" y="18"/>
                    </a:lnTo>
                    <a:lnTo>
                      <a:pt x="22" y="13"/>
                    </a:lnTo>
                    <a:lnTo>
                      <a:pt x="22" y="9"/>
                    </a:lnTo>
                    <a:lnTo>
                      <a:pt x="35" y="0"/>
                    </a:lnTo>
                    <a:lnTo>
                      <a:pt x="31" y="0"/>
                    </a:lnTo>
                    <a:lnTo>
                      <a:pt x="26" y="0"/>
                    </a:lnTo>
                    <a:lnTo>
                      <a:pt x="17" y="9"/>
                    </a:lnTo>
                    <a:lnTo>
                      <a:pt x="9" y="9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6" name="Freeform 200"/>
              <p:cNvSpPr>
                <a:spLocks/>
              </p:cNvSpPr>
              <p:nvPr/>
            </p:nvSpPr>
            <p:spPr bwMode="gray">
              <a:xfrm>
                <a:off x="6075773" y="3328857"/>
                <a:ext cx="444179" cy="195978"/>
              </a:xfrm>
              <a:custGeom>
                <a:avLst/>
                <a:gdLst/>
                <a:ahLst/>
                <a:cxnLst>
                  <a:cxn ang="0">
                    <a:pos x="40" y="0"/>
                  </a:cxn>
                  <a:cxn ang="0">
                    <a:pos x="36" y="0"/>
                  </a:cxn>
                  <a:cxn ang="0">
                    <a:pos x="32" y="9"/>
                  </a:cxn>
                  <a:cxn ang="0">
                    <a:pos x="18" y="9"/>
                  </a:cxn>
                  <a:cxn ang="0">
                    <a:pos x="9" y="18"/>
                  </a:cxn>
                  <a:cxn ang="0">
                    <a:pos x="5" y="18"/>
                  </a:cxn>
                  <a:cxn ang="0">
                    <a:pos x="0" y="18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18" y="36"/>
                  </a:cxn>
                  <a:cxn ang="0">
                    <a:pos x="27" y="44"/>
                  </a:cxn>
                  <a:cxn ang="0">
                    <a:pos x="27" y="49"/>
                  </a:cxn>
                  <a:cxn ang="0">
                    <a:pos x="36" y="49"/>
                  </a:cxn>
                  <a:cxn ang="0">
                    <a:pos x="45" y="40"/>
                  </a:cxn>
                  <a:cxn ang="0">
                    <a:pos x="67" y="44"/>
                  </a:cxn>
                  <a:cxn ang="0">
                    <a:pos x="67" y="53"/>
                  </a:cxn>
                  <a:cxn ang="0">
                    <a:pos x="72" y="49"/>
                  </a:cxn>
                  <a:cxn ang="0">
                    <a:pos x="81" y="49"/>
                  </a:cxn>
                  <a:cxn ang="0">
                    <a:pos x="85" y="44"/>
                  </a:cxn>
                  <a:cxn ang="0">
                    <a:pos x="90" y="36"/>
                  </a:cxn>
                  <a:cxn ang="0">
                    <a:pos x="94" y="31"/>
                  </a:cxn>
                  <a:cxn ang="0">
                    <a:pos x="94" y="22"/>
                  </a:cxn>
                  <a:cxn ang="0">
                    <a:pos x="85" y="22"/>
                  </a:cxn>
                  <a:cxn ang="0">
                    <a:pos x="81" y="13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58" y="13"/>
                  </a:cxn>
                  <a:cxn ang="0">
                    <a:pos x="63" y="9"/>
                  </a:cxn>
                  <a:cxn ang="0">
                    <a:pos x="54" y="9"/>
                  </a:cxn>
                  <a:cxn ang="0">
                    <a:pos x="49" y="0"/>
                  </a:cxn>
                  <a:cxn ang="0">
                    <a:pos x="45" y="4"/>
                  </a:cxn>
                  <a:cxn ang="0">
                    <a:pos x="40" y="0"/>
                  </a:cxn>
                </a:cxnLst>
                <a:rect l="0" t="0" r="r" b="b"/>
                <a:pathLst>
                  <a:path w="94" h="53">
                    <a:moveTo>
                      <a:pt x="40" y="0"/>
                    </a:moveTo>
                    <a:lnTo>
                      <a:pt x="36" y="0"/>
                    </a:lnTo>
                    <a:lnTo>
                      <a:pt x="32" y="9"/>
                    </a:lnTo>
                    <a:lnTo>
                      <a:pt x="18" y="9"/>
                    </a:lnTo>
                    <a:lnTo>
                      <a:pt x="9" y="18"/>
                    </a:lnTo>
                    <a:lnTo>
                      <a:pt x="5" y="18"/>
                    </a:lnTo>
                    <a:lnTo>
                      <a:pt x="0" y="18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18" y="36"/>
                    </a:lnTo>
                    <a:lnTo>
                      <a:pt x="27" y="44"/>
                    </a:lnTo>
                    <a:lnTo>
                      <a:pt x="27" y="49"/>
                    </a:lnTo>
                    <a:lnTo>
                      <a:pt x="36" y="49"/>
                    </a:lnTo>
                    <a:lnTo>
                      <a:pt x="45" y="40"/>
                    </a:lnTo>
                    <a:lnTo>
                      <a:pt x="67" y="44"/>
                    </a:lnTo>
                    <a:lnTo>
                      <a:pt x="67" y="53"/>
                    </a:lnTo>
                    <a:lnTo>
                      <a:pt x="72" y="49"/>
                    </a:lnTo>
                    <a:lnTo>
                      <a:pt x="81" y="49"/>
                    </a:lnTo>
                    <a:lnTo>
                      <a:pt x="85" y="44"/>
                    </a:lnTo>
                    <a:lnTo>
                      <a:pt x="90" y="36"/>
                    </a:lnTo>
                    <a:lnTo>
                      <a:pt x="94" y="31"/>
                    </a:lnTo>
                    <a:lnTo>
                      <a:pt x="94" y="22"/>
                    </a:lnTo>
                    <a:lnTo>
                      <a:pt x="85" y="22"/>
                    </a:lnTo>
                    <a:lnTo>
                      <a:pt x="81" y="13"/>
                    </a:lnTo>
                    <a:lnTo>
                      <a:pt x="72" y="9"/>
                    </a:lnTo>
                    <a:lnTo>
                      <a:pt x="67" y="18"/>
                    </a:lnTo>
                    <a:lnTo>
                      <a:pt x="58" y="13"/>
                    </a:lnTo>
                    <a:lnTo>
                      <a:pt x="63" y="9"/>
                    </a:lnTo>
                    <a:lnTo>
                      <a:pt x="54" y="9"/>
                    </a:lnTo>
                    <a:lnTo>
                      <a:pt x="49" y="0"/>
                    </a:lnTo>
                    <a:lnTo>
                      <a:pt x="45" y="4"/>
                    </a:lnTo>
                    <a:lnTo>
                      <a:pt x="40" y="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37" name="Freeform 201"/>
              <p:cNvSpPr>
                <a:spLocks noEditPoints="1"/>
              </p:cNvSpPr>
              <p:nvPr/>
            </p:nvSpPr>
            <p:spPr bwMode="gray">
              <a:xfrm>
                <a:off x="4814678" y="2189058"/>
                <a:ext cx="1475419" cy="813970"/>
              </a:xfrm>
              <a:custGeom>
                <a:avLst/>
                <a:gdLst/>
                <a:ahLst/>
                <a:cxnLst>
                  <a:cxn ang="0">
                    <a:pos x="0" y="9"/>
                  </a:cxn>
                  <a:cxn ang="0">
                    <a:pos x="5" y="18"/>
                  </a:cxn>
                  <a:cxn ang="0">
                    <a:pos x="5" y="27"/>
                  </a:cxn>
                  <a:cxn ang="0">
                    <a:pos x="9" y="31"/>
                  </a:cxn>
                  <a:cxn ang="0">
                    <a:pos x="9" y="18"/>
                  </a:cxn>
                  <a:cxn ang="0">
                    <a:pos x="5" y="13"/>
                  </a:cxn>
                  <a:cxn ang="0">
                    <a:pos x="14" y="0"/>
                  </a:cxn>
                  <a:cxn ang="0">
                    <a:pos x="0" y="4"/>
                  </a:cxn>
                  <a:cxn ang="0">
                    <a:pos x="241" y="214"/>
                  </a:cxn>
                  <a:cxn ang="0">
                    <a:pos x="237" y="206"/>
                  </a:cxn>
                  <a:cxn ang="0">
                    <a:pos x="237" y="192"/>
                  </a:cxn>
                  <a:cxn ang="0">
                    <a:pos x="241" y="188"/>
                  </a:cxn>
                  <a:cxn ang="0">
                    <a:pos x="246" y="183"/>
                  </a:cxn>
                  <a:cxn ang="0">
                    <a:pos x="250" y="170"/>
                  </a:cxn>
                  <a:cxn ang="0">
                    <a:pos x="246" y="165"/>
                  </a:cxn>
                  <a:cxn ang="0">
                    <a:pos x="241" y="156"/>
                  </a:cxn>
                  <a:cxn ang="0">
                    <a:pos x="246" y="156"/>
                  </a:cxn>
                  <a:cxn ang="0">
                    <a:pos x="246" y="143"/>
                  </a:cxn>
                  <a:cxn ang="0">
                    <a:pos x="246" y="134"/>
                  </a:cxn>
                  <a:cxn ang="0">
                    <a:pos x="237" y="152"/>
                  </a:cxn>
                  <a:cxn ang="0">
                    <a:pos x="219" y="161"/>
                  </a:cxn>
                  <a:cxn ang="0">
                    <a:pos x="224" y="165"/>
                  </a:cxn>
                  <a:cxn ang="0">
                    <a:pos x="219" y="170"/>
                  </a:cxn>
                  <a:cxn ang="0">
                    <a:pos x="224" y="174"/>
                  </a:cxn>
                  <a:cxn ang="0">
                    <a:pos x="219" y="183"/>
                  </a:cxn>
                  <a:cxn ang="0">
                    <a:pos x="224" y="188"/>
                  </a:cxn>
                  <a:cxn ang="0">
                    <a:pos x="219" y="201"/>
                  </a:cxn>
                  <a:cxn ang="0">
                    <a:pos x="224" y="206"/>
                  </a:cxn>
                  <a:cxn ang="0">
                    <a:pos x="224" y="219"/>
                  </a:cxn>
                  <a:cxn ang="0">
                    <a:pos x="241" y="206"/>
                  </a:cxn>
                  <a:cxn ang="0">
                    <a:pos x="246" y="210"/>
                  </a:cxn>
                  <a:cxn ang="0">
                    <a:pos x="246" y="219"/>
                  </a:cxn>
                  <a:cxn ang="0">
                    <a:pos x="246" y="210"/>
                  </a:cxn>
                  <a:cxn ang="0">
                    <a:pos x="246" y="201"/>
                  </a:cxn>
                  <a:cxn ang="0">
                    <a:pos x="250" y="214"/>
                  </a:cxn>
                  <a:cxn ang="0">
                    <a:pos x="259" y="223"/>
                  </a:cxn>
                  <a:cxn ang="0">
                    <a:pos x="264" y="219"/>
                  </a:cxn>
                  <a:cxn ang="0">
                    <a:pos x="264" y="214"/>
                  </a:cxn>
                  <a:cxn ang="0">
                    <a:pos x="250" y="214"/>
                  </a:cxn>
                  <a:cxn ang="0">
                    <a:pos x="264" y="192"/>
                  </a:cxn>
                  <a:cxn ang="0">
                    <a:pos x="255" y="192"/>
                  </a:cxn>
                  <a:cxn ang="0">
                    <a:pos x="255" y="206"/>
                  </a:cxn>
                  <a:cxn ang="0">
                    <a:pos x="264" y="210"/>
                  </a:cxn>
                  <a:cxn ang="0">
                    <a:pos x="273" y="210"/>
                  </a:cxn>
                  <a:cxn ang="0">
                    <a:pos x="273" y="201"/>
                  </a:cxn>
                  <a:cxn ang="0">
                    <a:pos x="273" y="197"/>
                  </a:cxn>
                  <a:cxn ang="0">
                    <a:pos x="273" y="183"/>
                  </a:cxn>
                  <a:cxn ang="0">
                    <a:pos x="264" y="183"/>
                  </a:cxn>
                  <a:cxn ang="0">
                    <a:pos x="304" y="210"/>
                  </a:cxn>
                  <a:cxn ang="0">
                    <a:pos x="313" y="206"/>
                  </a:cxn>
                </a:cxnLst>
                <a:rect l="0" t="0" r="r" b="b"/>
                <a:pathLst>
                  <a:path w="313" h="223">
                    <a:moveTo>
                      <a:pt x="0" y="4"/>
                    </a:moveTo>
                    <a:lnTo>
                      <a:pt x="0" y="9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9" y="22"/>
                    </a:lnTo>
                    <a:lnTo>
                      <a:pt x="5" y="27"/>
                    </a:lnTo>
                    <a:lnTo>
                      <a:pt x="9" y="31"/>
                    </a:lnTo>
                    <a:lnTo>
                      <a:pt x="9" y="31"/>
                    </a:lnTo>
                    <a:lnTo>
                      <a:pt x="5" y="27"/>
                    </a:lnTo>
                    <a:lnTo>
                      <a:pt x="9" y="18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4"/>
                    </a:lnTo>
                    <a:lnTo>
                      <a:pt x="14" y="0"/>
                    </a:lnTo>
                    <a:lnTo>
                      <a:pt x="9" y="0"/>
                    </a:lnTo>
                    <a:lnTo>
                      <a:pt x="0" y="4"/>
                    </a:lnTo>
                    <a:close/>
                    <a:moveTo>
                      <a:pt x="224" y="219"/>
                    </a:moveTo>
                    <a:lnTo>
                      <a:pt x="241" y="214"/>
                    </a:lnTo>
                    <a:lnTo>
                      <a:pt x="237" y="210"/>
                    </a:lnTo>
                    <a:lnTo>
                      <a:pt x="237" y="206"/>
                    </a:lnTo>
                    <a:lnTo>
                      <a:pt x="241" y="197"/>
                    </a:lnTo>
                    <a:lnTo>
                      <a:pt x="237" y="192"/>
                    </a:lnTo>
                    <a:lnTo>
                      <a:pt x="241" y="192"/>
                    </a:lnTo>
                    <a:lnTo>
                      <a:pt x="241" y="188"/>
                    </a:lnTo>
                    <a:lnTo>
                      <a:pt x="241" y="179"/>
                    </a:lnTo>
                    <a:lnTo>
                      <a:pt x="246" y="183"/>
                    </a:lnTo>
                    <a:lnTo>
                      <a:pt x="250" y="174"/>
                    </a:lnTo>
                    <a:lnTo>
                      <a:pt x="250" y="170"/>
                    </a:lnTo>
                    <a:lnTo>
                      <a:pt x="246" y="170"/>
                    </a:lnTo>
                    <a:lnTo>
                      <a:pt x="246" y="165"/>
                    </a:lnTo>
                    <a:lnTo>
                      <a:pt x="241" y="156"/>
                    </a:lnTo>
                    <a:lnTo>
                      <a:pt x="241" y="156"/>
                    </a:lnTo>
                    <a:lnTo>
                      <a:pt x="241" y="152"/>
                    </a:lnTo>
                    <a:lnTo>
                      <a:pt x="246" y="156"/>
                    </a:lnTo>
                    <a:lnTo>
                      <a:pt x="250" y="147"/>
                    </a:lnTo>
                    <a:lnTo>
                      <a:pt x="246" y="143"/>
                    </a:lnTo>
                    <a:lnTo>
                      <a:pt x="246" y="139"/>
                    </a:lnTo>
                    <a:lnTo>
                      <a:pt x="246" y="134"/>
                    </a:lnTo>
                    <a:lnTo>
                      <a:pt x="241" y="134"/>
                    </a:lnTo>
                    <a:lnTo>
                      <a:pt x="237" y="152"/>
                    </a:lnTo>
                    <a:lnTo>
                      <a:pt x="224" y="156"/>
                    </a:lnTo>
                    <a:lnTo>
                      <a:pt x="219" y="161"/>
                    </a:lnTo>
                    <a:lnTo>
                      <a:pt x="219" y="165"/>
                    </a:lnTo>
                    <a:lnTo>
                      <a:pt x="224" y="165"/>
                    </a:lnTo>
                    <a:lnTo>
                      <a:pt x="224" y="170"/>
                    </a:lnTo>
                    <a:lnTo>
                      <a:pt x="219" y="170"/>
                    </a:lnTo>
                    <a:lnTo>
                      <a:pt x="219" y="174"/>
                    </a:lnTo>
                    <a:lnTo>
                      <a:pt x="224" y="174"/>
                    </a:lnTo>
                    <a:lnTo>
                      <a:pt x="219" y="179"/>
                    </a:lnTo>
                    <a:lnTo>
                      <a:pt x="219" y="183"/>
                    </a:lnTo>
                    <a:lnTo>
                      <a:pt x="219" y="183"/>
                    </a:lnTo>
                    <a:lnTo>
                      <a:pt x="224" y="188"/>
                    </a:lnTo>
                    <a:lnTo>
                      <a:pt x="219" y="192"/>
                    </a:lnTo>
                    <a:lnTo>
                      <a:pt x="219" y="201"/>
                    </a:lnTo>
                    <a:lnTo>
                      <a:pt x="224" y="197"/>
                    </a:lnTo>
                    <a:lnTo>
                      <a:pt x="224" y="206"/>
                    </a:lnTo>
                    <a:lnTo>
                      <a:pt x="224" y="214"/>
                    </a:lnTo>
                    <a:lnTo>
                      <a:pt x="224" y="219"/>
                    </a:lnTo>
                    <a:close/>
                    <a:moveTo>
                      <a:pt x="241" y="197"/>
                    </a:moveTo>
                    <a:lnTo>
                      <a:pt x="241" y="206"/>
                    </a:lnTo>
                    <a:lnTo>
                      <a:pt x="241" y="210"/>
                    </a:lnTo>
                    <a:lnTo>
                      <a:pt x="246" y="210"/>
                    </a:lnTo>
                    <a:lnTo>
                      <a:pt x="246" y="219"/>
                    </a:lnTo>
                    <a:lnTo>
                      <a:pt x="246" y="219"/>
                    </a:lnTo>
                    <a:lnTo>
                      <a:pt x="250" y="210"/>
                    </a:lnTo>
                    <a:lnTo>
                      <a:pt x="246" y="210"/>
                    </a:lnTo>
                    <a:lnTo>
                      <a:pt x="246" y="206"/>
                    </a:lnTo>
                    <a:lnTo>
                      <a:pt x="246" y="201"/>
                    </a:lnTo>
                    <a:lnTo>
                      <a:pt x="241" y="197"/>
                    </a:lnTo>
                    <a:close/>
                    <a:moveTo>
                      <a:pt x="250" y="214"/>
                    </a:moveTo>
                    <a:lnTo>
                      <a:pt x="250" y="219"/>
                    </a:lnTo>
                    <a:lnTo>
                      <a:pt x="259" y="223"/>
                    </a:lnTo>
                    <a:lnTo>
                      <a:pt x="264" y="219"/>
                    </a:lnTo>
                    <a:lnTo>
                      <a:pt x="264" y="219"/>
                    </a:lnTo>
                    <a:lnTo>
                      <a:pt x="268" y="219"/>
                    </a:lnTo>
                    <a:lnTo>
                      <a:pt x="264" y="214"/>
                    </a:lnTo>
                    <a:lnTo>
                      <a:pt x="259" y="214"/>
                    </a:lnTo>
                    <a:lnTo>
                      <a:pt x="250" y="214"/>
                    </a:lnTo>
                    <a:close/>
                    <a:moveTo>
                      <a:pt x="264" y="183"/>
                    </a:moveTo>
                    <a:lnTo>
                      <a:pt x="264" y="192"/>
                    </a:lnTo>
                    <a:lnTo>
                      <a:pt x="259" y="183"/>
                    </a:lnTo>
                    <a:lnTo>
                      <a:pt x="255" y="192"/>
                    </a:lnTo>
                    <a:lnTo>
                      <a:pt x="250" y="192"/>
                    </a:lnTo>
                    <a:lnTo>
                      <a:pt x="255" y="206"/>
                    </a:lnTo>
                    <a:lnTo>
                      <a:pt x="259" y="206"/>
                    </a:lnTo>
                    <a:lnTo>
                      <a:pt x="264" y="210"/>
                    </a:lnTo>
                    <a:lnTo>
                      <a:pt x="273" y="214"/>
                    </a:lnTo>
                    <a:lnTo>
                      <a:pt x="273" y="210"/>
                    </a:lnTo>
                    <a:lnTo>
                      <a:pt x="268" y="206"/>
                    </a:lnTo>
                    <a:lnTo>
                      <a:pt x="273" y="201"/>
                    </a:lnTo>
                    <a:lnTo>
                      <a:pt x="268" y="197"/>
                    </a:lnTo>
                    <a:lnTo>
                      <a:pt x="273" y="197"/>
                    </a:lnTo>
                    <a:lnTo>
                      <a:pt x="273" y="192"/>
                    </a:lnTo>
                    <a:lnTo>
                      <a:pt x="273" y="183"/>
                    </a:lnTo>
                    <a:lnTo>
                      <a:pt x="268" y="179"/>
                    </a:lnTo>
                    <a:lnTo>
                      <a:pt x="264" y="183"/>
                    </a:lnTo>
                    <a:close/>
                    <a:moveTo>
                      <a:pt x="308" y="206"/>
                    </a:moveTo>
                    <a:lnTo>
                      <a:pt x="304" y="210"/>
                    </a:lnTo>
                    <a:lnTo>
                      <a:pt x="313" y="210"/>
                    </a:lnTo>
                    <a:lnTo>
                      <a:pt x="313" y="206"/>
                    </a:lnTo>
                    <a:lnTo>
                      <a:pt x="308" y="206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38" name="Freeform 202"/>
              <p:cNvSpPr>
                <a:spLocks noEditPoints="1"/>
              </p:cNvSpPr>
              <p:nvPr/>
            </p:nvSpPr>
            <p:spPr bwMode="gray">
              <a:xfrm>
                <a:off x="6731170" y="2500459"/>
                <a:ext cx="462816" cy="223631"/>
              </a:xfrm>
              <a:custGeom>
                <a:avLst/>
                <a:gdLst/>
                <a:ahLst/>
                <a:cxnLst>
                  <a:cxn ang="0">
                    <a:pos x="4" y="31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0" y="45"/>
                  </a:cxn>
                  <a:cxn ang="0">
                    <a:pos x="4" y="49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22" y="31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13" y="27"/>
                  </a:cxn>
                  <a:cxn ang="0">
                    <a:pos x="22" y="22"/>
                  </a:cxn>
                  <a:cxn ang="0">
                    <a:pos x="13" y="18"/>
                  </a:cxn>
                  <a:cxn ang="0">
                    <a:pos x="9" y="22"/>
                  </a:cxn>
                  <a:cxn ang="0">
                    <a:pos x="13" y="27"/>
                  </a:cxn>
                  <a:cxn ang="0">
                    <a:pos x="13" y="27"/>
                  </a:cxn>
                  <a:cxn ang="0">
                    <a:pos x="4" y="31"/>
                  </a:cxn>
                  <a:cxn ang="0">
                    <a:pos x="40" y="54"/>
                  </a:cxn>
                  <a:cxn ang="0">
                    <a:pos x="53" y="49"/>
                  </a:cxn>
                  <a:cxn ang="0">
                    <a:pos x="62" y="54"/>
                  </a:cxn>
                  <a:cxn ang="0">
                    <a:pos x="71" y="58"/>
                  </a:cxn>
                  <a:cxn ang="0">
                    <a:pos x="76" y="58"/>
                  </a:cxn>
                  <a:cxn ang="0">
                    <a:pos x="85" y="62"/>
                  </a:cxn>
                  <a:cxn ang="0">
                    <a:pos x="94" y="58"/>
                  </a:cxn>
                  <a:cxn ang="0">
                    <a:pos x="98" y="54"/>
                  </a:cxn>
                  <a:cxn ang="0">
                    <a:pos x="89" y="45"/>
                  </a:cxn>
                  <a:cxn ang="0">
                    <a:pos x="85" y="36"/>
                  </a:cxn>
                  <a:cxn ang="0">
                    <a:pos x="85" y="31"/>
                  </a:cxn>
                  <a:cxn ang="0">
                    <a:pos x="85" y="22"/>
                  </a:cxn>
                  <a:cxn ang="0">
                    <a:pos x="94" y="18"/>
                  </a:cxn>
                  <a:cxn ang="0">
                    <a:pos x="98" y="9"/>
                  </a:cxn>
                  <a:cxn ang="0">
                    <a:pos x="94" y="0"/>
                  </a:cxn>
                  <a:cxn ang="0">
                    <a:pos x="89" y="4"/>
                  </a:cxn>
                  <a:cxn ang="0">
                    <a:pos x="71" y="0"/>
                  </a:cxn>
                  <a:cxn ang="0">
                    <a:pos x="40" y="9"/>
                  </a:cxn>
                  <a:cxn ang="0">
                    <a:pos x="27" y="18"/>
                  </a:cxn>
                  <a:cxn ang="0">
                    <a:pos x="27" y="31"/>
                  </a:cxn>
                  <a:cxn ang="0">
                    <a:pos x="35" y="40"/>
                  </a:cxn>
                  <a:cxn ang="0">
                    <a:pos x="40" y="36"/>
                  </a:cxn>
                  <a:cxn ang="0">
                    <a:pos x="40" y="54"/>
                  </a:cxn>
                </a:cxnLst>
                <a:rect l="0" t="0" r="r" b="b"/>
                <a:pathLst>
                  <a:path w="98" h="62">
                    <a:moveTo>
                      <a:pt x="4" y="31"/>
                    </a:moveTo>
                    <a:lnTo>
                      <a:pt x="0" y="36"/>
                    </a:lnTo>
                    <a:lnTo>
                      <a:pt x="4" y="40"/>
                    </a:lnTo>
                    <a:lnTo>
                      <a:pt x="0" y="45"/>
                    </a:lnTo>
                    <a:lnTo>
                      <a:pt x="4" y="49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22" y="31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13" y="27"/>
                    </a:lnTo>
                    <a:lnTo>
                      <a:pt x="22" y="22"/>
                    </a:lnTo>
                    <a:lnTo>
                      <a:pt x="13" y="18"/>
                    </a:lnTo>
                    <a:lnTo>
                      <a:pt x="9" y="22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4" y="31"/>
                    </a:lnTo>
                    <a:close/>
                    <a:moveTo>
                      <a:pt x="40" y="54"/>
                    </a:moveTo>
                    <a:lnTo>
                      <a:pt x="53" y="49"/>
                    </a:lnTo>
                    <a:lnTo>
                      <a:pt x="62" y="54"/>
                    </a:lnTo>
                    <a:lnTo>
                      <a:pt x="71" y="58"/>
                    </a:lnTo>
                    <a:lnTo>
                      <a:pt x="76" y="58"/>
                    </a:lnTo>
                    <a:lnTo>
                      <a:pt x="85" y="62"/>
                    </a:lnTo>
                    <a:lnTo>
                      <a:pt x="94" y="58"/>
                    </a:lnTo>
                    <a:lnTo>
                      <a:pt x="98" y="54"/>
                    </a:lnTo>
                    <a:lnTo>
                      <a:pt x="89" y="45"/>
                    </a:lnTo>
                    <a:lnTo>
                      <a:pt x="85" y="36"/>
                    </a:lnTo>
                    <a:lnTo>
                      <a:pt x="85" y="31"/>
                    </a:lnTo>
                    <a:lnTo>
                      <a:pt x="85" y="22"/>
                    </a:lnTo>
                    <a:lnTo>
                      <a:pt x="94" y="18"/>
                    </a:lnTo>
                    <a:lnTo>
                      <a:pt x="98" y="9"/>
                    </a:lnTo>
                    <a:lnTo>
                      <a:pt x="94" y="0"/>
                    </a:lnTo>
                    <a:lnTo>
                      <a:pt x="89" y="4"/>
                    </a:lnTo>
                    <a:lnTo>
                      <a:pt x="71" y="0"/>
                    </a:lnTo>
                    <a:lnTo>
                      <a:pt x="40" y="9"/>
                    </a:lnTo>
                    <a:lnTo>
                      <a:pt x="27" y="18"/>
                    </a:lnTo>
                    <a:lnTo>
                      <a:pt x="27" y="31"/>
                    </a:lnTo>
                    <a:lnTo>
                      <a:pt x="35" y="40"/>
                    </a:lnTo>
                    <a:lnTo>
                      <a:pt x="40" y="36"/>
                    </a:lnTo>
                    <a:lnTo>
                      <a:pt x="40" y="5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39" name="Freeform 203"/>
              <p:cNvSpPr>
                <a:spLocks/>
              </p:cNvSpPr>
              <p:nvPr/>
            </p:nvSpPr>
            <p:spPr bwMode="gray">
              <a:xfrm>
                <a:off x="6644198" y="1177908"/>
                <a:ext cx="779642" cy="1322551"/>
              </a:xfrm>
              <a:custGeom>
                <a:avLst/>
                <a:gdLst/>
                <a:ahLst/>
                <a:cxnLst>
                  <a:cxn ang="0">
                    <a:pos x="18" y="54"/>
                  </a:cxn>
                  <a:cxn ang="0">
                    <a:pos x="45" y="76"/>
                  </a:cxn>
                  <a:cxn ang="0">
                    <a:pos x="53" y="121"/>
                  </a:cxn>
                  <a:cxn ang="0">
                    <a:pos x="49" y="152"/>
                  </a:cxn>
                  <a:cxn ang="0">
                    <a:pos x="58" y="165"/>
                  </a:cxn>
                  <a:cxn ang="0">
                    <a:pos x="67" y="192"/>
                  </a:cxn>
                  <a:cxn ang="0">
                    <a:pos x="45" y="219"/>
                  </a:cxn>
                  <a:cxn ang="0">
                    <a:pos x="22" y="250"/>
                  </a:cxn>
                  <a:cxn ang="0">
                    <a:pos x="9" y="264"/>
                  </a:cxn>
                  <a:cxn ang="0">
                    <a:pos x="13" y="277"/>
                  </a:cxn>
                  <a:cxn ang="0">
                    <a:pos x="13" y="313"/>
                  </a:cxn>
                  <a:cxn ang="0">
                    <a:pos x="27" y="335"/>
                  </a:cxn>
                  <a:cxn ang="0">
                    <a:pos x="36" y="340"/>
                  </a:cxn>
                  <a:cxn ang="0">
                    <a:pos x="36" y="348"/>
                  </a:cxn>
                  <a:cxn ang="0">
                    <a:pos x="40" y="353"/>
                  </a:cxn>
                  <a:cxn ang="0">
                    <a:pos x="40" y="362"/>
                  </a:cxn>
                  <a:cxn ang="0">
                    <a:pos x="58" y="348"/>
                  </a:cxn>
                  <a:cxn ang="0">
                    <a:pos x="62" y="353"/>
                  </a:cxn>
                  <a:cxn ang="0">
                    <a:pos x="76" y="348"/>
                  </a:cxn>
                  <a:cxn ang="0">
                    <a:pos x="85" y="344"/>
                  </a:cxn>
                  <a:cxn ang="0">
                    <a:pos x="98" y="340"/>
                  </a:cxn>
                  <a:cxn ang="0">
                    <a:pos x="112" y="340"/>
                  </a:cxn>
                  <a:cxn ang="0">
                    <a:pos x="129" y="322"/>
                  </a:cxn>
                  <a:cxn ang="0">
                    <a:pos x="161" y="281"/>
                  </a:cxn>
                  <a:cxn ang="0">
                    <a:pos x="147" y="255"/>
                  </a:cxn>
                  <a:cxn ang="0">
                    <a:pos x="147" y="228"/>
                  </a:cxn>
                  <a:cxn ang="0">
                    <a:pos x="143" y="214"/>
                  </a:cxn>
                  <a:cxn ang="0">
                    <a:pos x="134" y="165"/>
                  </a:cxn>
                  <a:cxn ang="0">
                    <a:pos x="134" y="147"/>
                  </a:cxn>
                  <a:cxn ang="0">
                    <a:pos x="120" y="116"/>
                  </a:cxn>
                  <a:cxn ang="0">
                    <a:pos x="134" y="80"/>
                  </a:cxn>
                  <a:cxn ang="0">
                    <a:pos x="116" y="54"/>
                  </a:cxn>
                  <a:cxn ang="0">
                    <a:pos x="112" y="40"/>
                  </a:cxn>
                  <a:cxn ang="0">
                    <a:pos x="116" y="31"/>
                  </a:cxn>
                  <a:cxn ang="0">
                    <a:pos x="120" y="9"/>
                  </a:cxn>
                  <a:cxn ang="0">
                    <a:pos x="107" y="0"/>
                  </a:cxn>
                  <a:cxn ang="0">
                    <a:pos x="76" y="22"/>
                  </a:cxn>
                  <a:cxn ang="0">
                    <a:pos x="62" y="58"/>
                  </a:cxn>
                  <a:cxn ang="0">
                    <a:pos x="31" y="54"/>
                  </a:cxn>
                  <a:cxn ang="0">
                    <a:pos x="9" y="31"/>
                  </a:cxn>
                  <a:cxn ang="0">
                    <a:pos x="0" y="36"/>
                  </a:cxn>
                </a:cxnLst>
                <a:rect l="0" t="0" r="r" b="b"/>
                <a:pathLst>
                  <a:path w="165" h="362">
                    <a:moveTo>
                      <a:pt x="4" y="40"/>
                    </a:moveTo>
                    <a:lnTo>
                      <a:pt x="18" y="54"/>
                    </a:lnTo>
                    <a:lnTo>
                      <a:pt x="40" y="62"/>
                    </a:lnTo>
                    <a:lnTo>
                      <a:pt x="45" y="76"/>
                    </a:lnTo>
                    <a:lnTo>
                      <a:pt x="49" y="98"/>
                    </a:lnTo>
                    <a:lnTo>
                      <a:pt x="53" y="121"/>
                    </a:lnTo>
                    <a:lnTo>
                      <a:pt x="49" y="138"/>
                    </a:lnTo>
                    <a:lnTo>
                      <a:pt x="49" y="152"/>
                    </a:lnTo>
                    <a:lnTo>
                      <a:pt x="53" y="165"/>
                    </a:lnTo>
                    <a:lnTo>
                      <a:pt x="58" y="165"/>
                    </a:lnTo>
                    <a:lnTo>
                      <a:pt x="71" y="183"/>
                    </a:lnTo>
                    <a:lnTo>
                      <a:pt x="67" y="192"/>
                    </a:lnTo>
                    <a:lnTo>
                      <a:pt x="71" y="197"/>
                    </a:lnTo>
                    <a:lnTo>
                      <a:pt x="45" y="219"/>
                    </a:lnTo>
                    <a:lnTo>
                      <a:pt x="31" y="237"/>
                    </a:lnTo>
                    <a:lnTo>
                      <a:pt x="22" y="250"/>
                    </a:lnTo>
                    <a:lnTo>
                      <a:pt x="13" y="250"/>
                    </a:lnTo>
                    <a:lnTo>
                      <a:pt x="9" y="264"/>
                    </a:lnTo>
                    <a:lnTo>
                      <a:pt x="9" y="277"/>
                    </a:lnTo>
                    <a:lnTo>
                      <a:pt x="13" y="277"/>
                    </a:lnTo>
                    <a:lnTo>
                      <a:pt x="18" y="299"/>
                    </a:lnTo>
                    <a:lnTo>
                      <a:pt x="13" y="313"/>
                    </a:lnTo>
                    <a:lnTo>
                      <a:pt x="18" y="331"/>
                    </a:lnTo>
                    <a:lnTo>
                      <a:pt x="27" y="335"/>
                    </a:lnTo>
                    <a:lnTo>
                      <a:pt x="31" y="344"/>
                    </a:lnTo>
                    <a:lnTo>
                      <a:pt x="36" y="340"/>
                    </a:lnTo>
                    <a:lnTo>
                      <a:pt x="36" y="344"/>
                    </a:lnTo>
                    <a:lnTo>
                      <a:pt x="36" y="348"/>
                    </a:lnTo>
                    <a:lnTo>
                      <a:pt x="36" y="353"/>
                    </a:lnTo>
                    <a:lnTo>
                      <a:pt x="40" y="353"/>
                    </a:lnTo>
                    <a:lnTo>
                      <a:pt x="36" y="362"/>
                    </a:lnTo>
                    <a:lnTo>
                      <a:pt x="40" y="362"/>
                    </a:lnTo>
                    <a:lnTo>
                      <a:pt x="45" y="353"/>
                    </a:lnTo>
                    <a:lnTo>
                      <a:pt x="58" y="348"/>
                    </a:lnTo>
                    <a:lnTo>
                      <a:pt x="58" y="353"/>
                    </a:lnTo>
                    <a:lnTo>
                      <a:pt x="62" y="353"/>
                    </a:lnTo>
                    <a:lnTo>
                      <a:pt x="67" y="344"/>
                    </a:lnTo>
                    <a:lnTo>
                      <a:pt x="76" y="348"/>
                    </a:lnTo>
                    <a:lnTo>
                      <a:pt x="80" y="344"/>
                    </a:lnTo>
                    <a:lnTo>
                      <a:pt x="85" y="344"/>
                    </a:lnTo>
                    <a:lnTo>
                      <a:pt x="94" y="344"/>
                    </a:lnTo>
                    <a:lnTo>
                      <a:pt x="98" y="340"/>
                    </a:lnTo>
                    <a:lnTo>
                      <a:pt x="107" y="344"/>
                    </a:lnTo>
                    <a:lnTo>
                      <a:pt x="112" y="340"/>
                    </a:lnTo>
                    <a:lnTo>
                      <a:pt x="120" y="331"/>
                    </a:lnTo>
                    <a:lnTo>
                      <a:pt x="129" y="322"/>
                    </a:lnTo>
                    <a:lnTo>
                      <a:pt x="134" y="308"/>
                    </a:lnTo>
                    <a:lnTo>
                      <a:pt x="161" y="281"/>
                    </a:lnTo>
                    <a:lnTo>
                      <a:pt x="165" y="273"/>
                    </a:lnTo>
                    <a:lnTo>
                      <a:pt x="147" y="255"/>
                    </a:lnTo>
                    <a:lnTo>
                      <a:pt x="134" y="241"/>
                    </a:lnTo>
                    <a:lnTo>
                      <a:pt x="147" y="228"/>
                    </a:lnTo>
                    <a:lnTo>
                      <a:pt x="134" y="219"/>
                    </a:lnTo>
                    <a:lnTo>
                      <a:pt x="143" y="214"/>
                    </a:lnTo>
                    <a:lnTo>
                      <a:pt x="134" y="210"/>
                    </a:lnTo>
                    <a:lnTo>
                      <a:pt x="134" y="165"/>
                    </a:lnTo>
                    <a:lnTo>
                      <a:pt x="143" y="161"/>
                    </a:lnTo>
                    <a:lnTo>
                      <a:pt x="134" y="147"/>
                    </a:lnTo>
                    <a:lnTo>
                      <a:pt x="129" y="130"/>
                    </a:lnTo>
                    <a:lnTo>
                      <a:pt x="120" y="116"/>
                    </a:lnTo>
                    <a:lnTo>
                      <a:pt x="134" y="89"/>
                    </a:lnTo>
                    <a:lnTo>
                      <a:pt x="134" y="80"/>
                    </a:lnTo>
                    <a:lnTo>
                      <a:pt x="120" y="71"/>
                    </a:lnTo>
                    <a:lnTo>
                      <a:pt x="116" y="54"/>
                    </a:lnTo>
                    <a:lnTo>
                      <a:pt x="125" y="36"/>
                    </a:lnTo>
                    <a:lnTo>
                      <a:pt x="112" y="40"/>
                    </a:lnTo>
                    <a:lnTo>
                      <a:pt x="112" y="36"/>
                    </a:lnTo>
                    <a:lnTo>
                      <a:pt x="116" y="31"/>
                    </a:lnTo>
                    <a:lnTo>
                      <a:pt x="120" y="13"/>
                    </a:lnTo>
                    <a:lnTo>
                      <a:pt x="120" y="9"/>
                    </a:lnTo>
                    <a:lnTo>
                      <a:pt x="112" y="9"/>
                    </a:lnTo>
                    <a:lnTo>
                      <a:pt x="107" y="0"/>
                    </a:lnTo>
                    <a:lnTo>
                      <a:pt x="89" y="4"/>
                    </a:lnTo>
                    <a:lnTo>
                      <a:pt x="76" y="22"/>
                    </a:lnTo>
                    <a:lnTo>
                      <a:pt x="76" y="45"/>
                    </a:lnTo>
                    <a:lnTo>
                      <a:pt x="62" y="58"/>
                    </a:lnTo>
                    <a:lnTo>
                      <a:pt x="53" y="54"/>
                    </a:lnTo>
                    <a:lnTo>
                      <a:pt x="31" y="54"/>
                    </a:lnTo>
                    <a:lnTo>
                      <a:pt x="18" y="31"/>
                    </a:lnTo>
                    <a:lnTo>
                      <a:pt x="9" y="31"/>
                    </a:lnTo>
                    <a:lnTo>
                      <a:pt x="9" y="36"/>
                    </a:lnTo>
                    <a:lnTo>
                      <a:pt x="0" y="36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0" name="Freeform 204"/>
              <p:cNvSpPr>
                <a:spLocks noEditPoints="1"/>
              </p:cNvSpPr>
              <p:nvPr/>
            </p:nvSpPr>
            <p:spPr bwMode="gray">
              <a:xfrm>
                <a:off x="4966879" y="3296394"/>
                <a:ext cx="964458" cy="747842"/>
              </a:xfrm>
              <a:custGeom>
                <a:avLst/>
                <a:gdLst/>
                <a:ahLst/>
                <a:cxnLst>
                  <a:cxn ang="0">
                    <a:pos x="49" y="174"/>
                  </a:cxn>
                  <a:cxn ang="0">
                    <a:pos x="67" y="183"/>
                  </a:cxn>
                  <a:cxn ang="0">
                    <a:pos x="89" y="183"/>
                  </a:cxn>
                  <a:cxn ang="0">
                    <a:pos x="107" y="188"/>
                  </a:cxn>
                  <a:cxn ang="0">
                    <a:pos x="116" y="174"/>
                  </a:cxn>
                  <a:cxn ang="0">
                    <a:pos x="129" y="174"/>
                  </a:cxn>
                  <a:cxn ang="0">
                    <a:pos x="142" y="170"/>
                  </a:cxn>
                  <a:cxn ang="0">
                    <a:pos x="165" y="170"/>
                  </a:cxn>
                  <a:cxn ang="0">
                    <a:pos x="178" y="161"/>
                  </a:cxn>
                  <a:cxn ang="0">
                    <a:pos x="165" y="156"/>
                  </a:cxn>
                  <a:cxn ang="0">
                    <a:pos x="160" y="129"/>
                  </a:cxn>
                  <a:cxn ang="0">
                    <a:pos x="169" y="116"/>
                  </a:cxn>
                  <a:cxn ang="0">
                    <a:pos x="160" y="103"/>
                  </a:cxn>
                  <a:cxn ang="0">
                    <a:pos x="156" y="103"/>
                  </a:cxn>
                  <a:cxn ang="0">
                    <a:pos x="165" y="85"/>
                  </a:cxn>
                  <a:cxn ang="0">
                    <a:pos x="178" y="80"/>
                  </a:cxn>
                  <a:cxn ang="0">
                    <a:pos x="183" y="53"/>
                  </a:cxn>
                  <a:cxn ang="0">
                    <a:pos x="174" y="45"/>
                  </a:cxn>
                  <a:cxn ang="0">
                    <a:pos x="160" y="40"/>
                  </a:cxn>
                  <a:cxn ang="0">
                    <a:pos x="151" y="40"/>
                  </a:cxn>
                  <a:cxn ang="0">
                    <a:pos x="142" y="36"/>
                  </a:cxn>
                  <a:cxn ang="0">
                    <a:pos x="138" y="22"/>
                  </a:cxn>
                  <a:cxn ang="0">
                    <a:pos x="125" y="27"/>
                  </a:cxn>
                  <a:cxn ang="0">
                    <a:pos x="120" y="18"/>
                  </a:cxn>
                  <a:cxn ang="0">
                    <a:pos x="111" y="13"/>
                  </a:cxn>
                  <a:cxn ang="0">
                    <a:pos x="93" y="4"/>
                  </a:cxn>
                  <a:cxn ang="0">
                    <a:pos x="93" y="22"/>
                  </a:cxn>
                  <a:cxn ang="0">
                    <a:pos x="93" y="27"/>
                  </a:cxn>
                  <a:cxn ang="0">
                    <a:pos x="80" y="31"/>
                  </a:cxn>
                  <a:cxn ang="0">
                    <a:pos x="67" y="36"/>
                  </a:cxn>
                  <a:cxn ang="0">
                    <a:pos x="67" y="40"/>
                  </a:cxn>
                  <a:cxn ang="0">
                    <a:pos x="49" y="45"/>
                  </a:cxn>
                  <a:cxn ang="0">
                    <a:pos x="40" y="36"/>
                  </a:cxn>
                  <a:cxn ang="0">
                    <a:pos x="44" y="45"/>
                  </a:cxn>
                  <a:cxn ang="0">
                    <a:pos x="49" y="58"/>
                  </a:cxn>
                  <a:cxn ang="0">
                    <a:pos x="35" y="58"/>
                  </a:cxn>
                  <a:cxn ang="0">
                    <a:pos x="22" y="53"/>
                  </a:cxn>
                  <a:cxn ang="0">
                    <a:pos x="17" y="58"/>
                  </a:cxn>
                  <a:cxn ang="0">
                    <a:pos x="8" y="58"/>
                  </a:cxn>
                  <a:cxn ang="0">
                    <a:pos x="0" y="62"/>
                  </a:cxn>
                  <a:cxn ang="0">
                    <a:pos x="4" y="62"/>
                  </a:cxn>
                  <a:cxn ang="0">
                    <a:pos x="0" y="67"/>
                  </a:cxn>
                  <a:cxn ang="0">
                    <a:pos x="4" y="76"/>
                  </a:cxn>
                  <a:cxn ang="0">
                    <a:pos x="22" y="80"/>
                  </a:cxn>
                  <a:cxn ang="0">
                    <a:pos x="26" y="80"/>
                  </a:cxn>
                  <a:cxn ang="0">
                    <a:pos x="35" y="89"/>
                  </a:cxn>
                  <a:cxn ang="0">
                    <a:pos x="40" y="98"/>
                  </a:cxn>
                  <a:cxn ang="0">
                    <a:pos x="53" y="112"/>
                  </a:cxn>
                  <a:cxn ang="0">
                    <a:pos x="49" y="116"/>
                  </a:cxn>
                  <a:cxn ang="0">
                    <a:pos x="58" y="129"/>
                  </a:cxn>
                  <a:cxn ang="0">
                    <a:pos x="49" y="129"/>
                  </a:cxn>
                  <a:cxn ang="0">
                    <a:pos x="53" y="138"/>
                  </a:cxn>
                  <a:cxn ang="0">
                    <a:pos x="49" y="147"/>
                  </a:cxn>
                  <a:cxn ang="0">
                    <a:pos x="44" y="165"/>
                  </a:cxn>
                  <a:cxn ang="0">
                    <a:pos x="192" y="192"/>
                  </a:cxn>
                  <a:cxn ang="0">
                    <a:pos x="192" y="205"/>
                  </a:cxn>
                  <a:cxn ang="0">
                    <a:pos x="205" y="188"/>
                  </a:cxn>
                  <a:cxn ang="0">
                    <a:pos x="196" y="174"/>
                  </a:cxn>
                  <a:cxn ang="0">
                    <a:pos x="192" y="183"/>
                  </a:cxn>
                </a:cxnLst>
                <a:rect l="0" t="0" r="r" b="b"/>
                <a:pathLst>
                  <a:path w="205" h="205">
                    <a:moveTo>
                      <a:pt x="44" y="165"/>
                    </a:moveTo>
                    <a:lnTo>
                      <a:pt x="49" y="174"/>
                    </a:lnTo>
                    <a:lnTo>
                      <a:pt x="62" y="183"/>
                    </a:lnTo>
                    <a:lnTo>
                      <a:pt x="67" y="183"/>
                    </a:lnTo>
                    <a:lnTo>
                      <a:pt x="80" y="183"/>
                    </a:lnTo>
                    <a:lnTo>
                      <a:pt x="89" y="183"/>
                    </a:lnTo>
                    <a:lnTo>
                      <a:pt x="98" y="188"/>
                    </a:lnTo>
                    <a:lnTo>
                      <a:pt x="107" y="188"/>
                    </a:lnTo>
                    <a:lnTo>
                      <a:pt x="116" y="188"/>
                    </a:lnTo>
                    <a:lnTo>
                      <a:pt x="116" y="174"/>
                    </a:lnTo>
                    <a:lnTo>
                      <a:pt x="120" y="170"/>
                    </a:lnTo>
                    <a:lnTo>
                      <a:pt x="129" y="174"/>
                    </a:lnTo>
                    <a:lnTo>
                      <a:pt x="134" y="170"/>
                    </a:lnTo>
                    <a:lnTo>
                      <a:pt x="142" y="170"/>
                    </a:lnTo>
                    <a:lnTo>
                      <a:pt x="151" y="174"/>
                    </a:lnTo>
                    <a:lnTo>
                      <a:pt x="165" y="170"/>
                    </a:lnTo>
                    <a:lnTo>
                      <a:pt x="169" y="165"/>
                    </a:lnTo>
                    <a:lnTo>
                      <a:pt x="178" y="161"/>
                    </a:lnTo>
                    <a:lnTo>
                      <a:pt x="174" y="156"/>
                    </a:lnTo>
                    <a:lnTo>
                      <a:pt x="165" y="156"/>
                    </a:lnTo>
                    <a:lnTo>
                      <a:pt x="156" y="143"/>
                    </a:lnTo>
                    <a:lnTo>
                      <a:pt x="160" y="129"/>
                    </a:lnTo>
                    <a:lnTo>
                      <a:pt x="165" y="129"/>
                    </a:lnTo>
                    <a:lnTo>
                      <a:pt x="169" y="116"/>
                    </a:lnTo>
                    <a:lnTo>
                      <a:pt x="165" y="107"/>
                    </a:lnTo>
                    <a:lnTo>
                      <a:pt x="160" y="103"/>
                    </a:lnTo>
                    <a:lnTo>
                      <a:pt x="156" y="112"/>
                    </a:lnTo>
                    <a:lnTo>
                      <a:pt x="156" y="103"/>
                    </a:lnTo>
                    <a:lnTo>
                      <a:pt x="165" y="89"/>
                    </a:lnTo>
                    <a:lnTo>
                      <a:pt x="165" y="85"/>
                    </a:lnTo>
                    <a:lnTo>
                      <a:pt x="174" y="85"/>
                    </a:lnTo>
                    <a:lnTo>
                      <a:pt x="178" y="80"/>
                    </a:lnTo>
                    <a:lnTo>
                      <a:pt x="178" y="67"/>
                    </a:lnTo>
                    <a:lnTo>
                      <a:pt x="183" y="53"/>
                    </a:lnTo>
                    <a:lnTo>
                      <a:pt x="178" y="45"/>
                    </a:lnTo>
                    <a:lnTo>
                      <a:pt x="174" y="45"/>
                    </a:lnTo>
                    <a:lnTo>
                      <a:pt x="160" y="49"/>
                    </a:lnTo>
                    <a:lnTo>
                      <a:pt x="160" y="40"/>
                    </a:lnTo>
                    <a:lnTo>
                      <a:pt x="156" y="40"/>
                    </a:lnTo>
                    <a:lnTo>
                      <a:pt x="151" y="40"/>
                    </a:lnTo>
                    <a:lnTo>
                      <a:pt x="147" y="40"/>
                    </a:lnTo>
                    <a:lnTo>
                      <a:pt x="142" y="36"/>
                    </a:lnTo>
                    <a:lnTo>
                      <a:pt x="134" y="31"/>
                    </a:lnTo>
                    <a:lnTo>
                      <a:pt x="138" y="22"/>
                    </a:lnTo>
                    <a:lnTo>
                      <a:pt x="129" y="27"/>
                    </a:lnTo>
                    <a:lnTo>
                      <a:pt x="125" y="27"/>
                    </a:lnTo>
                    <a:lnTo>
                      <a:pt x="125" y="18"/>
                    </a:lnTo>
                    <a:lnTo>
                      <a:pt x="120" y="18"/>
                    </a:lnTo>
                    <a:lnTo>
                      <a:pt x="116" y="13"/>
                    </a:lnTo>
                    <a:lnTo>
                      <a:pt x="111" y="13"/>
                    </a:lnTo>
                    <a:lnTo>
                      <a:pt x="102" y="0"/>
                    </a:lnTo>
                    <a:lnTo>
                      <a:pt x="93" y="4"/>
                    </a:lnTo>
                    <a:lnTo>
                      <a:pt x="93" y="13"/>
                    </a:lnTo>
                    <a:lnTo>
                      <a:pt x="93" y="22"/>
                    </a:lnTo>
                    <a:lnTo>
                      <a:pt x="93" y="27"/>
                    </a:lnTo>
                    <a:lnTo>
                      <a:pt x="93" y="27"/>
                    </a:lnTo>
                    <a:lnTo>
                      <a:pt x="84" y="27"/>
                    </a:lnTo>
                    <a:lnTo>
                      <a:pt x="80" y="31"/>
                    </a:lnTo>
                    <a:lnTo>
                      <a:pt x="75" y="31"/>
                    </a:lnTo>
                    <a:lnTo>
                      <a:pt x="67" y="36"/>
                    </a:lnTo>
                    <a:lnTo>
                      <a:pt x="71" y="40"/>
                    </a:lnTo>
                    <a:lnTo>
                      <a:pt x="67" y="40"/>
                    </a:lnTo>
                    <a:lnTo>
                      <a:pt x="53" y="40"/>
                    </a:lnTo>
                    <a:lnTo>
                      <a:pt x="49" y="45"/>
                    </a:lnTo>
                    <a:lnTo>
                      <a:pt x="49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5"/>
                    </a:lnTo>
                    <a:lnTo>
                      <a:pt x="44" y="53"/>
                    </a:lnTo>
                    <a:lnTo>
                      <a:pt x="49" y="58"/>
                    </a:lnTo>
                    <a:lnTo>
                      <a:pt x="40" y="58"/>
                    </a:lnTo>
                    <a:lnTo>
                      <a:pt x="35" y="58"/>
                    </a:lnTo>
                    <a:lnTo>
                      <a:pt x="31" y="62"/>
                    </a:lnTo>
                    <a:lnTo>
                      <a:pt x="22" y="53"/>
                    </a:lnTo>
                    <a:lnTo>
                      <a:pt x="17" y="53"/>
                    </a:lnTo>
                    <a:lnTo>
                      <a:pt x="17" y="58"/>
                    </a:lnTo>
                    <a:lnTo>
                      <a:pt x="13" y="58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0" y="62"/>
                    </a:lnTo>
                    <a:lnTo>
                      <a:pt x="0" y="67"/>
                    </a:lnTo>
                    <a:lnTo>
                      <a:pt x="4" y="62"/>
                    </a:lnTo>
                    <a:lnTo>
                      <a:pt x="8" y="67"/>
                    </a:lnTo>
                    <a:lnTo>
                      <a:pt x="0" y="67"/>
                    </a:lnTo>
                    <a:lnTo>
                      <a:pt x="0" y="71"/>
                    </a:lnTo>
                    <a:lnTo>
                      <a:pt x="4" y="76"/>
                    </a:lnTo>
                    <a:lnTo>
                      <a:pt x="8" y="71"/>
                    </a:lnTo>
                    <a:lnTo>
                      <a:pt x="22" y="80"/>
                    </a:lnTo>
                    <a:lnTo>
                      <a:pt x="22" y="85"/>
                    </a:lnTo>
                    <a:lnTo>
                      <a:pt x="26" y="80"/>
                    </a:lnTo>
                    <a:lnTo>
                      <a:pt x="35" y="85"/>
                    </a:lnTo>
                    <a:lnTo>
                      <a:pt x="35" y="89"/>
                    </a:lnTo>
                    <a:lnTo>
                      <a:pt x="40" y="89"/>
                    </a:lnTo>
                    <a:lnTo>
                      <a:pt x="40" y="98"/>
                    </a:lnTo>
                    <a:lnTo>
                      <a:pt x="44" y="107"/>
                    </a:lnTo>
                    <a:lnTo>
                      <a:pt x="53" y="112"/>
                    </a:lnTo>
                    <a:lnTo>
                      <a:pt x="49" y="116"/>
                    </a:lnTo>
                    <a:lnTo>
                      <a:pt x="49" y="116"/>
                    </a:lnTo>
                    <a:lnTo>
                      <a:pt x="49" y="121"/>
                    </a:lnTo>
                    <a:lnTo>
                      <a:pt x="58" y="129"/>
                    </a:lnTo>
                    <a:lnTo>
                      <a:pt x="58" y="129"/>
                    </a:lnTo>
                    <a:lnTo>
                      <a:pt x="49" y="129"/>
                    </a:lnTo>
                    <a:lnTo>
                      <a:pt x="49" y="143"/>
                    </a:lnTo>
                    <a:lnTo>
                      <a:pt x="53" y="138"/>
                    </a:lnTo>
                    <a:lnTo>
                      <a:pt x="53" y="143"/>
                    </a:lnTo>
                    <a:lnTo>
                      <a:pt x="49" y="147"/>
                    </a:lnTo>
                    <a:lnTo>
                      <a:pt x="44" y="165"/>
                    </a:lnTo>
                    <a:lnTo>
                      <a:pt x="44" y="165"/>
                    </a:lnTo>
                    <a:close/>
                    <a:moveTo>
                      <a:pt x="192" y="183"/>
                    </a:moveTo>
                    <a:lnTo>
                      <a:pt x="192" y="192"/>
                    </a:lnTo>
                    <a:lnTo>
                      <a:pt x="187" y="196"/>
                    </a:lnTo>
                    <a:lnTo>
                      <a:pt x="192" y="205"/>
                    </a:lnTo>
                    <a:lnTo>
                      <a:pt x="201" y="205"/>
                    </a:lnTo>
                    <a:lnTo>
                      <a:pt x="205" y="188"/>
                    </a:lnTo>
                    <a:lnTo>
                      <a:pt x="201" y="174"/>
                    </a:lnTo>
                    <a:lnTo>
                      <a:pt x="196" y="174"/>
                    </a:lnTo>
                    <a:lnTo>
                      <a:pt x="196" y="183"/>
                    </a:lnTo>
                    <a:lnTo>
                      <a:pt x="192" y="18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41" name="Freeform 205"/>
              <p:cNvSpPr>
                <a:spLocks noEditPoints="1"/>
              </p:cNvSpPr>
              <p:nvPr/>
            </p:nvSpPr>
            <p:spPr bwMode="gray">
              <a:xfrm>
                <a:off x="5676633" y="2968161"/>
                <a:ext cx="588615" cy="639634"/>
              </a:xfrm>
              <a:custGeom>
                <a:avLst/>
                <a:gdLst/>
                <a:ahLst/>
                <a:cxnLst>
                  <a:cxn ang="0">
                    <a:pos x="9" y="108"/>
                  </a:cxn>
                  <a:cxn ang="0">
                    <a:pos x="0" y="94"/>
                  </a:cxn>
                  <a:cxn ang="0">
                    <a:pos x="0" y="81"/>
                  </a:cxn>
                  <a:cxn ang="0">
                    <a:pos x="9" y="72"/>
                  </a:cxn>
                  <a:cxn ang="0">
                    <a:pos x="14" y="54"/>
                  </a:cxn>
                  <a:cxn ang="0">
                    <a:pos x="18" y="45"/>
                  </a:cxn>
                  <a:cxn ang="0">
                    <a:pos x="14" y="36"/>
                  </a:cxn>
                  <a:cxn ang="0">
                    <a:pos x="18" y="36"/>
                  </a:cxn>
                  <a:cxn ang="0">
                    <a:pos x="27" y="32"/>
                  </a:cxn>
                  <a:cxn ang="0">
                    <a:pos x="32" y="36"/>
                  </a:cxn>
                  <a:cxn ang="0">
                    <a:pos x="36" y="32"/>
                  </a:cxn>
                  <a:cxn ang="0">
                    <a:pos x="41" y="27"/>
                  </a:cxn>
                  <a:cxn ang="0">
                    <a:pos x="50" y="27"/>
                  </a:cxn>
                  <a:cxn ang="0">
                    <a:pos x="45" y="18"/>
                  </a:cxn>
                  <a:cxn ang="0">
                    <a:pos x="45" y="14"/>
                  </a:cxn>
                  <a:cxn ang="0">
                    <a:pos x="58" y="0"/>
                  </a:cxn>
                  <a:cxn ang="0">
                    <a:pos x="58" y="14"/>
                  </a:cxn>
                  <a:cxn ang="0">
                    <a:pos x="67" y="14"/>
                  </a:cxn>
                  <a:cxn ang="0">
                    <a:pos x="72" y="9"/>
                  </a:cxn>
                  <a:cxn ang="0">
                    <a:pos x="67" y="18"/>
                  </a:cxn>
                  <a:cxn ang="0">
                    <a:pos x="63" y="23"/>
                  </a:cxn>
                  <a:cxn ang="0">
                    <a:pos x="72" y="27"/>
                  </a:cxn>
                  <a:cxn ang="0">
                    <a:pos x="76" y="23"/>
                  </a:cxn>
                  <a:cxn ang="0">
                    <a:pos x="90" y="14"/>
                  </a:cxn>
                  <a:cxn ang="0">
                    <a:pos x="94" y="18"/>
                  </a:cxn>
                  <a:cxn ang="0">
                    <a:pos x="108" y="23"/>
                  </a:cxn>
                  <a:cxn ang="0">
                    <a:pos x="112" y="27"/>
                  </a:cxn>
                  <a:cxn ang="0">
                    <a:pos x="112" y="50"/>
                  </a:cxn>
                  <a:cxn ang="0">
                    <a:pos x="121" y="72"/>
                  </a:cxn>
                  <a:cxn ang="0">
                    <a:pos x="125" y="90"/>
                  </a:cxn>
                  <a:cxn ang="0">
                    <a:pos x="121" y="99"/>
                  </a:cxn>
                  <a:cxn ang="0">
                    <a:pos x="103" y="108"/>
                  </a:cxn>
                  <a:cxn ang="0">
                    <a:pos x="90" y="117"/>
                  </a:cxn>
                  <a:cxn ang="0">
                    <a:pos x="90" y="126"/>
                  </a:cxn>
                  <a:cxn ang="0">
                    <a:pos x="103" y="135"/>
                  </a:cxn>
                  <a:cxn ang="0">
                    <a:pos x="112" y="148"/>
                  </a:cxn>
                  <a:cxn ang="0">
                    <a:pos x="99" y="157"/>
                  </a:cxn>
                  <a:cxn ang="0">
                    <a:pos x="103" y="166"/>
                  </a:cxn>
                  <a:cxn ang="0">
                    <a:pos x="94" y="170"/>
                  </a:cxn>
                  <a:cxn ang="0">
                    <a:pos x="54" y="170"/>
                  </a:cxn>
                  <a:cxn ang="0">
                    <a:pos x="36" y="170"/>
                  </a:cxn>
                  <a:cxn ang="0">
                    <a:pos x="27" y="170"/>
                  </a:cxn>
                  <a:cxn ang="0">
                    <a:pos x="32" y="143"/>
                  </a:cxn>
                  <a:cxn ang="0">
                    <a:pos x="23" y="135"/>
                  </a:cxn>
                  <a:cxn ang="0">
                    <a:pos x="9" y="130"/>
                  </a:cxn>
                  <a:cxn ang="0">
                    <a:pos x="5" y="121"/>
                  </a:cxn>
                  <a:cxn ang="0">
                    <a:pos x="103" y="9"/>
                  </a:cxn>
                  <a:cxn ang="0">
                    <a:pos x="108" y="18"/>
                  </a:cxn>
                  <a:cxn ang="0">
                    <a:pos x="103" y="9"/>
                  </a:cxn>
                </a:cxnLst>
                <a:rect l="0" t="0" r="r" b="b"/>
                <a:pathLst>
                  <a:path w="125" h="175">
                    <a:moveTo>
                      <a:pt x="5" y="117"/>
                    </a:moveTo>
                    <a:lnTo>
                      <a:pt x="9" y="108"/>
                    </a:lnTo>
                    <a:lnTo>
                      <a:pt x="5" y="99"/>
                    </a:lnTo>
                    <a:lnTo>
                      <a:pt x="0" y="94"/>
                    </a:lnTo>
                    <a:lnTo>
                      <a:pt x="5" y="85"/>
                    </a:lnTo>
                    <a:lnTo>
                      <a:pt x="0" y="81"/>
                    </a:lnTo>
                    <a:lnTo>
                      <a:pt x="0" y="76"/>
                    </a:lnTo>
                    <a:lnTo>
                      <a:pt x="9" y="72"/>
                    </a:lnTo>
                    <a:lnTo>
                      <a:pt x="14" y="72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8" y="45"/>
                    </a:lnTo>
                    <a:lnTo>
                      <a:pt x="14" y="45"/>
                    </a:lnTo>
                    <a:lnTo>
                      <a:pt x="14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2"/>
                    </a:lnTo>
                    <a:lnTo>
                      <a:pt x="27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1" y="27"/>
                    </a:lnTo>
                    <a:lnTo>
                      <a:pt x="45" y="27"/>
                    </a:lnTo>
                    <a:lnTo>
                      <a:pt x="50" y="27"/>
                    </a:lnTo>
                    <a:lnTo>
                      <a:pt x="45" y="23"/>
                    </a:lnTo>
                    <a:lnTo>
                      <a:pt x="45" y="18"/>
                    </a:lnTo>
                    <a:lnTo>
                      <a:pt x="41" y="14"/>
                    </a:lnTo>
                    <a:lnTo>
                      <a:pt x="45" y="14"/>
                    </a:lnTo>
                    <a:lnTo>
                      <a:pt x="41" y="5"/>
                    </a:lnTo>
                    <a:lnTo>
                      <a:pt x="58" y="0"/>
                    </a:lnTo>
                    <a:lnTo>
                      <a:pt x="58" y="9"/>
                    </a:lnTo>
                    <a:lnTo>
                      <a:pt x="58" y="14"/>
                    </a:lnTo>
                    <a:lnTo>
                      <a:pt x="63" y="18"/>
                    </a:lnTo>
                    <a:lnTo>
                      <a:pt x="67" y="14"/>
                    </a:lnTo>
                    <a:lnTo>
                      <a:pt x="67" y="9"/>
                    </a:lnTo>
                    <a:lnTo>
                      <a:pt x="72" y="9"/>
                    </a:lnTo>
                    <a:lnTo>
                      <a:pt x="72" y="14"/>
                    </a:lnTo>
                    <a:lnTo>
                      <a:pt x="67" y="18"/>
                    </a:lnTo>
                    <a:lnTo>
                      <a:pt x="67" y="18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72" y="27"/>
                    </a:lnTo>
                    <a:lnTo>
                      <a:pt x="76" y="27"/>
                    </a:lnTo>
                    <a:lnTo>
                      <a:pt x="76" y="23"/>
                    </a:lnTo>
                    <a:lnTo>
                      <a:pt x="85" y="23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8"/>
                    </a:lnTo>
                    <a:lnTo>
                      <a:pt x="99" y="18"/>
                    </a:lnTo>
                    <a:lnTo>
                      <a:pt x="108" y="23"/>
                    </a:lnTo>
                    <a:lnTo>
                      <a:pt x="108" y="27"/>
                    </a:lnTo>
                    <a:lnTo>
                      <a:pt x="112" y="27"/>
                    </a:lnTo>
                    <a:lnTo>
                      <a:pt x="112" y="36"/>
                    </a:lnTo>
                    <a:lnTo>
                      <a:pt x="112" y="50"/>
                    </a:lnTo>
                    <a:lnTo>
                      <a:pt x="121" y="59"/>
                    </a:lnTo>
                    <a:lnTo>
                      <a:pt x="121" y="72"/>
                    </a:lnTo>
                    <a:lnTo>
                      <a:pt x="121" y="85"/>
                    </a:lnTo>
                    <a:lnTo>
                      <a:pt x="125" y="90"/>
                    </a:lnTo>
                    <a:lnTo>
                      <a:pt x="125" y="99"/>
                    </a:lnTo>
                    <a:lnTo>
                      <a:pt x="121" y="99"/>
                    </a:lnTo>
                    <a:lnTo>
                      <a:pt x="117" y="108"/>
                    </a:lnTo>
                    <a:lnTo>
                      <a:pt x="103" y="108"/>
                    </a:lnTo>
                    <a:lnTo>
                      <a:pt x="94" y="117"/>
                    </a:lnTo>
                    <a:lnTo>
                      <a:pt x="90" y="117"/>
                    </a:lnTo>
                    <a:lnTo>
                      <a:pt x="85" y="117"/>
                    </a:lnTo>
                    <a:lnTo>
                      <a:pt x="90" y="126"/>
                    </a:lnTo>
                    <a:lnTo>
                      <a:pt x="94" y="135"/>
                    </a:lnTo>
                    <a:lnTo>
                      <a:pt x="103" y="135"/>
                    </a:lnTo>
                    <a:lnTo>
                      <a:pt x="112" y="143"/>
                    </a:lnTo>
                    <a:lnTo>
                      <a:pt x="112" y="148"/>
                    </a:lnTo>
                    <a:lnTo>
                      <a:pt x="108" y="152"/>
                    </a:lnTo>
                    <a:lnTo>
                      <a:pt x="99" y="157"/>
                    </a:lnTo>
                    <a:lnTo>
                      <a:pt x="94" y="161"/>
                    </a:lnTo>
                    <a:lnTo>
                      <a:pt x="103" y="166"/>
                    </a:lnTo>
                    <a:lnTo>
                      <a:pt x="99" y="175"/>
                    </a:lnTo>
                    <a:lnTo>
                      <a:pt x="94" y="170"/>
                    </a:lnTo>
                    <a:lnTo>
                      <a:pt x="76" y="175"/>
                    </a:lnTo>
                    <a:lnTo>
                      <a:pt x="54" y="170"/>
                    </a:lnTo>
                    <a:lnTo>
                      <a:pt x="45" y="170"/>
                    </a:lnTo>
                    <a:lnTo>
                      <a:pt x="36" y="170"/>
                    </a:lnTo>
                    <a:lnTo>
                      <a:pt x="27" y="175"/>
                    </a:lnTo>
                    <a:lnTo>
                      <a:pt x="27" y="170"/>
                    </a:lnTo>
                    <a:lnTo>
                      <a:pt x="27" y="157"/>
                    </a:lnTo>
                    <a:lnTo>
                      <a:pt x="32" y="143"/>
                    </a:lnTo>
                    <a:lnTo>
                      <a:pt x="27" y="135"/>
                    </a:lnTo>
                    <a:lnTo>
                      <a:pt x="23" y="135"/>
                    </a:lnTo>
                    <a:lnTo>
                      <a:pt x="9" y="139"/>
                    </a:lnTo>
                    <a:lnTo>
                      <a:pt x="9" y="130"/>
                    </a:lnTo>
                    <a:lnTo>
                      <a:pt x="9" y="126"/>
                    </a:lnTo>
                    <a:lnTo>
                      <a:pt x="5" y="121"/>
                    </a:lnTo>
                    <a:lnTo>
                      <a:pt x="5" y="117"/>
                    </a:lnTo>
                    <a:close/>
                    <a:moveTo>
                      <a:pt x="103" y="9"/>
                    </a:moveTo>
                    <a:lnTo>
                      <a:pt x="99" y="18"/>
                    </a:lnTo>
                    <a:lnTo>
                      <a:pt x="108" y="18"/>
                    </a:lnTo>
                    <a:lnTo>
                      <a:pt x="108" y="14"/>
                    </a:lnTo>
                    <a:lnTo>
                      <a:pt x="103" y="9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42" name="Freeform 206"/>
              <p:cNvSpPr>
                <a:spLocks noEditPoints="1"/>
              </p:cNvSpPr>
              <p:nvPr/>
            </p:nvSpPr>
            <p:spPr bwMode="gray">
              <a:xfrm>
                <a:off x="6622455" y="4044236"/>
                <a:ext cx="551341" cy="459286"/>
              </a:xfrm>
              <a:custGeom>
                <a:avLst/>
                <a:gdLst/>
                <a:ahLst/>
                <a:cxnLst>
                  <a:cxn ang="0">
                    <a:pos x="9" y="45"/>
                  </a:cxn>
                  <a:cxn ang="0">
                    <a:pos x="14" y="63"/>
                  </a:cxn>
                  <a:cxn ang="0">
                    <a:pos x="41" y="63"/>
                  </a:cxn>
                  <a:cxn ang="0">
                    <a:pos x="41" y="72"/>
                  </a:cxn>
                  <a:cxn ang="0">
                    <a:pos x="14" y="67"/>
                  </a:cxn>
                  <a:cxn ang="0">
                    <a:pos x="23" y="94"/>
                  </a:cxn>
                  <a:cxn ang="0">
                    <a:pos x="36" y="94"/>
                  </a:cxn>
                  <a:cxn ang="0">
                    <a:pos x="41" y="99"/>
                  </a:cxn>
                  <a:cxn ang="0">
                    <a:pos x="41" y="81"/>
                  </a:cxn>
                  <a:cxn ang="0">
                    <a:pos x="50" y="81"/>
                  </a:cxn>
                  <a:cxn ang="0">
                    <a:pos x="54" y="76"/>
                  </a:cxn>
                  <a:cxn ang="0">
                    <a:pos x="45" y="59"/>
                  </a:cxn>
                  <a:cxn ang="0">
                    <a:pos x="36" y="50"/>
                  </a:cxn>
                  <a:cxn ang="0">
                    <a:pos x="36" y="27"/>
                  </a:cxn>
                  <a:cxn ang="0">
                    <a:pos x="45" y="32"/>
                  </a:cxn>
                  <a:cxn ang="0">
                    <a:pos x="58" y="27"/>
                  </a:cxn>
                  <a:cxn ang="0">
                    <a:pos x="72" y="9"/>
                  </a:cxn>
                  <a:cxn ang="0">
                    <a:pos x="72" y="5"/>
                  </a:cxn>
                  <a:cxn ang="0">
                    <a:pos x="45" y="5"/>
                  </a:cxn>
                  <a:cxn ang="0">
                    <a:pos x="27" y="14"/>
                  </a:cxn>
                  <a:cxn ang="0">
                    <a:pos x="5" y="41"/>
                  </a:cxn>
                  <a:cxn ang="0">
                    <a:pos x="54" y="59"/>
                  </a:cxn>
                  <a:cxn ang="0">
                    <a:pos x="67" y="72"/>
                  </a:cxn>
                  <a:cxn ang="0">
                    <a:pos x="58" y="54"/>
                  </a:cxn>
                  <a:cxn ang="0">
                    <a:pos x="41" y="50"/>
                  </a:cxn>
                  <a:cxn ang="0">
                    <a:pos x="50" y="112"/>
                  </a:cxn>
                  <a:cxn ang="0">
                    <a:pos x="63" y="126"/>
                  </a:cxn>
                  <a:cxn ang="0">
                    <a:pos x="81" y="117"/>
                  </a:cxn>
                  <a:cxn ang="0">
                    <a:pos x="63" y="112"/>
                  </a:cxn>
                  <a:cxn ang="0">
                    <a:pos x="58" y="90"/>
                  </a:cxn>
                  <a:cxn ang="0">
                    <a:pos x="58" y="90"/>
                  </a:cxn>
                  <a:cxn ang="0">
                    <a:pos x="72" y="85"/>
                  </a:cxn>
                  <a:cxn ang="0">
                    <a:pos x="76" y="81"/>
                  </a:cxn>
                  <a:cxn ang="0">
                    <a:pos x="81" y="90"/>
                  </a:cxn>
                  <a:cxn ang="0">
                    <a:pos x="81" y="90"/>
                  </a:cxn>
                  <a:cxn ang="0">
                    <a:pos x="85" y="45"/>
                  </a:cxn>
                  <a:cxn ang="0">
                    <a:pos x="90" y="45"/>
                  </a:cxn>
                  <a:cxn ang="0">
                    <a:pos x="81" y="76"/>
                  </a:cxn>
                  <a:cxn ang="0">
                    <a:pos x="81" y="76"/>
                  </a:cxn>
                  <a:cxn ang="0">
                    <a:pos x="85" y="63"/>
                  </a:cxn>
                  <a:cxn ang="0">
                    <a:pos x="112" y="99"/>
                  </a:cxn>
                  <a:cxn ang="0">
                    <a:pos x="112" y="108"/>
                  </a:cxn>
                  <a:cxn ang="0">
                    <a:pos x="112" y="99"/>
                  </a:cxn>
                </a:cxnLst>
                <a:rect l="0" t="0" r="r" b="b"/>
                <a:pathLst>
                  <a:path w="117" h="126">
                    <a:moveTo>
                      <a:pt x="0" y="41"/>
                    </a:moveTo>
                    <a:lnTo>
                      <a:pt x="5" y="45"/>
                    </a:lnTo>
                    <a:lnTo>
                      <a:pt x="9" y="45"/>
                    </a:lnTo>
                    <a:lnTo>
                      <a:pt x="14" y="50"/>
                    </a:lnTo>
                    <a:lnTo>
                      <a:pt x="9" y="50"/>
                    </a:lnTo>
                    <a:lnTo>
                      <a:pt x="14" y="63"/>
                    </a:lnTo>
                    <a:lnTo>
                      <a:pt x="18" y="59"/>
                    </a:lnTo>
                    <a:lnTo>
                      <a:pt x="36" y="59"/>
                    </a:lnTo>
                    <a:lnTo>
                      <a:pt x="41" y="63"/>
                    </a:lnTo>
                    <a:lnTo>
                      <a:pt x="41" y="67"/>
                    </a:lnTo>
                    <a:lnTo>
                      <a:pt x="45" y="72"/>
                    </a:lnTo>
                    <a:lnTo>
                      <a:pt x="41" y="72"/>
                    </a:lnTo>
                    <a:lnTo>
                      <a:pt x="27" y="63"/>
                    </a:lnTo>
                    <a:lnTo>
                      <a:pt x="23" y="63"/>
                    </a:lnTo>
                    <a:lnTo>
                      <a:pt x="14" y="67"/>
                    </a:lnTo>
                    <a:lnTo>
                      <a:pt x="18" y="76"/>
                    </a:lnTo>
                    <a:lnTo>
                      <a:pt x="23" y="85"/>
                    </a:lnTo>
                    <a:lnTo>
                      <a:pt x="23" y="94"/>
                    </a:lnTo>
                    <a:lnTo>
                      <a:pt x="27" y="85"/>
                    </a:lnTo>
                    <a:lnTo>
                      <a:pt x="32" y="99"/>
                    </a:lnTo>
                    <a:lnTo>
                      <a:pt x="36" y="94"/>
                    </a:lnTo>
                    <a:lnTo>
                      <a:pt x="36" y="90"/>
                    </a:lnTo>
                    <a:lnTo>
                      <a:pt x="41" y="94"/>
                    </a:lnTo>
                    <a:lnTo>
                      <a:pt x="41" y="99"/>
                    </a:lnTo>
                    <a:lnTo>
                      <a:pt x="45" y="94"/>
                    </a:lnTo>
                    <a:lnTo>
                      <a:pt x="45" y="90"/>
                    </a:lnTo>
                    <a:lnTo>
                      <a:pt x="41" y="81"/>
                    </a:lnTo>
                    <a:lnTo>
                      <a:pt x="41" y="76"/>
                    </a:lnTo>
                    <a:lnTo>
                      <a:pt x="45" y="81"/>
                    </a:lnTo>
                    <a:lnTo>
                      <a:pt x="50" y="81"/>
                    </a:lnTo>
                    <a:lnTo>
                      <a:pt x="45" y="76"/>
                    </a:lnTo>
                    <a:lnTo>
                      <a:pt x="50" y="72"/>
                    </a:lnTo>
                    <a:lnTo>
                      <a:pt x="54" y="76"/>
                    </a:lnTo>
                    <a:lnTo>
                      <a:pt x="58" y="72"/>
                    </a:lnTo>
                    <a:lnTo>
                      <a:pt x="54" y="63"/>
                    </a:lnTo>
                    <a:lnTo>
                      <a:pt x="45" y="59"/>
                    </a:lnTo>
                    <a:lnTo>
                      <a:pt x="41" y="54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1" y="45"/>
                    </a:lnTo>
                    <a:lnTo>
                      <a:pt x="45" y="45"/>
                    </a:lnTo>
                    <a:lnTo>
                      <a:pt x="36" y="27"/>
                    </a:lnTo>
                    <a:lnTo>
                      <a:pt x="36" y="18"/>
                    </a:lnTo>
                    <a:lnTo>
                      <a:pt x="41" y="27"/>
                    </a:lnTo>
                    <a:lnTo>
                      <a:pt x="45" y="32"/>
                    </a:lnTo>
                    <a:lnTo>
                      <a:pt x="54" y="32"/>
                    </a:lnTo>
                    <a:lnTo>
                      <a:pt x="54" y="23"/>
                    </a:lnTo>
                    <a:lnTo>
                      <a:pt x="58" y="27"/>
                    </a:lnTo>
                    <a:lnTo>
                      <a:pt x="50" y="18"/>
                    </a:lnTo>
                    <a:lnTo>
                      <a:pt x="58" y="9"/>
                    </a:lnTo>
                    <a:lnTo>
                      <a:pt x="72" y="9"/>
                    </a:lnTo>
                    <a:lnTo>
                      <a:pt x="85" y="9"/>
                    </a:lnTo>
                    <a:lnTo>
                      <a:pt x="85" y="5"/>
                    </a:lnTo>
                    <a:lnTo>
                      <a:pt x="72" y="5"/>
                    </a:lnTo>
                    <a:lnTo>
                      <a:pt x="63" y="0"/>
                    </a:lnTo>
                    <a:lnTo>
                      <a:pt x="54" y="5"/>
                    </a:lnTo>
                    <a:lnTo>
                      <a:pt x="45" y="5"/>
                    </a:lnTo>
                    <a:lnTo>
                      <a:pt x="36" y="9"/>
                    </a:lnTo>
                    <a:lnTo>
                      <a:pt x="32" y="9"/>
                    </a:lnTo>
                    <a:lnTo>
                      <a:pt x="27" y="14"/>
                    </a:lnTo>
                    <a:lnTo>
                      <a:pt x="18" y="18"/>
                    </a:lnTo>
                    <a:lnTo>
                      <a:pt x="5" y="32"/>
                    </a:lnTo>
                    <a:lnTo>
                      <a:pt x="5" y="41"/>
                    </a:lnTo>
                    <a:lnTo>
                      <a:pt x="0" y="41"/>
                    </a:lnTo>
                    <a:close/>
                    <a:moveTo>
                      <a:pt x="41" y="50"/>
                    </a:moveTo>
                    <a:lnTo>
                      <a:pt x="54" y="59"/>
                    </a:lnTo>
                    <a:lnTo>
                      <a:pt x="58" y="67"/>
                    </a:lnTo>
                    <a:lnTo>
                      <a:pt x="67" y="72"/>
                    </a:lnTo>
                    <a:lnTo>
                      <a:pt x="67" y="72"/>
                    </a:lnTo>
                    <a:lnTo>
                      <a:pt x="58" y="63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50" y="54"/>
                    </a:lnTo>
                    <a:lnTo>
                      <a:pt x="45" y="50"/>
                    </a:lnTo>
                    <a:lnTo>
                      <a:pt x="41" y="50"/>
                    </a:lnTo>
                    <a:close/>
                    <a:moveTo>
                      <a:pt x="58" y="108"/>
                    </a:moveTo>
                    <a:lnTo>
                      <a:pt x="54" y="108"/>
                    </a:lnTo>
                    <a:lnTo>
                      <a:pt x="50" y="112"/>
                    </a:lnTo>
                    <a:lnTo>
                      <a:pt x="50" y="117"/>
                    </a:lnTo>
                    <a:lnTo>
                      <a:pt x="63" y="117"/>
                    </a:lnTo>
                    <a:lnTo>
                      <a:pt x="63" y="126"/>
                    </a:lnTo>
                    <a:lnTo>
                      <a:pt x="90" y="121"/>
                    </a:lnTo>
                    <a:lnTo>
                      <a:pt x="90" y="112"/>
                    </a:lnTo>
                    <a:lnTo>
                      <a:pt x="81" y="117"/>
                    </a:lnTo>
                    <a:lnTo>
                      <a:pt x="81" y="112"/>
                    </a:lnTo>
                    <a:lnTo>
                      <a:pt x="67" y="112"/>
                    </a:lnTo>
                    <a:lnTo>
                      <a:pt x="63" y="112"/>
                    </a:lnTo>
                    <a:lnTo>
                      <a:pt x="58" y="108"/>
                    </a:lnTo>
                    <a:close/>
                    <a:moveTo>
                      <a:pt x="58" y="90"/>
                    </a:moveTo>
                    <a:lnTo>
                      <a:pt x="58" y="90"/>
                    </a:lnTo>
                    <a:lnTo>
                      <a:pt x="58" y="94"/>
                    </a:lnTo>
                    <a:lnTo>
                      <a:pt x="63" y="90"/>
                    </a:lnTo>
                    <a:lnTo>
                      <a:pt x="58" y="90"/>
                    </a:lnTo>
                    <a:close/>
                    <a:moveTo>
                      <a:pt x="72" y="81"/>
                    </a:moveTo>
                    <a:lnTo>
                      <a:pt x="72" y="85"/>
                    </a:lnTo>
                    <a:lnTo>
                      <a:pt x="72" y="85"/>
                    </a:lnTo>
                    <a:lnTo>
                      <a:pt x="76" y="85"/>
                    </a:lnTo>
                    <a:lnTo>
                      <a:pt x="76" y="85"/>
                    </a:lnTo>
                    <a:lnTo>
                      <a:pt x="76" y="81"/>
                    </a:lnTo>
                    <a:lnTo>
                      <a:pt x="72" y="85"/>
                    </a:lnTo>
                    <a:lnTo>
                      <a:pt x="72" y="81"/>
                    </a:lnTo>
                    <a:close/>
                    <a:moveTo>
                      <a:pt x="81" y="90"/>
                    </a:moveTo>
                    <a:lnTo>
                      <a:pt x="81" y="90"/>
                    </a:lnTo>
                    <a:lnTo>
                      <a:pt x="85" y="85"/>
                    </a:lnTo>
                    <a:lnTo>
                      <a:pt x="81" y="90"/>
                    </a:lnTo>
                    <a:close/>
                    <a:moveTo>
                      <a:pt x="81" y="41"/>
                    </a:moveTo>
                    <a:lnTo>
                      <a:pt x="81" y="41"/>
                    </a:lnTo>
                    <a:lnTo>
                      <a:pt x="85" y="45"/>
                    </a:lnTo>
                    <a:lnTo>
                      <a:pt x="90" y="45"/>
                    </a:lnTo>
                    <a:lnTo>
                      <a:pt x="90" y="50"/>
                    </a:lnTo>
                    <a:lnTo>
                      <a:pt x="90" y="45"/>
                    </a:lnTo>
                    <a:lnTo>
                      <a:pt x="90" y="41"/>
                    </a:lnTo>
                    <a:lnTo>
                      <a:pt x="81" y="41"/>
                    </a:lnTo>
                    <a:close/>
                    <a:moveTo>
                      <a:pt x="81" y="76"/>
                    </a:moveTo>
                    <a:lnTo>
                      <a:pt x="85" y="76"/>
                    </a:lnTo>
                    <a:lnTo>
                      <a:pt x="90" y="76"/>
                    </a:lnTo>
                    <a:lnTo>
                      <a:pt x="81" y="76"/>
                    </a:lnTo>
                    <a:close/>
                    <a:moveTo>
                      <a:pt x="85" y="54"/>
                    </a:moveTo>
                    <a:lnTo>
                      <a:pt x="81" y="59"/>
                    </a:lnTo>
                    <a:lnTo>
                      <a:pt x="85" y="63"/>
                    </a:lnTo>
                    <a:lnTo>
                      <a:pt x="85" y="59"/>
                    </a:lnTo>
                    <a:lnTo>
                      <a:pt x="85" y="54"/>
                    </a:lnTo>
                    <a:close/>
                    <a:moveTo>
                      <a:pt x="112" y="99"/>
                    </a:moveTo>
                    <a:lnTo>
                      <a:pt x="108" y="103"/>
                    </a:lnTo>
                    <a:lnTo>
                      <a:pt x="108" y="112"/>
                    </a:lnTo>
                    <a:lnTo>
                      <a:pt x="112" y="108"/>
                    </a:lnTo>
                    <a:lnTo>
                      <a:pt x="117" y="108"/>
                    </a:lnTo>
                    <a:lnTo>
                      <a:pt x="117" y="99"/>
                    </a:lnTo>
                    <a:lnTo>
                      <a:pt x="112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3" name="Freeform 207"/>
              <p:cNvSpPr>
                <a:spLocks/>
              </p:cNvSpPr>
              <p:nvPr/>
            </p:nvSpPr>
            <p:spPr bwMode="gray">
              <a:xfrm>
                <a:off x="6347561" y="3506800"/>
                <a:ext cx="469028" cy="229643"/>
              </a:xfrm>
              <a:custGeom>
                <a:avLst/>
                <a:gdLst/>
                <a:ahLst/>
                <a:cxnLst>
                  <a:cxn ang="0">
                    <a:pos x="0" y="40"/>
                  </a:cxn>
                  <a:cxn ang="0">
                    <a:pos x="5" y="36"/>
                  </a:cxn>
                  <a:cxn ang="0">
                    <a:pos x="5" y="31"/>
                  </a:cxn>
                  <a:cxn ang="0">
                    <a:pos x="5" y="27"/>
                  </a:cxn>
                  <a:cxn ang="0">
                    <a:pos x="5" y="22"/>
                  </a:cxn>
                  <a:cxn ang="0">
                    <a:pos x="14" y="22"/>
                  </a:cxn>
                  <a:cxn ang="0">
                    <a:pos x="18" y="13"/>
                  </a:cxn>
                  <a:cxn ang="0">
                    <a:pos x="18" y="9"/>
                  </a:cxn>
                  <a:cxn ang="0">
                    <a:pos x="23" y="13"/>
                  </a:cxn>
                  <a:cxn ang="0">
                    <a:pos x="41" y="13"/>
                  </a:cxn>
                  <a:cxn ang="0">
                    <a:pos x="45" y="9"/>
                  </a:cxn>
                  <a:cxn ang="0">
                    <a:pos x="54" y="9"/>
                  </a:cxn>
                  <a:cxn ang="0">
                    <a:pos x="63" y="0"/>
                  </a:cxn>
                  <a:cxn ang="0">
                    <a:pos x="72" y="4"/>
                  </a:cxn>
                  <a:cxn ang="0">
                    <a:pos x="76" y="0"/>
                  </a:cxn>
                  <a:cxn ang="0">
                    <a:pos x="81" y="4"/>
                  </a:cxn>
                  <a:cxn ang="0">
                    <a:pos x="90" y="4"/>
                  </a:cxn>
                  <a:cxn ang="0">
                    <a:pos x="99" y="18"/>
                  </a:cxn>
                  <a:cxn ang="0">
                    <a:pos x="99" y="22"/>
                  </a:cxn>
                  <a:cxn ang="0">
                    <a:pos x="85" y="27"/>
                  </a:cxn>
                  <a:cxn ang="0">
                    <a:pos x="76" y="45"/>
                  </a:cxn>
                  <a:cxn ang="0">
                    <a:pos x="76" y="49"/>
                  </a:cxn>
                  <a:cxn ang="0">
                    <a:pos x="67" y="54"/>
                  </a:cxn>
                  <a:cxn ang="0">
                    <a:pos x="63" y="54"/>
                  </a:cxn>
                  <a:cxn ang="0">
                    <a:pos x="49" y="54"/>
                  </a:cxn>
                  <a:cxn ang="0">
                    <a:pos x="36" y="58"/>
                  </a:cxn>
                  <a:cxn ang="0">
                    <a:pos x="27" y="63"/>
                  </a:cxn>
                  <a:cxn ang="0">
                    <a:pos x="9" y="58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0"/>
                  </a:cxn>
                </a:cxnLst>
                <a:rect l="0" t="0" r="r" b="b"/>
                <a:pathLst>
                  <a:path w="99" h="63">
                    <a:moveTo>
                      <a:pt x="0" y="40"/>
                    </a:moveTo>
                    <a:lnTo>
                      <a:pt x="5" y="36"/>
                    </a:lnTo>
                    <a:lnTo>
                      <a:pt x="5" y="31"/>
                    </a:lnTo>
                    <a:lnTo>
                      <a:pt x="5" y="27"/>
                    </a:lnTo>
                    <a:lnTo>
                      <a:pt x="5" y="22"/>
                    </a:lnTo>
                    <a:lnTo>
                      <a:pt x="14" y="22"/>
                    </a:lnTo>
                    <a:lnTo>
                      <a:pt x="18" y="13"/>
                    </a:lnTo>
                    <a:lnTo>
                      <a:pt x="18" y="9"/>
                    </a:lnTo>
                    <a:lnTo>
                      <a:pt x="23" y="13"/>
                    </a:lnTo>
                    <a:lnTo>
                      <a:pt x="41" y="13"/>
                    </a:lnTo>
                    <a:lnTo>
                      <a:pt x="45" y="9"/>
                    </a:lnTo>
                    <a:lnTo>
                      <a:pt x="54" y="9"/>
                    </a:lnTo>
                    <a:lnTo>
                      <a:pt x="63" y="0"/>
                    </a:lnTo>
                    <a:lnTo>
                      <a:pt x="72" y="4"/>
                    </a:lnTo>
                    <a:lnTo>
                      <a:pt x="76" y="0"/>
                    </a:lnTo>
                    <a:lnTo>
                      <a:pt x="81" y="4"/>
                    </a:lnTo>
                    <a:lnTo>
                      <a:pt x="90" y="4"/>
                    </a:lnTo>
                    <a:lnTo>
                      <a:pt x="99" y="18"/>
                    </a:lnTo>
                    <a:lnTo>
                      <a:pt x="99" y="22"/>
                    </a:lnTo>
                    <a:lnTo>
                      <a:pt x="85" y="27"/>
                    </a:lnTo>
                    <a:lnTo>
                      <a:pt x="76" y="45"/>
                    </a:lnTo>
                    <a:lnTo>
                      <a:pt x="76" y="49"/>
                    </a:lnTo>
                    <a:lnTo>
                      <a:pt x="67" y="54"/>
                    </a:lnTo>
                    <a:lnTo>
                      <a:pt x="63" y="54"/>
                    </a:lnTo>
                    <a:lnTo>
                      <a:pt x="49" y="54"/>
                    </a:lnTo>
                    <a:lnTo>
                      <a:pt x="36" y="58"/>
                    </a:lnTo>
                    <a:lnTo>
                      <a:pt x="27" y="63"/>
                    </a:lnTo>
                    <a:lnTo>
                      <a:pt x="9" y="58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0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4" name="Freeform 209"/>
              <p:cNvSpPr>
                <a:spLocks/>
              </p:cNvSpPr>
              <p:nvPr/>
            </p:nvSpPr>
            <p:spPr bwMode="gray">
              <a:xfrm>
                <a:off x="4581717" y="2921270"/>
                <a:ext cx="276447" cy="358291"/>
              </a:xfrm>
              <a:custGeom>
                <a:avLst/>
                <a:gdLst/>
                <a:ahLst/>
                <a:cxnLst>
                  <a:cxn ang="0">
                    <a:pos x="45" y="5"/>
                  </a:cxn>
                  <a:cxn ang="0">
                    <a:pos x="45" y="0"/>
                  </a:cxn>
                  <a:cxn ang="0">
                    <a:pos x="40" y="0"/>
                  </a:cxn>
                  <a:cxn ang="0">
                    <a:pos x="40" y="0"/>
                  </a:cxn>
                  <a:cxn ang="0">
                    <a:pos x="36" y="9"/>
                  </a:cxn>
                  <a:cxn ang="0">
                    <a:pos x="36" y="0"/>
                  </a:cxn>
                  <a:cxn ang="0">
                    <a:pos x="27" y="5"/>
                  </a:cxn>
                  <a:cxn ang="0">
                    <a:pos x="27" y="13"/>
                  </a:cxn>
                  <a:cxn ang="0">
                    <a:pos x="22" y="18"/>
                  </a:cxn>
                  <a:cxn ang="0">
                    <a:pos x="27" y="22"/>
                  </a:cxn>
                  <a:cxn ang="0">
                    <a:pos x="27" y="22"/>
                  </a:cxn>
                  <a:cxn ang="0">
                    <a:pos x="22" y="27"/>
                  </a:cxn>
                  <a:cxn ang="0">
                    <a:pos x="22" y="27"/>
                  </a:cxn>
                  <a:cxn ang="0">
                    <a:pos x="18" y="27"/>
                  </a:cxn>
                  <a:cxn ang="0">
                    <a:pos x="5" y="27"/>
                  </a:cxn>
                  <a:cxn ang="0">
                    <a:pos x="0" y="36"/>
                  </a:cxn>
                  <a:cxn ang="0">
                    <a:pos x="9" y="36"/>
                  </a:cxn>
                  <a:cxn ang="0">
                    <a:pos x="5" y="45"/>
                  </a:cxn>
                  <a:cxn ang="0">
                    <a:pos x="0" y="45"/>
                  </a:cxn>
                  <a:cxn ang="0">
                    <a:pos x="0" y="54"/>
                  </a:cxn>
                  <a:cxn ang="0">
                    <a:pos x="9" y="58"/>
                  </a:cxn>
                  <a:cxn ang="0">
                    <a:pos x="14" y="54"/>
                  </a:cxn>
                  <a:cxn ang="0">
                    <a:pos x="18" y="54"/>
                  </a:cxn>
                  <a:cxn ang="0">
                    <a:pos x="14" y="63"/>
                  </a:cxn>
                  <a:cxn ang="0">
                    <a:pos x="14" y="63"/>
                  </a:cxn>
                  <a:cxn ang="0">
                    <a:pos x="9" y="72"/>
                  </a:cxn>
                  <a:cxn ang="0">
                    <a:pos x="18" y="67"/>
                  </a:cxn>
                  <a:cxn ang="0">
                    <a:pos x="18" y="72"/>
                  </a:cxn>
                  <a:cxn ang="0">
                    <a:pos x="9" y="76"/>
                  </a:cxn>
                  <a:cxn ang="0">
                    <a:pos x="9" y="81"/>
                  </a:cxn>
                  <a:cxn ang="0">
                    <a:pos x="0" y="81"/>
                  </a:cxn>
                  <a:cxn ang="0">
                    <a:pos x="0" y="89"/>
                  </a:cxn>
                  <a:cxn ang="0">
                    <a:pos x="9" y="89"/>
                  </a:cxn>
                  <a:cxn ang="0">
                    <a:pos x="0" y="94"/>
                  </a:cxn>
                  <a:cxn ang="0">
                    <a:pos x="9" y="98"/>
                  </a:cxn>
                  <a:cxn ang="0">
                    <a:pos x="27" y="89"/>
                  </a:cxn>
                  <a:cxn ang="0">
                    <a:pos x="40" y="85"/>
                  </a:cxn>
                  <a:cxn ang="0">
                    <a:pos x="49" y="85"/>
                  </a:cxn>
                  <a:cxn ang="0">
                    <a:pos x="54" y="81"/>
                  </a:cxn>
                  <a:cxn ang="0">
                    <a:pos x="58" y="72"/>
                  </a:cxn>
                  <a:cxn ang="0">
                    <a:pos x="58" y="54"/>
                  </a:cxn>
                  <a:cxn ang="0">
                    <a:pos x="58" y="49"/>
                  </a:cxn>
                  <a:cxn ang="0">
                    <a:pos x="58" y="49"/>
                  </a:cxn>
                  <a:cxn ang="0">
                    <a:pos x="54" y="31"/>
                  </a:cxn>
                  <a:cxn ang="0">
                    <a:pos x="49" y="31"/>
                  </a:cxn>
                  <a:cxn ang="0">
                    <a:pos x="40" y="27"/>
                  </a:cxn>
                  <a:cxn ang="0">
                    <a:pos x="40" y="36"/>
                  </a:cxn>
                  <a:cxn ang="0">
                    <a:pos x="27" y="31"/>
                  </a:cxn>
                  <a:cxn ang="0">
                    <a:pos x="27" y="27"/>
                  </a:cxn>
                  <a:cxn ang="0">
                    <a:pos x="31" y="18"/>
                  </a:cxn>
                  <a:cxn ang="0">
                    <a:pos x="36" y="18"/>
                  </a:cxn>
                  <a:cxn ang="0">
                    <a:pos x="40" y="13"/>
                  </a:cxn>
                  <a:cxn ang="0">
                    <a:pos x="45" y="5"/>
                  </a:cxn>
                </a:cxnLst>
                <a:rect l="0" t="0" r="r" b="b"/>
                <a:pathLst>
                  <a:path w="58" h="98">
                    <a:moveTo>
                      <a:pt x="45" y="5"/>
                    </a:moveTo>
                    <a:lnTo>
                      <a:pt x="45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9"/>
                    </a:lnTo>
                    <a:lnTo>
                      <a:pt x="36" y="0"/>
                    </a:lnTo>
                    <a:lnTo>
                      <a:pt x="27" y="5"/>
                    </a:lnTo>
                    <a:lnTo>
                      <a:pt x="27" y="13"/>
                    </a:lnTo>
                    <a:lnTo>
                      <a:pt x="22" y="18"/>
                    </a:lnTo>
                    <a:lnTo>
                      <a:pt x="27" y="22"/>
                    </a:lnTo>
                    <a:lnTo>
                      <a:pt x="27" y="22"/>
                    </a:lnTo>
                    <a:lnTo>
                      <a:pt x="22" y="27"/>
                    </a:lnTo>
                    <a:lnTo>
                      <a:pt x="22" y="27"/>
                    </a:lnTo>
                    <a:lnTo>
                      <a:pt x="18" y="27"/>
                    </a:lnTo>
                    <a:lnTo>
                      <a:pt x="5" y="27"/>
                    </a:lnTo>
                    <a:lnTo>
                      <a:pt x="0" y="36"/>
                    </a:lnTo>
                    <a:lnTo>
                      <a:pt x="9" y="36"/>
                    </a:lnTo>
                    <a:lnTo>
                      <a:pt x="5" y="45"/>
                    </a:lnTo>
                    <a:lnTo>
                      <a:pt x="0" y="45"/>
                    </a:lnTo>
                    <a:lnTo>
                      <a:pt x="0" y="54"/>
                    </a:lnTo>
                    <a:lnTo>
                      <a:pt x="9" y="58"/>
                    </a:lnTo>
                    <a:lnTo>
                      <a:pt x="14" y="54"/>
                    </a:lnTo>
                    <a:lnTo>
                      <a:pt x="18" y="54"/>
                    </a:lnTo>
                    <a:lnTo>
                      <a:pt x="14" y="63"/>
                    </a:lnTo>
                    <a:lnTo>
                      <a:pt x="14" y="63"/>
                    </a:lnTo>
                    <a:lnTo>
                      <a:pt x="9" y="72"/>
                    </a:lnTo>
                    <a:lnTo>
                      <a:pt x="18" y="67"/>
                    </a:lnTo>
                    <a:lnTo>
                      <a:pt x="18" y="72"/>
                    </a:lnTo>
                    <a:lnTo>
                      <a:pt x="9" y="76"/>
                    </a:lnTo>
                    <a:lnTo>
                      <a:pt x="9" y="81"/>
                    </a:lnTo>
                    <a:lnTo>
                      <a:pt x="0" y="81"/>
                    </a:lnTo>
                    <a:lnTo>
                      <a:pt x="0" y="89"/>
                    </a:lnTo>
                    <a:lnTo>
                      <a:pt x="9" y="89"/>
                    </a:lnTo>
                    <a:lnTo>
                      <a:pt x="0" y="94"/>
                    </a:lnTo>
                    <a:lnTo>
                      <a:pt x="9" y="98"/>
                    </a:lnTo>
                    <a:lnTo>
                      <a:pt x="27" y="89"/>
                    </a:lnTo>
                    <a:lnTo>
                      <a:pt x="40" y="85"/>
                    </a:lnTo>
                    <a:lnTo>
                      <a:pt x="49" y="85"/>
                    </a:lnTo>
                    <a:lnTo>
                      <a:pt x="54" y="81"/>
                    </a:lnTo>
                    <a:lnTo>
                      <a:pt x="58" y="72"/>
                    </a:lnTo>
                    <a:lnTo>
                      <a:pt x="58" y="54"/>
                    </a:lnTo>
                    <a:lnTo>
                      <a:pt x="58" y="49"/>
                    </a:lnTo>
                    <a:lnTo>
                      <a:pt x="58" y="49"/>
                    </a:lnTo>
                    <a:lnTo>
                      <a:pt x="54" y="31"/>
                    </a:lnTo>
                    <a:lnTo>
                      <a:pt x="49" y="31"/>
                    </a:lnTo>
                    <a:lnTo>
                      <a:pt x="40" y="27"/>
                    </a:lnTo>
                    <a:lnTo>
                      <a:pt x="40" y="36"/>
                    </a:lnTo>
                    <a:lnTo>
                      <a:pt x="27" y="31"/>
                    </a:lnTo>
                    <a:lnTo>
                      <a:pt x="27" y="27"/>
                    </a:lnTo>
                    <a:lnTo>
                      <a:pt x="31" y="18"/>
                    </a:lnTo>
                    <a:lnTo>
                      <a:pt x="36" y="18"/>
                    </a:lnTo>
                    <a:lnTo>
                      <a:pt x="40" y="13"/>
                    </a:lnTo>
                    <a:lnTo>
                      <a:pt x="45" y="5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45" name="Freeform 210"/>
              <p:cNvSpPr>
                <a:spLocks noEditPoints="1"/>
              </p:cNvSpPr>
              <p:nvPr/>
            </p:nvSpPr>
            <p:spPr bwMode="gray">
              <a:xfrm>
                <a:off x="5698376" y="3637852"/>
                <a:ext cx="821575" cy="749045"/>
              </a:xfrm>
              <a:custGeom>
                <a:avLst/>
                <a:gdLst/>
                <a:ahLst/>
                <a:cxnLst>
                  <a:cxn ang="0">
                    <a:pos x="27" y="62"/>
                  </a:cxn>
                  <a:cxn ang="0">
                    <a:pos x="36" y="49"/>
                  </a:cxn>
                  <a:cxn ang="0">
                    <a:pos x="53" y="62"/>
                  </a:cxn>
                  <a:cxn ang="0">
                    <a:pos x="62" y="94"/>
                  </a:cxn>
                  <a:cxn ang="0">
                    <a:pos x="94" y="120"/>
                  </a:cxn>
                  <a:cxn ang="0">
                    <a:pos x="112" y="129"/>
                  </a:cxn>
                  <a:cxn ang="0">
                    <a:pos x="120" y="138"/>
                  </a:cxn>
                  <a:cxn ang="0">
                    <a:pos x="138" y="161"/>
                  </a:cxn>
                  <a:cxn ang="0">
                    <a:pos x="134" y="170"/>
                  </a:cxn>
                  <a:cxn ang="0">
                    <a:pos x="134" y="183"/>
                  </a:cxn>
                  <a:cxn ang="0">
                    <a:pos x="147" y="170"/>
                  </a:cxn>
                  <a:cxn ang="0">
                    <a:pos x="152" y="161"/>
                  </a:cxn>
                  <a:cxn ang="0">
                    <a:pos x="143" y="143"/>
                  </a:cxn>
                  <a:cxn ang="0">
                    <a:pos x="156" y="134"/>
                  </a:cxn>
                  <a:cxn ang="0">
                    <a:pos x="165" y="143"/>
                  </a:cxn>
                  <a:cxn ang="0">
                    <a:pos x="174" y="138"/>
                  </a:cxn>
                  <a:cxn ang="0">
                    <a:pos x="147" y="111"/>
                  </a:cxn>
                  <a:cxn ang="0">
                    <a:pos x="138" y="102"/>
                  </a:cxn>
                  <a:cxn ang="0">
                    <a:pos x="120" y="98"/>
                  </a:cxn>
                  <a:cxn ang="0">
                    <a:pos x="103" y="80"/>
                  </a:cxn>
                  <a:cxn ang="0">
                    <a:pos x="85" y="58"/>
                  </a:cxn>
                  <a:cxn ang="0">
                    <a:pos x="85" y="44"/>
                  </a:cxn>
                  <a:cxn ang="0">
                    <a:pos x="80" y="31"/>
                  </a:cxn>
                  <a:cxn ang="0">
                    <a:pos x="94" y="22"/>
                  </a:cxn>
                  <a:cxn ang="0">
                    <a:pos x="103" y="27"/>
                  </a:cxn>
                  <a:cxn ang="0">
                    <a:pos x="107" y="31"/>
                  </a:cxn>
                  <a:cxn ang="0">
                    <a:pos x="103" y="18"/>
                  </a:cxn>
                  <a:cxn ang="0">
                    <a:pos x="103" y="13"/>
                  </a:cxn>
                  <a:cxn ang="0">
                    <a:pos x="85" y="0"/>
                  </a:cxn>
                  <a:cxn ang="0">
                    <a:pos x="67" y="4"/>
                  </a:cxn>
                  <a:cxn ang="0">
                    <a:pos x="53" y="13"/>
                  </a:cxn>
                  <a:cxn ang="0">
                    <a:pos x="40" y="9"/>
                  </a:cxn>
                  <a:cxn ang="0">
                    <a:pos x="36" y="22"/>
                  </a:cxn>
                  <a:cxn ang="0">
                    <a:pos x="27" y="13"/>
                  </a:cxn>
                  <a:cxn ang="0">
                    <a:pos x="18" y="22"/>
                  </a:cxn>
                  <a:cxn ang="0">
                    <a:pos x="9" y="35"/>
                  </a:cxn>
                  <a:cxn ang="0">
                    <a:pos x="0" y="49"/>
                  </a:cxn>
                  <a:cxn ang="0">
                    <a:pos x="18" y="62"/>
                  </a:cxn>
                  <a:cxn ang="0">
                    <a:pos x="40" y="116"/>
                  </a:cxn>
                  <a:cxn ang="0">
                    <a:pos x="27" y="125"/>
                  </a:cxn>
                  <a:cxn ang="0">
                    <a:pos x="31" y="129"/>
                  </a:cxn>
                  <a:cxn ang="0">
                    <a:pos x="36" y="143"/>
                  </a:cxn>
                  <a:cxn ang="0">
                    <a:pos x="31" y="147"/>
                  </a:cxn>
                  <a:cxn ang="0">
                    <a:pos x="36" y="161"/>
                  </a:cxn>
                  <a:cxn ang="0">
                    <a:pos x="45" y="156"/>
                  </a:cxn>
                  <a:cxn ang="0">
                    <a:pos x="49" y="143"/>
                  </a:cxn>
                  <a:cxn ang="0">
                    <a:pos x="49" y="129"/>
                  </a:cxn>
                  <a:cxn ang="0">
                    <a:pos x="40" y="116"/>
                  </a:cxn>
                  <a:cxn ang="0">
                    <a:pos x="120" y="174"/>
                  </a:cxn>
                  <a:cxn ang="0">
                    <a:pos x="98" y="170"/>
                  </a:cxn>
                  <a:cxn ang="0">
                    <a:pos x="85" y="178"/>
                  </a:cxn>
                  <a:cxn ang="0">
                    <a:pos x="89" y="187"/>
                  </a:cxn>
                  <a:cxn ang="0">
                    <a:pos x="103" y="196"/>
                  </a:cxn>
                  <a:cxn ang="0">
                    <a:pos x="116" y="201"/>
                  </a:cxn>
                  <a:cxn ang="0">
                    <a:pos x="125" y="201"/>
                  </a:cxn>
                  <a:cxn ang="0">
                    <a:pos x="129" y="178"/>
                  </a:cxn>
                  <a:cxn ang="0">
                    <a:pos x="125" y="174"/>
                  </a:cxn>
                </a:cxnLst>
                <a:rect l="0" t="0" r="r" b="b"/>
                <a:pathLst>
                  <a:path w="174" h="205">
                    <a:moveTo>
                      <a:pt x="22" y="67"/>
                    </a:moveTo>
                    <a:lnTo>
                      <a:pt x="27" y="62"/>
                    </a:lnTo>
                    <a:lnTo>
                      <a:pt x="31" y="58"/>
                    </a:lnTo>
                    <a:lnTo>
                      <a:pt x="36" y="49"/>
                    </a:lnTo>
                    <a:lnTo>
                      <a:pt x="49" y="58"/>
                    </a:lnTo>
                    <a:lnTo>
                      <a:pt x="53" y="62"/>
                    </a:lnTo>
                    <a:lnTo>
                      <a:pt x="58" y="80"/>
                    </a:lnTo>
                    <a:lnTo>
                      <a:pt x="62" y="94"/>
                    </a:lnTo>
                    <a:lnTo>
                      <a:pt x="85" y="111"/>
                    </a:lnTo>
                    <a:lnTo>
                      <a:pt x="94" y="120"/>
                    </a:lnTo>
                    <a:lnTo>
                      <a:pt x="103" y="116"/>
                    </a:lnTo>
                    <a:lnTo>
                      <a:pt x="112" y="129"/>
                    </a:lnTo>
                    <a:lnTo>
                      <a:pt x="120" y="129"/>
                    </a:lnTo>
                    <a:lnTo>
                      <a:pt x="120" y="138"/>
                    </a:lnTo>
                    <a:lnTo>
                      <a:pt x="129" y="143"/>
                    </a:lnTo>
                    <a:lnTo>
                      <a:pt x="138" y="161"/>
                    </a:lnTo>
                    <a:lnTo>
                      <a:pt x="134" y="165"/>
                    </a:lnTo>
                    <a:lnTo>
                      <a:pt x="134" y="170"/>
                    </a:lnTo>
                    <a:lnTo>
                      <a:pt x="129" y="174"/>
                    </a:lnTo>
                    <a:lnTo>
                      <a:pt x="134" y="183"/>
                    </a:lnTo>
                    <a:lnTo>
                      <a:pt x="138" y="178"/>
                    </a:lnTo>
                    <a:lnTo>
                      <a:pt x="147" y="170"/>
                    </a:lnTo>
                    <a:lnTo>
                      <a:pt x="147" y="165"/>
                    </a:lnTo>
                    <a:lnTo>
                      <a:pt x="152" y="161"/>
                    </a:lnTo>
                    <a:lnTo>
                      <a:pt x="156" y="152"/>
                    </a:lnTo>
                    <a:lnTo>
                      <a:pt x="143" y="143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5" y="134"/>
                    </a:lnTo>
                    <a:lnTo>
                      <a:pt x="165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65" y="125"/>
                    </a:lnTo>
                    <a:lnTo>
                      <a:pt x="147" y="111"/>
                    </a:lnTo>
                    <a:lnTo>
                      <a:pt x="138" y="111"/>
                    </a:lnTo>
                    <a:lnTo>
                      <a:pt x="138" y="102"/>
                    </a:lnTo>
                    <a:lnTo>
                      <a:pt x="138" y="98"/>
                    </a:lnTo>
                    <a:lnTo>
                      <a:pt x="120" y="98"/>
                    </a:lnTo>
                    <a:lnTo>
                      <a:pt x="112" y="89"/>
                    </a:lnTo>
                    <a:lnTo>
                      <a:pt x="103" y="80"/>
                    </a:lnTo>
                    <a:lnTo>
                      <a:pt x="98" y="71"/>
                    </a:lnTo>
                    <a:lnTo>
                      <a:pt x="85" y="58"/>
                    </a:lnTo>
                    <a:lnTo>
                      <a:pt x="80" y="49"/>
                    </a:lnTo>
                    <a:lnTo>
                      <a:pt x="85" y="44"/>
                    </a:lnTo>
                    <a:lnTo>
                      <a:pt x="80" y="35"/>
                    </a:lnTo>
                    <a:lnTo>
                      <a:pt x="80" y="31"/>
                    </a:lnTo>
                    <a:lnTo>
                      <a:pt x="85" y="27"/>
                    </a:lnTo>
                    <a:lnTo>
                      <a:pt x="94" y="22"/>
                    </a:lnTo>
                    <a:lnTo>
                      <a:pt x="98" y="27"/>
                    </a:lnTo>
                    <a:lnTo>
                      <a:pt x="103" y="27"/>
                    </a:lnTo>
                    <a:lnTo>
                      <a:pt x="103" y="31"/>
                    </a:lnTo>
                    <a:lnTo>
                      <a:pt x="107" y="31"/>
                    </a:lnTo>
                    <a:lnTo>
                      <a:pt x="103" y="22"/>
                    </a:lnTo>
                    <a:lnTo>
                      <a:pt x="103" y="18"/>
                    </a:lnTo>
                    <a:lnTo>
                      <a:pt x="98" y="13"/>
                    </a:lnTo>
                    <a:lnTo>
                      <a:pt x="103" y="13"/>
                    </a:lnTo>
                    <a:lnTo>
                      <a:pt x="89" y="9"/>
                    </a:lnTo>
                    <a:lnTo>
                      <a:pt x="85" y="0"/>
                    </a:lnTo>
                    <a:lnTo>
                      <a:pt x="71" y="0"/>
                    </a:lnTo>
                    <a:lnTo>
                      <a:pt x="67" y="4"/>
                    </a:lnTo>
                    <a:lnTo>
                      <a:pt x="58" y="4"/>
                    </a:lnTo>
                    <a:lnTo>
                      <a:pt x="53" y="13"/>
                    </a:lnTo>
                    <a:lnTo>
                      <a:pt x="45" y="13"/>
                    </a:lnTo>
                    <a:lnTo>
                      <a:pt x="40" y="9"/>
                    </a:lnTo>
                    <a:lnTo>
                      <a:pt x="40" y="18"/>
                    </a:lnTo>
                    <a:lnTo>
                      <a:pt x="36" y="22"/>
                    </a:lnTo>
                    <a:lnTo>
                      <a:pt x="31" y="13"/>
                    </a:lnTo>
                    <a:lnTo>
                      <a:pt x="27" y="13"/>
                    </a:lnTo>
                    <a:lnTo>
                      <a:pt x="27" y="22"/>
                    </a:lnTo>
                    <a:lnTo>
                      <a:pt x="18" y="22"/>
                    </a:lnTo>
                    <a:lnTo>
                      <a:pt x="13" y="22"/>
                    </a:lnTo>
                    <a:lnTo>
                      <a:pt x="9" y="35"/>
                    </a:lnTo>
                    <a:lnTo>
                      <a:pt x="4" y="35"/>
                    </a:lnTo>
                    <a:lnTo>
                      <a:pt x="0" y="49"/>
                    </a:lnTo>
                    <a:lnTo>
                      <a:pt x="9" y="62"/>
                    </a:lnTo>
                    <a:lnTo>
                      <a:pt x="18" y="62"/>
                    </a:lnTo>
                    <a:lnTo>
                      <a:pt x="22" y="67"/>
                    </a:lnTo>
                    <a:close/>
                    <a:moveTo>
                      <a:pt x="40" y="116"/>
                    </a:moveTo>
                    <a:lnTo>
                      <a:pt x="36" y="125"/>
                    </a:lnTo>
                    <a:lnTo>
                      <a:pt x="27" y="125"/>
                    </a:lnTo>
                    <a:lnTo>
                      <a:pt x="27" y="129"/>
                    </a:lnTo>
                    <a:lnTo>
                      <a:pt x="31" y="129"/>
                    </a:lnTo>
                    <a:lnTo>
                      <a:pt x="31" y="143"/>
                    </a:lnTo>
                    <a:lnTo>
                      <a:pt x="36" y="143"/>
                    </a:lnTo>
                    <a:lnTo>
                      <a:pt x="36" y="147"/>
                    </a:lnTo>
                    <a:lnTo>
                      <a:pt x="31" y="147"/>
                    </a:lnTo>
                    <a:lnTo>
                      <a:pt x="31" y="156"/>
                    </a:lnTo>
                    <a:lnTo>
                      <a:pt x="36" y="161"/>
                    </a:lnTo>
                    <a:lnTo>
                      <a:pt x="40" y="161"/>
                    </a:lnTo>
                    <a:lnTo>
                      <a:pt x="45" y="156"/>
                    </a:lnTo>
                    <a:lnTo>
                      <a:pt x="45" y="156"/>
                    </a:lnTo>
                    <a:lnTo>
                      <a:pt x="49" y="143"/>
                    </a:lnTo>
                    <a:lnTo>
                      <a:pt x="45" y="134"/>
                    </a:lnTo>
                    <a:lnTo>
                      <a:pt x="49" y="129"/>
                    </a:lnTo>
                    <a:lnTo>
                      <a:pt x="49" y="120"/>
                    </a:lnTo>
                    <a:lnTo>
                      <a:pt x="40" y="116"/>
                    </a:lnTo>
                    <a:close/>
                    <a:moveTo>
                      <a:pt x="125" y="174"/>
                    </a:moveTo>
                    <a:lnTo>
                      <a:pt x="120" y="174"/>
                    </a:lnTo>
                    <a:lnTo>
                      <a:pt x="107" y="174"/>
                    </a:lnTo>
                    <a:lnTo>
                      <a:pt x="98" y="170"/>
                    </a:lnTo>
                    <a:lnTo>
                      <a:pt x="89" y="174"/>
                    </a:lnTo>
                    <a:lnTo>
                      <a:pt x="85" y="178"/>
                    </a:lnTo>
                    <a:lnTo>
                      <a:pt x="85" y="187"/>
                    </a:lnTo>
                    <a:lnTo>
                      <a:pt x="89" y="187"/>
                    </a:lnTo>
                    <a:lnTo>
                      <a:pt x="94" y="187"/>
                    </a:lnTo>
                    <a:lnTo>
                      <a:pt x="103" y="196"/>
                    </a:lnTo>
                    <a:lnTo>
                      <a:pt x="112" y="196"/>
                    </a:lnTo>
                    <a:lnTo>
                      <a:pt x="116" y="201"/>
                    </a:lnTo>
                    <a:lnTo>
                      <a:pt x="125" y="205"/>
                    </a:lnTo>
                    <a:lnTo>
                      <a:pt x="125" y="201"/>
                    </a:lnTo>
                    <a:lnTo>
                      <a:pt x="125" y="187"/>
                    </a:lnTo>
                    <a:lnTo>
                      <a:pt x="129" y="178"/>
                    </a:lnTo>
                    <a:lnTo>
                      <a:pt x="129" y="174"/>
                    </a:lnTo>
                    <a:lnTo>
                      <a:pt x="125" y="17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46" name="Freeform 211"/>
              <p:cNvSpPr>
                <a:spLocks/>
              </p:cNvSpPr>
              <p:nvPr/>
            </p:nvSpPr>
            <p:spPr bwMode="gray">
              <a:xfrm>
                <a:off x="6664388" y="2675997"/>
                <a:ext cx="509408" cy="245273"/>
              </a:xfrm>
              <a:custGeom>
                <a:avLst/>
                <a:gdLst/>
                <a:ahLst/>
                <a:cxnLst>
                  <a:cxn ang="0">
                    <a:pos x="5" y="49"/>
                  </a:cxn>
                  <a:cxn ang="0">
                    <a:pos x="9" y="49"/>
                  </a:cxn>
                  <a:cxn ang="0">
                    <a:pos x="18" y="45"/>
                  </a:cxn>
                  <a:cxn ang="0">
                    <a:pos x="23" y="49"/>
                  </a:cxn>
                  <a:cxn ang="0">
                    <a:pos x="32" y="45"/>
                  </a:cxn>
                  <a:cxn ang="0">
                    <a:pos x="49" y="49"/>
                  </a:cxn>
                  <a:cxn ang="0">
                    <a:pos x="58" y="45"/>
                  </a:cxn>
                  <a:cxn ang="0">
                    <a:pos x="63" y="49"/>
                  </a:cxn>
                  <a:cxn ang="0">
                    <a:pos x="67" y="54"/>
                  </a:cxn>
                  <a:cxn ang="0">
                    <a:pos x="81" y="67"/>
                  </a:cxn>
                  <a:cxn ang="0">
                    <a:pos x="94" y="63"/>
                  </a:cxn>
                  <a:cxn ang="0">
                    <a:pos x="99" y="58"/>
                  </a:cxn>
                  <a:cxn ang="0">
                    <a:pos x="103" y="49"/>
                  </a:cxn>
                  <a:cxn ang="0">
                    <a:pos x="103" y="49"/>
                  </a:cxn>
                  <a:cxn ang="0">
                    <a:pos x="103" y="40"/>
                  </a:cxn>
                  <a:cxn ang="0">
                    <a:pos x="103" y="22"/>
                  </a:cxn>
                  <a:cxn ang="0">
                    <a:pos x="108" y="18"/>
                  </a:cxn>
                  <a:cxn ang="0">
                    <a:pos x="103" y="13"/>
                  </a:cxn>
                  <a:cxn ang="0">
                    <a:pos x="99" y="13"/>
                  </a:cxn>
                  <a:cxn ang="0">
                    <a:pos x="90" y="9"/>
                  </a:cxn>
                  <a:cxn ang="0">
                    <a:pos x="85" y="9"/>
                  </a:cxn>
                  <a:cxn ang="0">
                    <a:pos x="76" y="5"/>
                  </a:cxn>
                  <a:cxn ang="0">
                    <a:pos x="67" y="0"/>
                  </a:cxn>
                  <a:cxn ang="0">
                    <a:pos x="54" y="5"/>
                  </a:cxn>
                  <a:cxn ang="0">
                    <a:pos x="54" y="18"/>
                  </a:cxn>
                  <a:cxn ang="0">
                    <a:pos x="49" y="22"/>
                  </a:cxn>
                  <a:cxn ang="0">
                    <a:pos x="41" y="27"/>
                  </a:cxn>
                  <a:cxn ang="0">
                    <a:pos x="32" y="22"/>
                  </a:cxn>
                  <a:cxn ang="0">
                    <a:pos x="32" y="18"/>
                  </a:cxn>
                  <a:cxn ang="0">
                    <a:pos x="27" y="9"/>
                  </a:cxn>
                  <a:cxn ang="0">
                    <a:pos x="23" y="5"/>
                  </a:cxn>
                  <a:cxn ang="0">
                    <a:pos x="14" y="9"/>
                  </a:cxn>
                  <a:cxn ang="0">
                    <a:pos x="9" y="13"/>
                  </a:cxn>
                  <a:cxn ang="0">
                    <a:pos x="9" y="22"/>
                  </a:cxn>
                  <a:cxn ang="0">
                    <a:pos x="0" y="31"/>
                  </a:cxn>
                  <a:cxn ang="0">
                    <a:pos x="5" y="49"/>
                  </a:cxn>
                </a:cxnLst>
                <a:rect l="0" t="0" r="r" b="b"/>
                <a:pathLst>
                  <a:path w="108" h="67">
                    <a:moveTo>
                      <a:pt x="5" y="49"/>
                    </a:moveTo>
                    <a:lnTo>
                      <a:pt x="9" y="49"/>
                    </a:lnTo>
                    <a:lnTo>
                      <a:pt x="18" y="45"/>
                    </a:lnTo>
                    <a:lnTo>
                      <a:pt x="23" y="49"/>
                    </a:lnTo>
                    <a:lnTo>
                      <a:pt x="32" y="45"/>
                    </a:lnTo>
                    <a:lnTo>
                      <a:pt x="49" y="49"/>
                    </a:lnTo>
                    <a:lnTo>
                      <a:pt x="58" y="45"/>
                    </a:lnTo>
                    <a:lnTo>
                      <a:pt x="63" y="49"/>
                    </a:lnTo>
                    <a:lnTo>
                      <a:pt x="67" y="54"/>
                    </a:lnTo>
                    <a:lnTo>
                      <a:pt x="81" y="67"/>
                    </a:lnTo>
                    <a:lnTo>
                      <a:pt x="94" y="63"/>
                    </a:lnTo>
                    <a:lnTo>
                      <a:pt x="99" y="58"/>
                    </a:lnTo>
                    <a:lnTo>
                      <a:pt x="103" y="49"/>
                    </a:lnTo>
                    <a:lnTo>
                      <a:pt x="103" y="49"/>
                    </a:lnTo>
                    <a:lnTo>
                      <a:pt x="103" y="40"/>
                    </a:lnTo>
                    <a:lnTo>
                      <a:pt x="103" y="22"/>
                    </a:lnTo>
                    <a:lnTo>
                      <a:pt x="108" y="18"/>
                    </a:lnTo>
                    <a:lnTo>
                      <a:pt x="103" y="13"/>
                    </a:lnTo>
                    <a:lnTo>
                      <a:pt x="99" y="13"/>
                    </a:lnTo>
                    <a:lnTo>
                      <a:pt x="90" y="9"/>
                    </a:lnTo>
                    <a:lnTo>
                      <a:pt x="85" y="9"/>
                    </a:lnTo>
                    <a:lnTo>
                      <a:pt x="76" y="5"/>
                    </a:lnTo>
                    <a:lnTo>
                      <a:pt x="67" y="0"/>
                    </a:lnTo>
                    <a:lnTo>
                      <a:pt x="54" y="5"/>
                    </a:lnTo>
                    <a:lnTo>
                      <a:pt x="54" y="18"/>
                    </a:lnTo>
                    <a:lnTo>
                      <a:pt x="49" y="22"/>
                    </a:lnTo>
                    <a:lnTo>
                      <a:pt x="41" y="27"/>
                    </a:lnTo>
                    <a:lnTo>
                      <a:pt x="32" y="22"/>
                    </a:lnTo>
                    <a:lnTo>
                      <a:pt x="32" y="18"/>
                    </a:lnTo>
                    <a:lnTo>
                      <a:pt x="27" y="9"/>
                    </a:lnTo>
                    <a:lnTo>
                      <a:pt x="23" y="5"/>
                    </a:lnTo>
                    <a:lnTo>
                      <a:pt x="14" y="9"/>
                    </a:lnTo>
                    <a:lnTo>
                      <a:pt x="9" y="13"/>
                    </a:lnTo>
                    <a:lnTo>
                      <a:pt x="9" y="22"/>
                    </a:lnTo>
                    <a:lnTo>
                      <a:pt x="0" y="31"/>
                    </a:lnTo>
                    <a:lnTo>
                      <a:pt x="5" y="4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7" name="Freeform 212"/>
              <p:cNvSpPr>
                <a:spLocks/>
              </p:cNvSpPr>
              <p:nvPr/>
            </p:nvSpPr>
            <p:spPr bwMode="gray">
              <a:xfrm>
                <a:off x="6664388" y="2841917"/>
                <a:ext cx="402246" cy="224834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0" y="4"/>
                  </a:cxn>
                  <a:cxn ang="0">
                    <a:pos x="5" y="18"/>
                  </a:cxn>
                  <a:cxn ang="0">
                    <a:pos x="5" y="22"/>
                  </a:cxn>
                  <a:cxn ang="0">
                    <a:pos x="9" y="22"/>
                  </a:cxn>
                  <a:cxn ang="0">
                    <a:pos x="9" y="27"/>
                  </a:cxn>
                  <a:cxn ang="0">
                    <a:pos x="23" y="31"/>
                  </a:cxn>
                  <a:cxn ang="0">
                    <a:pos x="32" y="31"/>
                  </a:cxn>
                  <a:cxn ang="0">
                    <a:pos x="32" y="35"/>
                  </a:cxn>
                  <a:cxn ang="0">
                    <a:pos x="32" y="49"/>
                  </a:cxn>
                  <a:cxn ang="0">
                    <a:pos x="41" y="58"/>
                  </a:cxn>
                  <a:cxn ang="0">
                    <a:pos x="41" y="62"/>
                  </a:cxn>
                  <a:cxn ang="0">
                    <a:pos x="49" y="53"/>
                  </a:cxn>
                  <a:cxn ang="0">
                    <a:pos x="58" y="58"/>
                  </a:cxn>
                  <a:cxn ang="0">
                    <a:pos x="63" y="53"/>
                  </a:cxn>
                  <a:cxn ang="0">
                    <a:pos x="67" y="58"/>
                  </a:cxn>
                  <a:cxn ang="0">
                    <a:pos x="67" y="49"/>
                  </a:cxn>
                  <a:cxn ang="0">
                    <a:pos x="72" y="44"/>
                  </a:cxn>
                  <a:cxn ang="0">
                    <a:pos x="76" y="35"/>
                  </a:cxn>
                  <a:cxn ang="0">
                    <a:pos x="81" y="31"/>
                  </a:cxn>
                  <a:cxn ang="0">
                    <a:pos x="81" y="31"/>
                  </a:cxn>
                  <a:cxn ang="0">
                    <a:pos x="85" y="31"/>
                  </a:cxn>
                  <a:cxn ang="0">
                    <a:pos x="81" y="27"/>
                  </a:cxn>
                  <a:cxn ang="0">
                    <a:pos x="81" y="27"/>
                  </a:cxn>
                  <a:cxn ang="0">
                    <a:pos x="81" y="22"/>
                  </a:cxn>
                  <a:cxn ang="0">
                    <a:pos x="67" y="9"/>
                  </a:cxn>
                  <a:cxn ang="0">
                    <a:pos x="63" y="4"/>
                  </a:cxn>
                  <a:cxn ang="0">
                    <a:pos x="58" y="0"/>
                  </a:cxn>
                  <a:cxn ang="0">
                    <a:pos x="49" y="4"/>
                  </a:cxn>
                  <a:cxn ang="0">
                    <a:pos x="32" y="0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9" y="4"/>
                  </a:cxn>
                  <a:cxn ang="0">
                    <a:pos x="5" y="4"/>
                  </a:cxn>
                </a:cxnLst>
                <a:rect l="0" t="0" r="r" b="b"/>
                <a:pathLst>
                  <a:path w="85" h="62">
                    <a:moveTo>
                      <a:pt x="5" y="4"/>
                    </a:moveTo>
                    <a:lnTo>
                      <a:pt x="0" y="4"/>
                    </a:lnTo>
                    <a:lnTo>
                      <a:pt x="5" y="18"/>
                    </a:lnTo>
                    <a:lnTo>
                      <a:pt x="5" y="22"/>
                    </a:lnTo>
                    <a:lnTo>
                      <a:pt x="9" y="22"/>
                    </a:lnTo>
                    <a:lnTo>
                      <a:pt x="9" y="27"/>
                    </a:lnTo>
                    <a:lnTo>
                      <a:pt x="23" y="31"/>
                    </a:lnTo>
                    <a:lnTo>
                      <a:pt x="32" y="31"/>
                    </a:lnTo>
                    <a:lnTo>
                      <a:pt x="32" y="35"/>
                    </a:lnTo>
                    <a:lnTo>
                      <a:pt x="32" y="49"/>
                    </a:lnTo>
                    <a:lnTo>
                      <a:pt x="41" y="58"/>
                    </a:lnTo>
                    <a:lnTo>
                      <a:pt x="41" y="62"/>
                    </a:lnTo>
                    <a:lnTo>
                      <a:pt x="49" y="53"/>
                    </a:lnTo>
                    <a:lnTo>
                      <a:pt x="58" y="58"/>
                    </a:lnTo>
                    <a:lnTo>
                      <a:pt x="63" y="53"/>
                    </a:lnTo>
                    <a:lnTo>
                      <a:pt x="67" y="58"/>
                    </a:lnTo>
                    <a:lnTo>
                      <a:pt x="67" y="49"/>
                    </a:lnTo>
                    <a:lnTo>
                      <a:pt x="72" y="44"/>
                    </a:lnTo>
                    <a:lnTo>
                      <a:pt x="76" y="35"/>
                    </a:lnTo>
                    <a:lnTo>
                      <a:pt x="81" y="31"/>
                    </a:lnTo>
                    <a:lnTo>
                      <a:pt x="81" y="31"/>
                    </a:lnTo>
                    <a:lnTo>
                      <a:pt x="85" y="31"/>
                    </a:lnTo>
                    <a:lnTo>
                      <a:pt x="81" y="27"/>
                    </a:lnTo>
                    <a:lnTo>
                      <a:pt x="81" y="27"/>
                    </a:lnTo>
                    <a:lnTo>
                      <a:pt x="81" y="22"/>
                    </a:lnTo>
                    <a:lnTo>
                      <a:pt x="67" y="9"/>
                    </a:lnTo>
                    <a:lnTo>
                      <a:pt x="63" y="4"/>
                    </a:lnTo>
                    <a:lnTo>
                      <a:pt x="58" y="0"/>
                    </a:lnTo>
                    <a:lnTo>
                      <a:pt x="49" y="4"/>
                    </a:lnTo>
                    <a:lnTo>
                      <a:pt x="32" y="0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9" y="4"/>
                    </a:lnTo>
                    <a:lnTo>
                      <a:pt x="5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8" name="Freeform 213"/>
              <p:cNvSpPr>
                <a:spLocks/>
              </p:cNvSpPr>
              <p:nvPr/>
            </p:nvSpPr>
            <p:spPr bwMode="gray">
              <a:xfrm>
                <a:off x="5676633" y="3396186"/>
                <a:ext cx="41933" cy="46890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0" y="9"/>
                  </a:cxn>
                  <a:cxn ang="0">
                    <a:pos x="0" y="0"/>
                  </a:cxn>
                  <a:cxn ang="0">
                    <a:pos x="5" y="0"/>
                  </a:cxn>
                  <a:cxn ang="0">
                    <a:pos x="5" y="4"/>
                  </a:cxn>
                  <a:cxn ang="0">
                    <a:pos x="9" y="9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0" y="13"/>
                  </a:cxn>
                </a:cxnLst>
                <a:rect l="0" t="0" r="r" b="b"/>
                <a:pathLst>
                  <a:path w="9" h="13">
                    <a:moveTo>
                      <a:pt x="0" y="13"/>
                    </a:moveTo>
                    <a:lnTo>
                      <a:pt x="0" y="9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4"/>
                    </a:lnTo>
                    <a:lnTo>
                      <a:pt x="9" y="9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49" name="Freeform 214"/>
              <p:cNvSpPr>
                <a:spLocks/>
              </p:cNvSpPr>
              <p:nvPr/>
            </p:nvSpPr>
            <p:spPr bwMode="gray">
              <a:xfrm>
                <a:off x="7066633" y="3541667"/>
                <a:ext cx="209665" cy="21040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" y="18"/>
                  </a:cxn>
                  <a:cxn ang="0">
                    <a:pos x="18" y="27"/>
                  </a:cxn>
                  <a:cxn ang="0">
                    <a:pos x="23" y="40"/>
                  </a:cxn>
                  <a:cxn ang="0">
                    <a:pos x="18" y="58"/>
                  </a:cxn>
                  <a:cxn ang="0">
                    <a:pos x="27" y="58"/>
                  </a:cxn>
                  <a:cxn ang="0">
                    <a:pos x="31" y="54"/>
                  </a:cxn>
                  <a:cxn ang="0">
                    <a:pos x="31" y="49"/>
                  </a:cxn>
                  <a:cxn ang="0">
                    <a:pos x="31" y="40"/>
                  </a:cxn>
                  <a:cxn ang="0">
                    <a:pos x="36" y="45"/>
                  </a:cxn>
                  <a:cxn ang="0">
                    <a:pos x="36" y="40"/>
                  </a:cxn>
                  <a:cxn ang="0">
                    <a:pos x="40" y="40"/>
                  </a:cxn>
                  <a:cxn ang="0">
                    <a:pos x="45" y="40"/>
                  </a:cxn>
                  <a:cxn ang="0">
                    <a:pos x="45" y="31"/>
                  </a:cxn>
                  <a:cxn ang="0">
                    <a:pos x="40" y="22"/>
                  </a:cxn>
                  <a:cxn ang="0">
                    <a:pos x="40" y="13"/>
                  </a:cxn>
                  <a:cxn ang="0">
                    <a:pos x="27" y="4"/>
                  </a:cxn>
                  <a:cxn ang="0">
                    <a:pos x="23" y="4"/>
                  </a:cxn>
                  <a:cxn ang="0">
                    <a:pos x="18" y="0"/>
                  </a:cxn>
                  <a:cxn ang="0">
                    <a:pos x="14" y="4"/>
                  </a:cxn>
                  <a:cxn ang="0">
                    <a:pos x="14" y="0"/>
                  </a:cxn>
                  <a:cxn ang="0">
                    <a:pos x="0" y="0"/>
                  </a:cxn>
                </a:cxnLst>
                <a:rect l="0" t="0" r="r" b="b"/>
                <a:pathLst>
                  <a:path w="45" h="58">
                    <a:moveTo>
                      <a:pt x="0" y="0"/>
                    </a:moveTo>
                    <a:lnTo>
                      <a:pt x="14" y="18"/>
                    </a:lnTo>
                    <a:lnTo>
                      <a:pt x="18" y="27"/>
                    </a:lnTo>
                    <a:lnTo>
                      <a:pt x="23" y="40"/>
                    </a:lnTo>
                    <a:lnTo>
                      <a:pt x="18" y="58"/>
                    </a:lnTo>
                    <a:lnTo>
                      <a:pt x="27" y="58"/>
                    </a:lnTo>
                    <a:lnTo>
                      <a:pt x="31" y="54"/>
                    </a:lnTo>
                    <a:lnTo>
                      <a:pt x="31" y="49"/>
                    </a:lnTo>
                    <a:lnTo>
                      <a:pt x="31" y="40"/>
                    </a:lnTo>
                    <a:lnTo>
                      <a:pt x="36" y="45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5" y="31"/>
                    </a:lnTo>
                    <a:lnTo>
                      <a:pt x="40" y="22"/>
                    </a:lnTo>
                    <a:lnTo>
                      <a:pt x="40" y="13"/>
                    </a:lnTo>
                    <a:lnTo>
                      <a:pt x="27" y="4"/>
                    </a:lnTo>
                    <a:lnTo>
                      <a:pt x="23" y="4"/>
                    </a:lnTo>
                    <a:lnTo>
                      <a:pt x="18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0" name="Freeform 215"/>
              <p:cNvSpPr>
                <a:spLocks/>
              </p:cNvSpPr>
              <p:nvPr/>
            </p:nvSpPr>
            <p:spPr bwMode="gray">
              <a:xfrm>
                <a:off x="5488712" y="3099214"/>
                <a:ext cx="271788" cy="229643"/>
              </a:xfrm>
              <a:custGeom>
                <a:avLst/>
                <a:gdLst/>
                <a:ahLst/>
                <a:cxnLst>
                  <a:cxn ang="0">
                    <a:pos x="45" y="63"/>
                  </a:cxn>
                  <a:cxn ang="0">
                    <a:pos x="40" y="63"/>
                  </a:cxn>
                  <a:cxn ang="0">
                    <a:pos x="40" y="58"/>
                  </a:cxn>
                  <a:cxn ang="0">
                    <a:pos x="36" y="54"/>
                  </a:cxn>
                  <a:cxn ang="0">
                    <a:pos x="27" y="54"/>
                  </a:cxn>
                  <a:cxn ang="0">
                    <a:pos x="18" y="45"/>
                  </a:cxn>
                  <a:cxn ang="0">
                    <a:pos x="14" y="54"/>
                  </a:cxn>
                  <a:cxn ang="0">
                    <a:pos x="9" y="54"/>
                  </a:cxn>
                  <a:cxn ang="0">
                    <a:pos x="0" y="54"/>
                  </a:cxn>
                  <a:cxn ang="0">
                    <a:pos x="0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5" y="49"/>
                  </a:cxn>
                  <a:cxn ang="0">
                    <a:pos x="0" y="45"/>
                  </a:cxn>
                  <a:cxn ang="0">
                    <a:pos x="5" y="40"/>
                  </a:cxn>
                  <a:cxn ang="0">
                    <a:pos x="14" y="45"/>
                  </a:cxn>
                  <a:cxn ang="0">
                    <a:pos x="14" y="40"/>
                  </a:cxn>
                  <a:cxn ang="0">
                    <a:pos x="9" y="40"/>
                  </a:cxn>
                  <a:cxn ang="0">
                    <a:pos x="5" y="40"/>
                  </a:cxn>
                  <a:cxn ang="0">
                    <a:pos x="14" y="36"/>
                  </a:cxn>
                  <a:cxn ang="0">
                    <a:pos x="18" y="27"/>
                  </a:cxn>
                  <a:cxn ang="0">
                    <a:pos x="27" y="9"/>
                  </a:cxn>
                  <a:cxn ang="0">
                    <a:pos x="27" y="9"/>
                  </a:cxn>
                  <a:cxn ang="0">
                    <a:pos x="31" y="9"/>
                  </a:cxn>
                  <a:cxn ang="0">
                    <a:pos x="36" y="5"/>
                  </a:cxn>
                  <a:cxn ang="0">
                    <a:pos x="40" y="0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54" y="9"/>
                  </a:cxn>
                  <a:cxn ang="0">
                    <a:pos x="58" y="9"/>
                  </a:cxn>
                  <a:cxn ang="0">
                    <a:pos x="54" y="18"/>
                  </a:cxn>
                  <a:cxn ang="0">
                    <a:pos x="54" y="18"/>
                  </a:cxn>
                  <a:cxn ang="0">
                    <a:pos x="54" y="36"/>
                  </a:cxn>
                  <a:cxn ang="0">
                    <a:pos x="49" y="36"/>
                  </a:cxn>
                  <a:cxn ang="0">
                    <a:pos x="40" y="40"/>
                  </a:cxn>
                  <a:cxn ang="0">
                    <a:pos x="40" y="45"/>
                  </a:cxn>
                  <a:cxn ang="0">
                    <a:pos x="45" y="49"/>
                  </a:cxn>
                  <a:cxn ang="0">
                    <a:pos x="40" y="58"/>
                  </a:cxn>
                  <a:cxn ang="0">
                    <a:pos x="45" y="63"/>
                  </a:cxn>
                </a:cxnLst>
                <a:rect l="0" t="0" r="r" b="b"/>
                <a:pathLst>
                  <a:path w="58" h="63">
                    <a:moveTo>
                      <a:pt x="45" y="63"/>
                    </a:moveTo>
                    <a:lnTo>
                      <a:pt x="40" y="63"/>
                    </a:lnTo>
                    <a:lnTo>
                      <a:pt x="40" y="58"/>
                    </a:lnTo>
                    <a:lnTo>
                      <a:pt x="36" y="54"/>
                    </a:lnTo>
                    <a:lnTo>
                      <a:pt x="27" y="54"/>
                    </a:lnTo>
                    <a:lnTo>
                      <a:pt x="18" y="45"/>
                    </a:lnTo>
                    <a:lnTo>
                      <a:pt x="14" y="54"/>
                    </a:lnTo>
                    <a:lnTo>
                      <a:pt x="9" y="54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5" y="49"/>
                    </a:lnTo>
                    <a:lnTo>
                      <a:pt x="0" y="45"/>
                    </a:lnTo>
                    <a:lnTo>
                      <a:pt x="5" y="40"/>
                    </a:lnTo>
                    <a:lnTo>
                      <a:pt x="14" y="45"/>
                    </a:lnTo>
                    <a:lnTo>
                      <a:pt x="14" y="40"/>
                    </a:lnTo>
                    <a:lnTo>
                      <a:pt x="9" y="40"/>
                    </a:lnTo>
                    <a:lnTo>
                      <a:pt x="5" y="40"/>
                    </a:lnTo>
                    <a:lnTo>
                      <a:pt x="14" y="36"/>
                    </a:lnTo>
                    <a:lnTo>
                      <a:pt x="18" y="27"/>
                    </a:lnTo>
                    <a:lnTo>
                      <a:pt x="27" y="9"/>
                    </a:lnTo>
                    <a:lnTo>
                      <a:pt x="27" y="9"/>
                    </a:lnTo>
                    <a:lnTo>
                      <a:pt x="31" y="9"/>
                    </a:lnTo>
                    <a:lnTo>
                      <a:pt x="36" y="5"/>
                    </a:lnTo>
                    <a:lnTo>
                      <a:pt x="4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9"/>
                    </a:lnTo>
                    <a:lnTo>
                      <a:pt x="58" y="9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4" y="36"/>
                    </a:lnTo>
                    <a:lnTo>
                      <a:pt x="49" y="36"/>
                    </a:lnTo>
                    <a:lnTo>
                      <a:pt x="40" y="40"/>
                    </a:lnTo>
                    <a:lnTo>
                      <a:pt x="40" y="45"/>
                    </a:lnTo>
                    <a:lnTo>
                      <a:pt x="45" y="49"/>
                    </a:lnTo>
                    <a:lnTo>
                      <a:pt x="40" y="58"/>
                    </a:lnTo>
                    <a:lnTo>
                      <a:pt x="45" y="63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1" name="Freeform 216"/>
              <p:cNvSpPr>
                <a:spLocks noEditPoints="1"/>
              </p:cNvSpPr>
              <p:nvPr/>
            </p:nvSpPr>
            <p:spPr bwMode="gray">
              <a:xfrm>
                <a:off x="5616064" y="980728"/>
                <a:ext cx="1747207" cy="1695269"/>
              </a:xfrm>
              <a:custGeom>
                <a:avLst/>
                <a:gdLst/>
                <a:ahLst/>
                <a:cxnLst>
                  <a:cxn ang="0">
                    <a:pos x="98" y="416"/>
                  </a:cxn>
                  <a:cxn ang="0">
                    <a:pos x="98" y="349"/>
                  </a:cxn>
                  <a:cxn ang="0">
                    <a:pos x="103" y="277"/>
                  </a:cxn>
                  <a:cxn ang="0">
                    <a:pos x="125" y="259"/>
                  </a:cxn>
                  <a:cxn ang="0">
                    <a:pos x="143" y="215"/>
                  </a:cxn>
                  <a:cxn ang="0">
                    <a:pos x="161" y="157"/>
                  </a:cxn>
                  <a:cxn ang="0">
                    <a:pos x="188" y="130"/>
                  </a:cxn>
                  <a:cxn ang="0">
                    <a:pos x="210" y="103"/>
                  </a:cxn>
                  <a:cxn ang="0">
                    <a:pos x="228" y="90"/>
                  </a:cxn>
                  <a:cxn ang="0">
                    <a:pos x="272" y="108"/>
                  </a:cxn>
                  <a:cxn ang="0">
                    <a:pos x="308" y="58"/>
                  </a:cxn>
                  <a:cxn ang="0">
                    <a:pos x="339" y="67"/>
                  </a:cxn>
                  <a:cxn ang="0">
                    <a:pos x="344" y="90"/>
                  </a:cxn>
                  <a:cxn ang="0">
                    <a:pos x="362" y="76"/>
                  </a:cxn>
                  <a:cxn ang="0">
                    <a:pos x="357" y="49"/>
                  </a:cxn>
                  <a:cxn ang="0">
                    <a:pos x="348" y="18"/>
                  </a:cxn>
                  <a:cxn ang="0">
                    <a:pos x="335" y="14"/>
                  </a:cxn>
                  <a:cxn ang="0">
                    <a:pos x="335" y="5"/>
                  </a:cxn>
                  <a:cxn ang="0">
                    <a:pos x="308" y="32"/>
                  </a:cxn>
                  <a:cxn ang="0">
                    <a:pos x="281" y="49"/>
                  </a:cxn>
                  <a:cxn ang="0">
                    <a:pos x="272" y="18"/>
                  </a:cxn>
                  <a:cxn ang="0">
                    <a:pos x="259" y="54"/>
                  </a:cxn>
                  <a:cxn ang="0">
                    <a:pos x="228" y="45"/>
                  </a:cxn>
                  <a:cxn ang="0">
                    <a:pos x="214" y="76"/>
                  </a:cxn>
                  <a:cxn ang="0">
                    <a:pos x="179" y="67"/>
                  </a:cxn>
                  <a:cxn ang="0">
                    <a:pos x="179" y="81"/>
                  </a:cxn>
                  <a:cxn ang="0">
                    <a:pos x="161" y="125"/>
                  </a:cxn>
                  <a:cxn ang="0">
                    <a:pos x="147" y="143"/>
                  </a:cxn>
                  <a:cxn ang="0">
                    <a:pos x="147" y="157"/>
                  </a:cxn>
                  <a:cxn ang="0">
                    <a:pos x="134" y="166"/>
                  </a:cxn>
                  <a:cxn ang="0">
                    <a:pos x="121" y="192"/>
                  </a:cxn>
                  <a:cxn ang="0">
                    <a:pos x="98" y="233"/>
                  </a:cxn>
                  <a:cxn ang="0">
                    <a:pos x="89" y="255"/>
                  </a:cxn>
                  <a:cxn ang="0">
                    <a:pos x="76" y="277"/>
                  </a:cxn>
                  <a:cxn ang="0">
                    <a:pos x="67" y="295"/>
                  </a:cxn>
                  <a:cxn ang="0">
                    <a:pos x="40" y="309"/>
                  </a:cxn>
                  <a:cxn ang="0">
                    <a:pos x="4" y="358"/>
                  </a:cxn>
                  <a:cxn ang="0">
                    <a:pos x="13" y="376"/>
                  </a:cxn>
                  <a:cxn ang="0">
                    <a:pos x="0" y="425"/>
                  </a:cxn>
                  <a:cxn ang="0">
                    <a:pos x="27" y="452"/>
                  </a:cxn>
                  <a:cxn ang="0">
                    <a:pos x="49" y="456"/>
                  </a:cxn>
                  <a:cxn ang="0">
                    <a:pos x="71" y="425"/>
                  </a:cxn>
                  <a:cxn ang="0">
                    <a:pos x="89" y="429"/>
                  </a:cxn>
                  <a:cxn ang="0">
                    <a:pos x="125" y="125"/>
                  </a:cxn>
                  <a:cxn ang="0">
                    <a:pos x="134" y="116"/>
                  </a:cxn>
                  <a:cxn ang="0">
                    <a:pos x="112" y="139"/>
                  </a:cxn>
                  <a:cxn ang="0">
                    <a:pos x="161" y="94"/>
                  </a:cxn>
                  <a:cxn ang="0">
                    <a:pos x="156" y="90"/>
                  </a:cxn>
                  <a:cxn ang="0">
                    <a:pos x="138" y="90"/>
                  </a:cxn>
                  <a:cxn ang="0">
                    <a:pos x="138" y="108"/>
                  </a:cxn>
                  <a:cxn ang="0">
                    <a:pos x="192" y="67"/>
                  </a:cxn>
                  <a:cxn ang="0">
                    <a:pos x="205" y="58"/>
                  </a:cxn>
                  <a:cxn ang="0">
                    <a:pos x="192" y="54"/>
                  </a:cxn>
                  <a:cxn ang="0">
                    <a:pos x="192" y="67"/>
                  </a:cxn>
                  <a:cxn ang="0">
                    <a:pos x="255" y="36"/>
                  </a:cxn>
                  <a:cxn ang="0">
                    <a:pos x="264" y="14"/>
                  </a:cxn>
                  <a:cxn ang="0">
                    <a:pos x="241" y="27"/>
                  </a:cxn>
                </a:cxnLst>
                <a:rect l="0" t="0" r="r" b="b"/>
                <a:pathLst>
                  <a:path w="371" h="465">
                    <a:moveTo>
                      <a:pt x="89" y="434"/>
                    </a:moveTo>
                    <a:lnTo>
                      <a:pt x="98" y="438"/>
                    </a:lnTo>
                    <a:lnTo>
                      <a:pt x="98" y="425"/>
                    </a:lnTo>
                    <a:lnTo>
                      <a:pt x="98" y="416"/>
                    </a:lnTo>
                    <a:lnTo>
                      <a:pt x="107" y="407"/>
                    </a:lnTo>
                    <a:lnTo>
                      <a:pt x="103" y="380"/>
                    </a:lnTo>
                    <a:lnTo>
                      <a:pt x="112" y="367"/>
                    </a:lnTo>
                    <a:lnTo>
                      <a:pt x="98" y="349"/>
                    </a:lnTo>
                    <a:lnTo>
                      <a:pt x="98" y="304"/>
                    </a:lnTo>
                    <a:lnTo>
                      <a:pt x="103" y="300"/>
                    </a:lnTo>
                    <a:lnTo>
                      <a:pt x="98" y="295"/>
                    </a:lnTo>
                    <a:lnTo>
                      <a:pt x="103" y="277"/>
                    </a:lnTo>
                    <a:lnTo>
                      <a:pt x="112" y="273"/>
                    </a:lnTo>
                    <a:lnTo>
                      <a:pt x="121" y="277"/>
                    </a:lnTo>
                    <a:lnTo>
                      <a:pt x="130" y="273"/>
                    </a:lnTo>
                    <a:lnTo>
                      <a:pt x="125" y="259"/>
                    </a:lnTo>
                    <a:lnTo>
                      <a:pt x="134" y="233"/>
                    </a:lnTo>
                    <a:lnTo>
                      <a:pt x="134" y="215"/>
                    </a:lnTo>
                    <a:lnTo>
                      <a:pt x="138" y="210"/>
                    </a:lnTo>
                    <a:lnTo>
                      <a:pt x="143" y="215"/>
                    </a:lnTo>
                    <a:lnTo>
                      <a:pt x="147" y="206"/>
                    </a:lnTo>
                    <a:lnTo>
                      <a:pt x="143" y="197"/>
                    </a:lnTo>
                    <a:lnTo>
                      <a:pt x="165" y="175"/>
                    </a:lnTo>
                    <a:lnTo>
                      <a:pt x="161" y="157"/>
                    </a:lnTo>
                    <a:lnTo>
                      <a:pt x="165" y="143"/>
                    </a:lnTo>
                    <a:lnTo>
                      <a:pt x="174" y="130"/>
                    </a:lnTo>
                    <a:lnTo>
                      <a:pt x="183" y="134"/>
                    </a:lnTo>
                    <a:lnTo>
                      <a:pt x="188" y="130"/>
                    </a:lnTo>
                    <a:lnTo>
                      <a:pt x="183" y="116"/>
                    </a:lnTo>
                    <a:lnTo>
                      <a:pt x="188" y="112"/>
                    </a:lnTo>
                    <a:lnTo>
                      <a:pt x="210" y="116"/>
                    </a:lnTo>
                    <a:lnTo>
                      <a:pt x="210" y="103"/>
                    </a:lnTo>
                    <a:lnTo>
                      <a:pt x="214" y="94"/>
                    </a:lnTo>
                    <a:lnTo>
                      <a:pt x="223" y="94"/>
                    </a:lnTo>
                    <a:lnTo>
                      <a:pt x="219" y="90"/>
                    </a:lnTo>
                    <a:lnTo>
                      <a:pt x="228" y="90"/>
                    </a:lnTo>
                    <a:lnTo>
                      <a:pt x="228" y="85"/>
                    </a:lnTo>
                    <a:lnTo>
                      <a:pt x="237" y="85"/>
                    </a:lnTo>
                    <a:lnTo>
                      <a:pt x="250" y="108"/>
                    </a:lnTo>
                    <a:lnTo>
                      <a:pt x="272" y="108"/>
                    </a:lnTo>
                    <a:lnTo>
                      <a:pt x="281" y="112"/>
                    </a:lnTo>
                    <a:lnTo>
                      <a:pt x="295" y="99"/>
                    </a:lnTo>
                    <a:lnTo>
                      <a:pt x="295" y="76"/>
                    </a:lnTo>
                    <a:lnTo>
                      <a:pt x="308" y="58"/>
                    </a:lnTo>
                    <a:lnTo>
                      <a:pt x="326" y="54"/>
                    </a:lnTo>
                    <a:lnTo>
                      <a:pt x="331" y="63"/>
                    </a:lnTo>
                    <a:lnTo>
                      <a:pt x="339" y="63"/>
                    </a:lnTo>
                    <a:lnTo>
                      <a:pt x="339" y="67"/>
                    </a:lnTo>
                    <a:lnTo>
                      <a:pt x="335" y="85"/>
                    </a:lnTo>
                    <a:lnTo>
                      <a:pt x="331" y="90"/>
                    </a:lnTo>
                    <a:lnTo>
                      <a:pt x="331" y="94"/>
                    </a:lnTo>
                    <a:lnTo>
                      <a:pt x="344" y="90"/>
                    </a:lnTo>
                    <a:lnTo>
                      <a:pt x="353" y="76"/>
                    </a:lnTo>
                    <a:lnTo>
                      <a:pt x="353" y="67"/>
                    </a:lnTo>
                    <a:lnTo>
                      <a:pt x="353" y="67"/>
                    </a:lnTo>
                    <a:lnTo>
                      <a:pt x="362" y="76"/>
                    </a:lnTo>
                    <a:lnTo>
                      <a:pt x="366" y="63"/>
                    </a:lnTo>
                    <a:lnTo>
                      <a:pt x="339" y="49"/>
                    </a:lnTo>
                    <a:lnTo>
                      <a:pt x="335" y="45"/>
                    </a:lnTo>
                    <a:lnTo>
                      <a:pt x="357" y="49"/>
                    </a:lnTo>
                    <a:lnTo>
                      <a:pt x="366" y="36"/>
                    </a:lnTo>
                    <a:lnTo>
                      <a:pt x="371" y="36"/>
                    </a:lnTo>
                    <a:lnTo>
                      <a:pt x="371" y="27"/>
                    </a:lnTo>
                    <a:lnTo>
                      <a:pt x="348" y="18"/>
                    </a:lnTo>
                    <a:lnTo>
                      <a:pt x="344" y="18"/>
                    </a:lnTo>
                    <a:lnTo>
                      <a:pt x="348" y="9"/>
                    </a:lnTo>
                    <a:lnTo>
                      <a:pt x="344" y="5"/>
                    </a:lnTo>
                    <a:lnTo>
                      <a:pt x="335" y="14"/>
                    </a:lnTo>
                    <a:lnTo>
                      <a:pt x="331" y="32"/>
                    </a:lnTo>
                    <a:lnTo>
                      <a:pt x="326" y="27"/>
                    </a:lnTo>
                    <a:lnTo>
                      <a:pt x="331" y="18"/>
                    </a:lnTo>
                    <a:lnTo>
                      <a:pt x="335" y="5"/>
                    </a:lnTo>
                    <a:lnTo>
                      <a:pt x="335" y="5"/>
                    </a:lnTo>
                    <a:lnTo>
                      <a:pt x="326" y="0"/>
                    </a:lnTo>
                    <a:lnTo>
                      <a:pt x="317" y="5"/>
                    </a:lnTo>
                    <a:lnTo>
                      <a:pt x="308" y="32"/>
                    </a:lnTo>
                    <a:lnTo>
                      <a:pt x="304" y="9"/>
                    </a:lnTo>
                    <a:lnTo>
                      <a:pt x="295" y="27"/>
                    </a:lnTo>
                    <a:lnTo>
                      <a:pt x="286" y="49"/>
                    </a:lnTo>
                    <a:lnTo>
                      <a:pt x="281" y="49"/>
                    </a:lnTo>
                    <a:lnTo>
                      <a:pt x="286" y="32"/>
                    </a:lnTo>
                    <a:lnTo>
                      <a:pt x="295" y="9"/>
                    </a:lnTo>
                    <a:lnTo>
                      <a:pt x="277" y="5"/>
                    </a:lnTo>
                    <a:lnTo>
                      <a:pt x="272" y="18"/>
                    </a:lnTo>
                    <a:lnTo>
                      <a:pt x="277" y="23"/>
                    </a:lnTo>
                    <a:lnTo>
                      <a:pt x="268" y="27"/>
                    </a:lnTo>
                    <a:lnTo>
                      <a:pt x="259" y="41"/>
                    </a:lnTo>
                    <a:lnTo>
                      <a:pt x="259" y="54"/>
                    </a:lnTo>
                    <a:lnTo>
                      <a:pt x="250" y="54"/>
                    </a:lnTo>
                    <a:lnTo>
                      <a:pt x="250" y="41"/>
                    </a:lnTo>
                    <a:lnTo>
                      <a:pt x="237" y="41"/>
                    </a:lnTo>
                    <a:lnTo>
                      <a:pt x="228" y="45"/>
                    </a:lnTo>
                    <a:lnTo>
                      <a:pt x="237" y="54"/>
                    </a:lnTo>
                    <a:lnTo>
                      <a:pt x="228" y="58"/>
                    </a:lnTo>
                    <a:lnTo>
                      <a:pt x="223" y="54"/>
                    </a:lnTo>
                    <a:lnTo>
                      <a:pt x="214" y="76"/>
                    </a:lnTo>
                    <a:lnTo>
                      <a:pt x="214" y="58"/>
                    </a:lnTo>
                    <a:lnTo>
                      <a:pt x="197" y="67"/>
                    </a:lnTo>
                    <a:lnTo>
                      <a:pt x="192" y="76"/>
                    </a:lnTo>
                    <a:lnTo>
                      <a:pt x="179" y="67"/>
                    </a:lnTo>
                    <a:lnTo>
                      <a:pt x="170" y="76"/>
                    </a:lnTo>
                    <a:lnTo>
                      <a:pt x="165" y="85"/>
                    </a:lnTo>
                    <a:lnTo>
                      <a:pt x="170" y="90"/>
                    </a:lnTo>
                    <a:lnTo>
                      <a:pt x="179" y="81"/>
                    </a:lnTo>
                    <a:lnTo>
                      <a:pt x="179" y="99"/>
                    </a:lnTo>
                    <a:lnTo>
                      <a:pt x="165" y="108"/>
                    </a:lnTo>
                    <a:lnTo>
                      <a:pt x="161" y="116"/>
                    </a:lnTo>
                    <a:lnTo>
                      <a:pt x="161" y="125"/>
                    </a:lnTo>
                    <a:lnTo>
                      <a:pt x="152" y="121"/>
                    </a:lnTo>
                    <a:lnTo>
                      <a:pt x="138" y="134"/>
                    </a:lnTo>
                    <a:lnTo>
                      <a:pt x="138" y="148"/>
                    </a:lnTo>
                    <a:lnTo>
                      <a:pt x="147" y="143"/>
                    </a:lnTo>
                    <a:lnTo>
                      <a:pt x="147" y="152"/>
                    </a:lnTo>
                    <a:lnTo>
                      <a:pt x="138" y="152"/>
                    </a:lnTo>
                    <a:lnTo>
                      <a:pt x="130" y="161"/>
                    </a:lnTo>
                    <a:lnTo>
                      <a:pt x="147" y="157"/>
                    </a:lnTo>
                    <a:lnTo>
                      <a:pt x="152" y="161"/>
                    </a:lnTo>
                    <a:lnTo>
                      <a:pt x="152" y="166"/>
                    </a:lnTo>
                    <a:lnTo>
                      <a:pt x="143" y="161"/>
                    </a:lnTo>
                    <a:lnTo>
                      <a:pt x="134" y="166"/>
                    </a:lnTo>
                    <a:lnTo>
                      <a:pt x="134" y="170"/>
                    </a:lnTo>
                    <a:lnTo>
                      <a:pt x="125" y="170"/>
                    </a:lnTo>
                    <a:lnTo>
                      <a:pt x="116" y="184"/>
                    </a:lnTo>
                    <a:lnTo>
                      <a:pt x="121" y="192"/>
                    </a:lnTo>
                    <a:lnTo>
                      <a:pt x="112" y="197"/>
                    </a:lnTo>
                    <a:lnTo>
                      <a:pt x="116" y="206"/>
                    </a:lnTo>
                    <a:lnTo>
                      <a:pt x="107" y="215"/>
                    </a:lnTo>
                    <a:lnTo>
                      <a:pt x="98" y="233"/>
                    </a:lnTo>
                    <a:lnTo>
                      <a:pt x="98" y="233"/>
                    </a:lnTo>
                    <a:lnTo>
                      <a:pt x="103" y="246"/>
                    </a:lnTo>
                    <a:lnTo>
                      <a:pt x="98" y="242"/>
                    </a:lnTo>
                    <a:lnTo>
                      <a:pt x="89" y="255"/>
                    </a:lnTo>
                    <a:lnTo>
                      <a:pt x="94" y="255"/>
                    </a:lnTo>
                    <a:lnTo>
                      <a:pt x="94" y="264"/>
                    </a:lnTo>
                    <a:lnTo>
                      <a:pt x="80" y="264"/>
                    </a:lnTo>
                    <a:lnTo>
                      <a:pt x="76" y="277"/>
                    </a:lnTo>
                    <a:lnTo>
                      <a:pt x="71" y="286"/>
                    </a:lnTo>
                    <a:lnTo>
                      <a:pt x="80" y="295"/>
                    </a:lnTo>
                    <a:lnTo>
                      <a:pt x="76" y="300"/>
                    </a:lnTo>
                    <a:lnTo>
                      <a:pt x="67" y="295"/>
                    </a:lnTo>
                    <a:lnTo>
                      <a:pt x="58" y="282"/>
                    </a:lnTo>
                    <a:lnTo>
                      <a:pt x="49" y="295"/>
                    </a:lnTo>
                    <a:lnTo>
                      <a:pt x="49" y="313"/>
                    </a:lnTo>
                    <a:lnTo>
                      <a:pt x="40" y="309"/>
                    </a:lnTo>
                    <a:lnTo>
                      <a:pt x="18" y="327"/>
                    </a:lnTo>
                    <a:lnTo>
                      <a:pt x="4" y="335"/>
                    </a:lnTo>
                    <a:lnTo>
                      <a:pt x="0" y="349"/>
                    </a:lnTo>
                    <a:lnTo>
                      <a:pt x="4" y="358"/>
                    </a:lnTo>
                    <a:lnTo>
                      <a:pt x="13" y="358"/>
                    </a:lnTo>
                    <a:lnTo>
                      <a:pt x="4" y="362"/>
                    </a:lnTo>
                    <a:lnTo>
                      <a:pt x="9" y="371"/>
                    </a:lnTo>
                    <a:lnTo>
                      <a:pt x="13" y="376"/>
                    </a:lnTo>
                    <a:lnTo>
                      <a:pt x="4" y="376"/>
                    </a:lnTo>
                    <a:lnTo>
                      <a:pt x="0" y="398"/>
                    </a:lnTo>
                    <a:lnTo>
                      <a:pt x="4" y="402"/>
                    </a:lnTo>
                    <a:lnTo>
                      <a:pt x="0" y="425"/>
                    </a:lnTo>
                    <a:lnTo>
                      <a:pt x="9" y="434"/>
                    </a:lnTo>
                    <a:lnTo>
                      <a:pt x="13" y="447"/>
                    </a:lnTo>
                    <a:lnTo>
                      <a:pt x="18" y="452"/>
                    </a:lnTo>
                    <a:lnTo>
                      <a:pt x="27" y="452"/>
                    </a:lnTo>
                    <a:lnTo>
                      <a:pt x="27" y="461"/>
                    </a:lnTo>
                    <a:lnTo>
                      <a:pt x="36" y="465"/>
                    </a:lnTo>
                    <a:lnTo>
                      <a:pt x="45" y="461"/>
                    </a:lnTo>
                    <a:lnTo>
                      <a:pt x="49" y="456"/>
                    </a:lnTo>
                    <a:lnTo>
                      <a:pt x="54" y="456"/>
                    </a:lnTo>
                    <a:lnTo>
                      <a:pt x="63" y="438"/>
                    </a:lnTo>
                    <a:lnTo>
                      <a:pt x="67" y="429"/>
                    </a:lnTo>
                    <a:lnTo>
                      <a:pt x="71" y="425"/>
                    </a:lnTo>
                    <a:lnTo>
                      <a:pt x="76" y="420"/>
                    </a:lnTo>
                    <a:lnTo>
                      <a:pt x="80" y="420"/>
                    </a:lnTo>
                    <a:lnTo>
                      <a:pt x="80" y="429"/>
                    </a:lnTo>
                    <a:lnTo>
                      <a:pt x="89" y="429"/>
                    </a:lnTo>
                    <a:lnTo>
                      <a:pt x="89" y="434"/>
                    </a:lnTo>
                    <a:close/>
                    <a:moveTo>
                      <a:pt x="112" y="139"/>
                    </a:moveTo>
                    <a:lnTo>
                      <a:pt x="121" y="130"/>
                    </a:lnTo>
                    <a:lnTo>
                      <a:pt x="125" y="125"/>
                    </a:lnTo>
                    <a:lnTo>
                      <a:pt x="130" y="125"/>
                    </a:lnTo>
                    <a:lnTo>
                      <a:pt x="138" y="121"/>
                    </a:lnTo>
                    <a:lnTo>
                      <a:pt x="138" y="112"/>
                    </a:lnTo>
                    <a:lnTo>
                      <a:pt x="134" y="116"/>
                    </a:lnTo>
                    <a:lnTo>
                      <a:pt x="130" y="121"/>
                    </a:lnTo>
                    <a:lnTo>
                      <a:pt x="125" y="121"/>
                    </a:lnTo>
                    <a:lnTo>
                      <a:pt x="112" y="130"/>
                    </a:lnTo>
                    <a:lnTo>
                      <a:pt x="112" y="139"/>
                    </a:lnTo>
                    <a:close/>
                    <a:moveTo>
                      <a:pt x="152" y="116"/>
                    </a:moveTo>
                    <a:lnTo>
                      <a:pt x="161" y="108"/>
                    </a:lnTo>
                    <a:lnTo>
                      <a:pt x="165" y="99"/>
                    </a:lnTo>
                    <a:lnTo>
                      <a:pt x="161" y="94"/>
                    </a:lnTo>
                    <a:lnTo>
                      <a:pt x="156" y="94"/>
                    </a:lnTo>
                    <a:lnTo>
                      <a:pt x="152" y="103"/>
                    </a:lnTo>
                    <a:lnTo>
                      <a:pt x="152" y="94"/>
                    </a:lnTo>
                    <a:lnTo>
                      <a:pt x="156" y="90"/>
                    </a:lnTo>
                    <a:lnTo>
                      <a:pt x="156" y="76"/>
                    </a:lnTo>
                    <a:lnTo>
                      <a:pt x="147" y="90"/>
                    </a:lnTo>
                    <a:lnTo>
                      <a:pt x="143" y="103"/>
                    </a:lnTo>
                    <a:lnTo>
                      <a:pt x="138" y="90"/>
                    </a:lnTo>
                    <a:lnTo>
                      <a:pt x="138" y="99"/>
                    </a:lnTo>
                    <a:lnTo>
                      <a:pt x="134" y="99"/>
                    </a:lnTo>
                    <a:lnTo>
                      <a:pt x="130" y="108"/>
                    </a:lnTo>
                    <a:lnTo>
                      <a:pt x="138" y="108"/>
                    </a:lnTo>
                    <a:lnTo>
                      <a:pt x="147" y="103"/>
                    </a:lnTo>
                    <a:lnTo>
                      <a:pt x="143" y="116"/>
                    </a:lnTo>
                    <a:lnTo>
                      <a:pt x="152" y="116"/>
                    </a:lnTo>
                    <a:close/>
                    <a:moveTo>
                      <a:pt x="192" y="67"/>
                    </a:moveTo>
                    <a:lnTo>
                      <a:pt x="197" y="63"/>
                    </a:lnTo>
                    <a:lnTo>
                      <a:pt x="201" y="58"/>
                    </a:lnTo>
                    <a:lnTo>
                      <a:pt x="205" y="58"/>
                    </a:lnTo>
                    <a:lnTo>
                      <a:pt x="205" y="58"/>
                    </a:lnTo>
                    <a:lnTo>
                      <a:pt x="210" y="49"/>
                    </a:lnTo>
                    <a:lnTo>
                      <a:pt x="205" y="54"/>
                    </a:lnTo>
                    <a:lnTo>
                      <a:pt x="201" y="49"/>
                    </a:lnTo>
                    <a:lnTo>
                      <a:pt x="192" y="54"/>
                    </a:lnTo>
                    <a:lnTo>
                      <a:pt x="192" y="63"/>
                    </a:lnTo>
                    <a:lnTo>
                      <a:pt x="188" y="58"/>
                    </a:lnTo>
                    <a:lnTo>
                      <a:pt x="183" y="67"/>
                    </a:lnTo>
                    <a:lnTo>
                      <a:pt x="192" y="67"/>
                    </a:lnTo>
                    <a:close/>
                    <a:moveTo>
                      <a:pt x="241" y="27"/>
                    </a:moveTo>
                    <a:lnTo>
                      <a:pt x="246" y="32"/>
                    </a:lnTo>
                    <a:lnTo>
                      <a:pt x="259" y="27"/>
                    </a:lnTo>
                    <a:lnTo>
                      <a:pt x="255" y="36"/>
                    </a:lnTo>
                    <a:lnTo>
                      <a:pt x="259" y="41"/>
                    </a:lnTo>
                    <a:lnTo>
                      <a:pt x="264" y="27"/>
                    </a:lnTo>
                    <a:lnTo>
                      <a:pt x="259" y="27"/>
                    </a:lnTo>
                    <a:lnTo>
                      <a:pt x="264" y="14"/>
                    </a:lnTo>
                    <a:lnTo>
                      <a:pt x="259" y="14"/>
                    </a:lnTo>
                    <a:lnTo>
                      <a:pt x="259" y="18"/>
                    </a:lnTo>
                    <a:lnTo>
                      <a:pt x="250" y="18"/>
                    </a:lnTo>
                    <a:lnTo>
                      <a:pt x="241" y="27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52" name="Freeform 217"/>
              <p:cNvSpPr>
                <a:spLocks/>
              </p:cNvSpPr>
              <p:nvPr/>
            </p:nvSpPr>
            <p:spPr bwMode="gray">
              <a:xfrm>
                <a:off x="6203125" y="2968161"/>
                <a:ext cx="694223" cy="508581"/>
              </a:xfrm>
              <a:custGeom>
                <a:avLst/>
                <a:gdLst/>
                <a:ahLst/>
                <a:cxnLst>
                  <a:cxn ang="0">
                    <a:pos x="13" y="99"/>
                  </a:cxn>
                  <a:cxn ang="0">
                    <a:pos x="13" y="90"/>
                  </a:cxn>
                  <a:cxn ang="0">
                    <a:pos x="9" y="85"/>
                  </a:cxn>
                  <a:cxn ang="0">
                    <a:pos x="9" y="72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36"/>
                  </a:cxn>
                  <a:cxn ang="0">
                    <a:pos x="0" y="27"/>
                  </a:cxn>
                  <a:cxn ang="0">
                    <a:pos x="5" y="27"/>
                  </a:cxn>
                  <a:cxn ang="0">
                    <a:pos x="9" y="36"/>
                  </a:cxn>
                  <a:cxn ang="0">
                    <a:pos x="9" y="27"/>
                  </a:cxn>
                  <a:cxn ang="0">
                    <a:pos x="13" y="23"/>
                  </a:cxn>
                  <a:cxn ang="0">
                    <a:pos x="22" y="14"/>
                  </a:cxn>
                  <a:cxn ang="0">
                    <a:pos x="36" y="14"/>
                  </a:cxn>
                  <a:cxn ang="0">
                    <a:pos x="40" y="5"/>
                  </a:cxn>
                  <a:cxn ang="0">
                    <a:pos x="49" y="0"/>
                  </a:cxn>
                  <a:cxn ang="0">
                    <a:pos x="58" y="0"/>
                  </a:cxn>
                  <a:cxn ang="0">
                    <a:pos x="72" y="0"/>
                  </a:cxn>
                  <a:cxn ang="0">
                    <a:pos x="72" y="5"/>
                  </a:cxn>
                  <a:cxn ang="0">
                    <a:pos x="63" y="5"/>
                  </a:cxn>
                  <a:cxn ang="0">
                    <a:pos x="67" y="9"/>
                  </a:cxn>
                  <a:cxn ang="0">
                    <a:pos x="76" y="5"/>
                  </a:cxn>
                  <a:cxn ang="0">
                    <a:pos x="76" y="14"/>
                  </a:cxn>
                  <a:cxn ang="0">
                    <a:pos x="80" y="9"/>
                  </a:cxn>
                  <a:cxn ang="0">
                    <a:pos x="89" y="9"/>
                  </a:cxn>
                  <a:cxn ang="0">
                    <a:pos x="107" y="14"/>
                  </a:cxn>
                  <a:cxn ang="0">
                    <a:pos x="130" y="14"/>
                  </a:cxn>
                  <a:cxn ang="0">
                    <a:pos x="139" y="23"/>
                  </a:cxn>
                  <a:cxn ang="0">
                    <a:pos x="139" y="27"/>
                  </a:cxn>
                  <a:cxn ang="0">
                    <a:pos x="143" y="41"/>
                  </a:cxn>
                  <a:cxn ang="0">
                    <a:pos x="147" y="50"/>
                  </a:cxn>
                  <a:cxn ang="0">
                    <a:pos x="147" y="59"/>
                  </a:cxn>
                  <a:cxn ang="0">
                    <a:pos x="134" y="63"/>
                  </a:cxn>
                  <a:cxn ang="0">
                    <a:pos x="139" y="72"/>
                  </a:cxn>
                  <a:cxn ang="0">
                    <a:pos x="139" y="81"/>
                  </a:cxn>
                  <a:cxn ang="0">
                    <a:pos x="139" y="85"/>
                  </a:cxn>
                  <a:cxn ang="0">
                    <a:pos x="143" y="99"/>
                  </a:cxn>
                  <a:cxn ang="0">
                    <a:pos x="143" y="108"/>
                  </a:cxn>
                  <a:cxn ang="0">
                    <a:pos x="147" y="112"/>
                  </a:cxn>
                  <a:cxn ang="0">
                    <a:pos x="143" y="117"/>
                  </a:cxn>
                  <a:cxn ang="0">
                    <a:pos x="134" y="121"/>
                  </a:cxn>
                  <a:cxn ang="0">
                    <a:pos x="125" y="135"/>
                  </a:cxn>
                  <a:cxn ang="0">
                    <a:pos x="130" y="139"/>
                  </a:cxn>
                  <a:cxn ang="0">
                    <a:pos x="125" y="139"/>
                  </a:cxn>
                  <a:cxn ang="0">
                    <a:pos x="112" y="130"/>
                  </a:cxn>
                  <a:cxn ang="0">
                    <a:pos x="98" y="135"/>
                  </a:cxn>
                  <a:cxn ang="0">
                    <a:pos x="94" y="130"/>
                  </a:cxn>
                  <a:cxn ang="0">
                    <a:pos x="89" y="139"/>
                  </a:cxn>
                  <a:cxn ang="0">
                    <a:pos x="80" y="130"/>
                  </a:cxn>
                  <a:cxn ang="0">
                    <a:pos x="72" y="135"/>
                  </a:cxn>
                  <a:cxn ang="0">
                    <a:pos x="67" y="130"/>
                  </a:cxn>
                  <a:cxn ang="0">
                    <a:pos x="67" y="121"/>
                  </a:cxn>
                  <a:cxn ang="0">
                    <a:pos x="58" y="121"/>
                  </a:cxn>
                  <a:cxn ang="0">
                    <a:pos x="54" y="112"/>
                  </a:cxn>
                  <a:cxn ang="0">
                    <a:pos x="45" y="108"/>
                  </a:cxn>
                  <a:cxn ang="0">
                    <a:pos x="40" y="117"/>
                  </a:cxn>
                  <a:cxn ang="0">
                    <a:pos x="31" y="112"/>
                  </a:cxn>
                  <a:cxn ang="0">
                    <a:pos x="36" y="108"/>
                  </a:cxn>
                  <a:cxn ang="0">
                    <a:pos x="27" y="108"/>
                  </a:cxn>
                  <a:cxn ang="0">
                    <a:pos x="22" y="99"/>
                  </a:cxn>
                  <a:cxn ang="0">
                    <a:pos x="18" y="103"/>
                  </a:cxn>
                  <a:cxn ang="0">
                    <a:pos x="13" y="99"/>
                  </a:cxn>
                </a:cxnLst>
                <a:rect l="0" t="0" r="r" b="b"/>
                <a:pathLst>
                  <a:path w="147" h="139">
                    <a:moveTo>
                      <a:pt x="13" y="99"/>
                    </a:moveTo>
                    <a:lnTo>
                      <a:pt x="13" y="90"/>
                    </a:lnTo>
                    <a:lnTo>
                      <a:pt x="9" y="85"/>
                    </a:lnTo>
                    <a:lnTo>
                      <a:pt x="9" y="72"/>
                    </a:lnTo>
                    <a:lnTo>
                      <a:pt x="9" y="59"/>
                    </a:lnTo>
                    <a:lnTo>
                      <a:pt x="0" y="50"/>
                    </a:lnTo>
                    <a:lnTo>
                      <a:pt x="0" y="36"/>
                    </a:lnTo>
                    <a:lnTo>
                      <a:pt x="0" y="27"/>
                    </a:lnTo>
                    <a:lnTo>
                      <a:pt x="5" y="27"/>
                    </a:lnTo>
                    <a:lnTo>
                      <a:pt x="9" y="36"/>
                    </a:lnTo>
                    <a:lnTo>
                      <a:pt x="9" y="27"/>
                    </a:lnTo>
                    <a:lnTo>
                      <a:pt x="13" y="23"/>
                    </a:lnTo>
                    <a:lnTo>
                      <a:pt x="22" y="14"/>
                    </a:lnTo>
                    <a:lnTo>
                      <a:pt x="36" y="14"/>
                    </a:lnTo>
                    <a:lnTo>
                      <a:pt x="40" y="5"/>
                    </a:lnTo>
                    <a:lnTo>
                      <a:pt x="49" y="0"/>
                    </a:lnTo>
                    <a:lnTo>
                      <a:pt x="58" y="0"/>
                    </a:lnTo>
                    <a:lnTo>
                      <a:pt x="72" y="0"/>
                    </a:lnTo>
                    <a:lnTo>
                      <a:pt x="72" y="5"/>
                    </a:lnTo>
                    <a:lnTo>
                      <a:pt x="63" y="5"/>
                    </a:lnTo>
                    <a:lnTo>
                      <a:pt x="67" y="9"/>
                    </a:lnTo>
                    <a:lnTo>
                      <a:pt x="76" y="5"/>
                    </a:lnTo>
                    <a:lnTo>
                      <a:pt x="76" y="14"/>
                    </a:lnTo>
                    <a:lnTo>
                      <a:pt x="80" y="9"/>
                    </a:lnTo>
                    <a:lnTo>
                      <a:pt x="89" y="9"/>
                    </a:lnTo>
                    <a:lnTo>
                      <a:pt x="107" y="14"/>
                    </a:lnTo>
                    <a:lnTo>
                      <a:pt x="130" y="14"/>
                    </a:lnTo>
                    <a:lnTo>
                      <a:pt x="139" y="23"/>
                    </a:lnTo>
                    <a:lnTo>
                      <a:pt x="139" y="27"/>
                    </a:lnTo>
                    <a:lnTo>
                      <a:pt x="143" y="41"/>
                    </a:lnTo>
                    <a:lnTo>
                      <a:pt x="147" y="50"/>
                    </a:lnTo>
                    <a:lnTo>
                      <a:pt x="147" y="59"/>
                    </a:lnTo>
                    <a:lnTo>
                      <a:pt x="134" y="63"/>
                    </a:lnTo>
                    <a:lnTo>
                      <a:pt x="139" y="72"/>
                    </a:lnTo>
                    <a:lnTo>
                      <a:pt x="139" y="81"/>
                    </a:lnTo>
                    <a:lnTo>
                      <a:pt x="139" y="85"/>
                    </a:lnTo>
                    <a:lnTo>
                      <a:pt x="143" y="99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3" y="117"/>
                    </a:lnTo>
                    <a:lnTo>
                      <a:pt x="134" y="121"/>
                    </a:lnTo>
                    <a:lnTo>
                      <a:pt x="125" y="135"/>
                    </a:lnTo>
                    <a:lnTo>
                      <a:pt x="130" y="139"/>
                    </a:lnTo>
                    <a:lnTo>
                      <a:pt x="125" y="139"/>
                    </a:lnTo>
                    <a:lnTo>
                      <a:pt x="112" y="130"/>
                    </a:lnTo>
                    <a:lnTo>
                      <a:pt x="98" y="135"/>
                    </a:lnTo>
                    <a:lnTo>
                      <a:pt x="94" y="130"/>
                    </a:lnTo>
                    <a:lnTo>
                      <a:pt x="89" y="139"/>
                    </a:lnTo>
                    <a:lnTo>
                      <a:pt x="80" y="130"/>
                    </a:lnTo>
                    <a:lnTo>
                      <a:pt x="72" y="135"/>
                    </a:lnTo>
                    <a:lnTo>
                      <a:pt x="67" y="130"/>
                    </a:lnTo>
                    <a:lnTo>
                      <a:pt x="67" y="121"/>
                    </a:lnTo>
                    <a:lnTo>
                      <a:pt x="58" y="121"/>
                    </a:lnTo>
                    <a:lnTo>
                      <a:pt x="54" y="112"/>
                    </a:lnTo>
                    <a:lnTo>
                      <a:pt x="45" y="108"/>
                    </a:lnTo>
                    <a:lnTo>
                      <a:pt x="40" y="117"/>
                    </a:lnTo>
                    <a:lnTo>
                      <a:pt x="31" y="112"/>
                    </a:lnTo>
                    <a:lnTo>
                      <a:pt x="36" y="108"/>
                    </a:lnTo>
                    <a:lnTo>
                      <a:pt x="27" y="108"/>
                    </a:lnTo>
                    <a:lnTo>
                      <a:pt x="22" y="99"/>
                    </a:lnTo>
                    <a:lnTo>
                      <a:pt x="18" y="103"/>
                    </a:lnTo>
                    <a:lnTo>
                      <a:pt x="13" y="99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53" name="Freeform 218"/>
              <p:cNvSpPr>
                <a:spLocks noEditPoints="1"/>
              </p:cNvSpPr>
              <p:nvPr/>
            </p:nvSpPr>
            <p:spPr bwMode="gray">
              <a:xfrm>
                <a:off x="4120455" y="3998548"/>
                <a:ext cx="757899" cy="650454"/>
              </a:xfrm>
              <a:custGeom>
                <a:avLst/>
                <a:gdLst/>
                <a:ahLst/>
                <a:cxnLst>
                  <a:cxn ang="0">
                    <a:pos x="0" y="174"/>
                  </a:cxn>
                  <a:cxn ang="0">
                    <a:pos x="0" y="179"/>
                  </a:cxn>
                  <a:cxn ang="0">
                    <a:pos x="9" y="179"/>
                  </a:cxn>
                  <a:cxn ang="0">
                    <a:pos x="9" y="174"/>
                  </a:cxn>
                  <a:cxn ang="0">
                    <a:pos x="0" y="174"/>
                  </a:cxn>
                  <a:cxn ang="0">
                    <a:pos x="120" y="4"/>
                  </a:cxn>
                  <a:cxn ang="0">
                    <a:pos x="120" y="13"/>
                  </a:cxn>
                  <a:cxn ang="0">
                    <a:pos x="120" y="27"/>
                  </a:cxn>
                  <a:cxn ang="0">
                    <a:pos x="120" y="31"/>
                  </a:cxn>
                  <a:cxn ang="0">
                    <a:pos x="120" y="31"/>
                  </a:cxn>
                  <a:cxn ang="0">
                    <a:pos x="120" y="40"/>
                  </a:cxn>
                  <a:cxn ang="0">
                    <a:pos x="116" y="54"/>
                  </a:cxn>
                  <a:cxn ang="0">
                    <a:pos x="112" y="58"/>
                  </a:cxn>
                  <a:cxn ang="0">
                    <a:pos x="112" y="67"/>
                  </a:cxn>
                  <a:cxn ang="0">
                    <a:pos x="116" y="72"/>
                  </a:cxn>
                  <a:cxn ang="0">
                    <a:pos x="116" y="72"/>
                  </a:cxn>
                  <a:cxn ang="0">
                    <a:pos x="116" y="76"/>
                  </a:cxn>
                  <a:cxn ang="0">
                    <a:pos x="120" y="80"/>
                  </a:cxn>
                  <a:cxn ang="0">
                    <a:pos x="120" y="89"/>
                  </a:cxn>
                  <a:cxn ang="0">
                    <a:pos x="120" y="98"/>
                  </a:cxn>
                  <a:cxn ang="0">
                    <a:pos x="120" y="98"/>
                  </a:cxn>
                  <a:cxn ang="0">
                    <a:pos x="125" y="94"/>
                  </a:cxn>
                  <a:cxn ang="0">
                    <a:pos x="134" y="98"/>
                  </a:cxn>
                  <a:cxn ang="0">
                    <a:pos x="138" y="98"/>
                  </a:cxn>
                  <a:cxn ang="0">
                    <a:pos x="143" y="94"/>
                  </a:cxn>
                  <a:cxn ang="0">
                    <a:pos x="143" y="85"/>
                  </a:cxn>
                  <a:cxn ang="0">
                    <a:pos x="147" y="85"/>
                  </a:cxn>
                  <a:cxn ang="0">
                    <a:pos x="143" y="76"/>
                  </a:cxn>
                  <a:cxn ang="0">
                    <a:pos x="147" y="67"/>
                  </a:cxn>
                  <a:cxn ang="0">
                    <a:pos x="138" y="54"/>
                  </a:cxn>
                  <a:cxn ang="0">
                    <a:pos x="147" y="49"/>
                  </a:cxn>
                  <a:cxn ang="0">
                    <a:pos x="147" y="40"/>
                  </a:cxn>
                  <a:cxn ang="0">
                    <a:pos x="147" y="36"/>
                  </a:cxn>
                  <a:cxn ang="0">
                    <a:pos x="152" y="22"/>
                  </a:cxn>
                  <a:cxn ang="0">
                    <a:pos x="161" y="13"/>
                  </a:cxn>
                  <a:cxn ang="0">
                    <a:pos x="152" y="9"/>
                  </a:cxn>
                  <a:cxn ang="0">
                    <a:pos x="134" y="9"/>
                  </a:cxn>
                  <a:cxn ang="0">
                    <a:pos x="129" y="0"/>
                  </a:cxn>
                  <a:cxn ang="0">
                    <a:pos x="120" y="4"/>
                  </a:cxn>
                </a:cxnLst>
                <a:rect l="0" t="0" r="r" b="b"/>
                <a:pathLst>
                  <a:path w="161" h="179">
                    <a:moveTo>
                      <a:pt x="0" y="174"/>
                    </a:moveTo>
                    <a:lnTo>
                      <a:pt x="0" y="179"/>
                    </a:lnTo>
                    <a:lnTo>
                      <a:pt x="9" y="179"/>
                    </a:lnTo>
                    <a:lnTo>
                      <a:pt x="9" y="174"/>
                    </a:lnTo>
                    <a:lnTo>
                      <a:pt x="0" y="174"/>
                    </a:lnTo>
                    <a:close/>
                    <a:moveTo>
                      <a:pt x="120" y="4"/>
                    </a:moveTo>
                    <a:lnTo>
                      <a:pt x="120" y="13"/>
                    </a:lnTo>
                    <a:lnTo>
                      <a:pt x="120" y="27"/>
                    </a:lnTo>
                    <a:lnTo>
                      <a:pt x="120" y="31"/>
                    </a:lnTo>
                    <a:lnTo>
                      <a:pt x="120" y="31"/>
                    </a:lnTo>
                    <a:lnTo>
                      <a:pt x="120" y="40"/>
                    </a:lnTo>
                    <a:lnTo>
                      <a:pt x="116" y="54"/>
                    </a:lnTo>
                    <a:lnTo>
                      <a:pt x="112" y="58"/>
                    </a:lnTo>
                    <a:lnTo>
                      <a:pt x="112" y="67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6"/>
                    </a:lnTo>
                    <a:lnTo>
                      <a:pt x="120" y="80"/>
                    </a:lnTo>
                    <a:lnTo>
                      <a:pt x="120" y="89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25" y="94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43" y="94"/>
                    </a:lnTo>
                    <a:lnTo>
                      <a:pt x="143" y="85"/>
                    </a:lnTo>
                    <a:lnTo>
                      <a:pt x="147" y="85"/>
                    </a:lnTo>
                    <a:lnTo>
                      <a:pt x="143" y="76"/>
                    </a:lnTo>
                    <a:lnTo>
                      <a:pt x="147" y="67"/>
                    </a:lnTo>
                    <a:lnTo>
                      <a:pt x="138" y="54"/>
                    </a:lnTo>
                    <a:lnTo>
                      <a:pt x="147" y="49"/>
                    </a:lnTo>
                    <a:lnTo>
                      <a:pt x="147" y="40"/>
                    </a:lnTo>
                    <a:lnTo>
                      <a:pt x="147" y="36"/>
                    </a:lnTo>
                    <a:lnTo>
                      <a:pt x="152" y="22"/>
                    </a:lnTo>
                    <a:lnTo>
                      <a:pt x="161" y="13"/>
                    </a:lnTo>
                    <a:lnTo>
                      <a:pt x="152" y="9"/>
                    </a:lnTo>
                    <a:lnTo>
                      <a:pt x="134" y="9"/>
                    </a:lnTo>
                    <a:lnTo>
                      <a:pt x="129" y="0"/>
                    </a:lnTo>
                    <a:lnTo>
                      <a:pt x="120" y="4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4" name="Freeform 219"/>
              <p:cNvSpPr>
                <a:spLocks/>
              </p:cNvSpPr>
              <p:nvPr/>
            </p:nvSpPr>
            <p:spPr bwMode="gray">
              <a:xfrm>
                <a:off x="6644198" y="3541667"/>
                <a:ext cx="610358" cy="355886"/>
              </a:xfrm>
              <a:custGeom>
                <a:avLst/>
                <a:gdLst/>
                <a:ahLst/>
                <a:cxnLst>
                  <a:cxn ang="0">
                    <a:pos x="0" y="45"/>
                  </a:cxn>
                  <a:cxn ang="0">
                    <a:pos x="4" y="54"/>
                  </a:cxn>
                  <a:cxn ang="0">
                    <a:pos x="4" y="62"/>
                  </a:cxn>
                  <a:cxn ang="0">
                    <a:pos x="13" y="71"/>
                  </a:cxn>
                  <a:cxn ang="0">
                    <a:pos x="22" y="76"/>
                  </a:cxn>
                  <a:cxn ang="0">
                    <a:pos x="27" y="76"/>
                  </a:cxn>
                  <a:cxn ang="0">
                    <a:pos x="27" y="80"/>
                  </a:cxn>
                  <a:cxn ang="0">
                    <a:pos x="31" y="80"/>
                  </a:cxn>
                  <a:cxn ang="0">
                    <a:pos x="36" y="80"/>
                  </a:cxn>
                  <a:cxn ang="0">
                    <a:pos x="36" y="89"/>
                  </a:cxn>
                  <a:cxn ang="0">
                    <a:pos x="49" y="94"/>
                  </a:cxn>
                  <a:cxn ang="0">
                    <a:pos x="62" y="98"/>
                  </a:cxn>
                  <a:cxn ang="0">
                    <a:pos x="76" y="98"/>
                  </a:cxn>
                  <a:cxn ang="0">
                    <a:pos x="85" y="89"/>
                  </a:cxn>
                  <a:cxn ang="0">
                    <a:pos x="98" y="85"/>
                  </a:cxn>
                  <a:cxn ang="0">
                    <a:pos x="116" y="94"/>
                  </a:cxn>
                  <a:cxn ang="0">
                    <a:pos x="116" y="85"/>
                  </a:cxn>
                  <a:cxn ang="0">
                    <a:pos x="120" y="80"/>
                  </a:cxn>
                  <a:cxn ang="0">
                    <a:pos x="120" y="67"/>
                  </a:cxn>
                  <a:cxn ang="0">
                    <a:pos x="120" y="71"/>
                  </a:cxn>
                  <a:cxn ang="0">
                    <a:pos x="129" y="71"/>
                  </a:cxn>
                  <a:cxn ang="0">
                    <a:pos x="129" y="62"/>
                  </a:cxn>
                  <a:cxn ang="0">
                    <a:pos x="125" y="62"/>
                  </a:cxn>
                  <a:cxn ang="0">
                    <a:pos x="116" y="67"/>
                  </a:cxn>
                  <a:cxn ang="0">
                    <a:pos x="112" y="62"/>
                  </a:cxn>
                  <a:cxn ang="0">
                    <a:pos x="107" y="58"/>
                  </a:cxn>
                  <a:cxn ang="0">
                    <a:pos x="112" y="40"/>
                  </a:cxn>
                  <a:cxn ang="0">
                    <a:pos x="107" y="27"/>
                  </a:cxn>
                  <a:cxn ang="0">
                    <a:pos x="103" y="18"/>
                  </a:cxn>
                  <a:cxn ang="0">
                    <a:pos x="89" y="0"/>
                  </a:cxn>
                  <a:cxn ang="0">
                    <a:pos x="67" y="9"/>
                  </a:cxn>
                  <a:cxn ang="0">
                    <a:pos x="40" y="4"/>
                  </a:cxn>
                  <a:cxn ang="0">
                    <a:pos x="36" y="9"/>
                  </a:cxn>
                  <a:cxn ang="0">
                    <a:pos x="36" y="13"/>
                  </a:cxn>
                  <a:cxn ang="0">
                    <a:pos x="22" y="18"/>
                  </a:cxn>
                  <a:cxn ang="0">
                    <a:pos x="13" y="36"/>
                  </a:cxn>
                  <a:cxn ang="0">
                    <a:pos x="13" y="40"/>
                  </a:cxn>
                  <a:cxn ang="0">
                    <a:pos x="4" y="45"/>
                  </a:cxn>
                  <a:cxn ang="0">
                    <a:pos x="0" y="45"/>
                  </a:cxn>
                </a:cxnLst>
                <a:rect l="0" t="0" r="r" b="b"/>
                <a:pathLst>
                  <a:path w="129" h="98">
                    <a:moveTo>
                      <a:pt x="0" y="45"/>
                    </a:moveTo>
                    <a:lnTo>
                      <a:pt x="4" y="54"/>
                    </a:lnTo>
                    <a:lnTo>
                      <a:pt x="4" y="62"/>
                    </a:lnTo>
                    <a:lnTo>
                      <a:pt x="13" y="71"/>
                    </a:lnTo>
                    <a:lnTo>
                      <a:pt x="22" y="76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31" y="80"/>
                    </a:lnTo>
                    <a:lnTo>
                      <a:pt x="36" y="80"/>
                    </a:lnTo>
                    <a:lnTo>
                      <a:pt x="36" y="89"/>
                    </a:lnTo>
                    <a:lnTo>
                      <a:pt x="49" y="94"/>
                    </a:lnTo>
                    <a:lnTo>
                      <a:pt x="62" y="98"/>
                    </a:lnTo>
                    <a:lnTo>
                      <a:pt x="76" y="98"/>
                    </a:lnTo>
                    <a:lnTo>
                      <a:pt x="85" y="89"/>
                    </a:lnTo>
                    <a:lnTo>
                      <a:pt x="98" y="85"/>
                    </a:lnTo>
                    <a:lnTo>
                      <a:pt x="116" y="94"/>
                    </a:lnTo>
                    <a:lnTo>
                      <a:pt x="116" y="85"/>
                    </a:lnTo>
                    <a:lnTo>
                      <a:pt x="120" y="80"/>
                    </a:lnTo>
                    <a:lnTo>
                      <a:pt x="120" y="67"/>
                    </a:lnTo>
                    <a:lnTo>
                      <a:pt x="120" y="71"/>
                    </a:lnTo>
                    <a:lnTo>
                      <a:pt x="129" y="71"/>
                    </a:lnTo>
                    <a:lnTo>
                      <a:pt x="129" y="62"/>
                    </a:lnTo>
                    <a:lnTo>
                      <a:pt x="125" y="62"/>
                    </a:lnTo>
                    <a:lnTo>
                      <a:pt x="116" y="67"/>
                    </a:lnTo>
                    <a:lnTo>
                      <a:pt x="112" y="62"/>
                    </a:lnTo>
                    <a:lnTo>
                      <a:pt x="107" y="58"/>
                    </a:lnTo>
                    <a:lnTo>
                      <a:pt x="112" y="40"/>
                    </a:lnTo>
                    <a:lnTo>
                      <a:pt x="107" y="27"/>
                    </a:lnTo>
                    <a:lnTo>
                      <a:pt x="103" y="18"/>
                    </a:lnTo>
                    <a:lnTo>
                      <a:pt x="89" y="0"/>
                    </a:lnTo>
                    <a:lnTo>
                      <a:pt x="67" y="9"/>
                    </a:lnTo>
                    <a:lnTo>
                      <a:pt x="40" y="4"/>
                    </a:lnTo>
                    <a:lnTo>
                      <a:pt x="36" y="9"/>
                    </a:lnTo>
                    <a:lnTo>
                      <a:pt x="36" y="13"/>
                    </a:lnTo>
                    <a:lnTo>
                      <a:pt x="22" y="18"/>
                    </a:lnTo>
                    <a:lnTo>
                      <a:pt x="13" y="36"/>
                    </a:lnTo>
                    <a:lnTo>
                      <a:pt x="13" y="40"/>
                    </a:lnTo>
                    <a:lnTo>
                      <a:pt x="4" y="45"/>
                    </a:lnTo>
                    <a:lnTo>
                      <a:pt x="0" y="4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5" name="Freeform 220"/>
              <p:cNvSpPr>
                <a:spLocks/>
              </p:cNvSpPr>
              <p:nvPr/>
            </p:nvSpPr>
            <p:spPr bwMode="gray">
              <a:xfrm>
                <a:off x="6392600" y="3443077"/>
                <a:ext cx="402246" cy="111816"/>
              </a:xfrm>
              <a:custGeom>
                <a:avLst/>
                <a:gdLst/>
                <a:ahLst/>
                <a:cxnLst>
                  <a:cxn ang="0">
                    <a:pos x="0" y="22"/>
                  </a:cxn>
                  <a:cxn ang="0">
                    <a:pos x="5" y="18"/>
                  </a:cxn>
                  <a:cxn ang="0">
                    <a:pos x="14" y="18"/>
                  </a:cxn>
                  <a:cxn ang="0">
                    <a:pos x="18" y="13"/>
                  </a:cxn>
                  <a:cxn ang="0">
                    <a:pos x="23" y="5"/>
                  </a:cxn>
                  <a:cxn ang="0">
                    <a:pos x="27" y="0"/>
                  </a:cxn>
                  <a:cxn ang="0">
                    <a:pos x="32" y="5"/>
                  </a:cxn>
                  <a:cxn ang="0">
                    <a:pos x="40" y="0"/>
                  </a:cxn>
                  <a:cxn ang="0">
                    <a:pos x="49" y="9"/>
                  </a:cxn>
                  <a:cxn ang="0">
                    <a:pos x="54" y="0"/>
                  </a:cxn>
                  <a:cxn ang="0">
                    <a:pos x="58" y="5"/>
                  </a:cxn>
                  <a:cxn ang="0">
                    <a:pos x="72" y="0"/>
                  </a:cxn>
                  <a:cxn ang="0">
                    <a:pos x="85" y="9"/>
                  </a:cxn>
                  <a:cxn ang="0">
                    <a:pos x="81" y="22"/>
                  </a:cxn>
                  <a:cxn ang="0">
                    <a:pos x="72" y="22"/>
                  </a:cxn>
                  <a:cxn ang="0">
                    <a:pos x="67" y="18"/>
                  </a:cxn>
                  <a:cxn ang="0">
                    <a:pos x="63" y="22"/>
                  </a:cxn>
                  <a:cxn ang="0">
                    <a:pos x="54" y="18"/>
                  </a:cxn>
                  <a:cxn ang="0">
                    <a:pos x="45" y="27"/>
                  </a:cxn>
                  <a:cxn ang="0">
                    <a:pos x="36" y="27"/>
                  </a:cxn>
                  <a:cxn ang="0">
                    <a:pos x="32" y="31"/>
                  </a:cxn>
                  <a:cxn ang="0">
                    <a:pos x="14" y="31"/>
                  </a:cxn>
                  <a:cxn ang="0">
                    <a:pos x="9" y="27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0" y="22"/>
                  </a:cxn>
                </a:cxnLst>
                <a:rect l="0" t="0" r="r" b="b"/>
                <a:pathLst>
                  <a:path w="85" h="31">
                    <a:moveTo>
                      <a:pt x="0" y="22"/>
                    </a:moveTo>
                    <a:lnTo>
                      <a:pt x="5" y="18"/>
                    </a:lnTo>
                    <a:lnTo>
                      <a:pt x="14" y="18"/>
                    </a:lnTo>
                    <a:lnTo>
                      <a:pt x="18" y="13"/>
                    </a:lnTo>
                    <a:lnTo>
                      <a:pt x="23" y="5"/>
                    </a:lnTo>
                    <a:lnTo>
                      <a:pt x="27" y="0"/>
                    </a:lnTo>
                    <a:lnTo>
                      <a:pt x="32" y="5"/>
                    </a:lnTo>
                    <a:lnTo>
                      <a:pt x="40" y="0"/>
                    </a:lnTo>
                    <a:lnTo>
                      <a:pt x="49" y="9"/>
                    </a:lnTo>
                    <a:lnTo>
                      <a:pt x="54" y="0"/>
                    </a:lnTo>
                    <a:lnTo>
                      <a:pt x="58" y="5"/>
                    </a:lnTo>
                    <a:lnTo>
                      <a:pt x="72" y="0"/>
                    </a:lnTo>
                    <a:lnTo>
                      <a:pt x="85" y="9"/>
                    </a:lnTo>
                    <a:lnTo>
                      <a:pt x="81" y="22"/>
                    </a:lnTo>
                    <a:lnTo>
                      <a:pt x="72" y="22"/>
                    </a:lnTo>
                    <a:lnTo>
                      <a:pt x="67" y="18"/>
                    </a:lnTo>
                    <a:lnTo>
                      <a:pt x="63" y="22"/>
                    </a:lnTo>
                    <a:lnTo>
                      <a:pt x="54" y="18"/>
                    </a:lnTo>
                    <a:lnTo>
                      <a:pt x="45" y="27"/>
                    </a:lnTo>
                    <a:lnTo>
                      <a:pt x="36" y="27"/>
                    </a:lnTo>
                    <a:lnTo>
                      <a:pt x="32" y="31"/>
                    </a:lnTo>
                    <a:lnTo>
                      <a:pt x="14" y="31"/>
                    </a:lnTo>
                    <a:lnTo>
                      <a:pt x="9" y="27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0" y="22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6" name="Freeform 221"/>
              <p:cNvSpPr>
                <a:spLocks/>
              </p:cNvSpPr>
              <p:nvPr/>
            </p:nvSpPr>
            <p:spPr bwMode="gray">
              <a:xfrm>
                <a:off x="6159639" y="3653483"/>
                <a:ext cx="212771" cy="98590"/>
              </a:xfrm>
              <a:custGeom>
                <a:avLst/>
                <a:gdLst/>
                <a:ahLst/>
                <a:cxnLst>
                  <a:cxn ang="0">
                    <a:pos x="5" y="27"/>
                  </a:cxn>
                  <a:cxn ang="0">
                    <a:pos x="5" y="27"/>
                  </a:cxn>
                  <a:cxn ang="0">
                    <a:pos x="5" y="27"/>
                  </a:cxn>
                  <a:cxn ang="0">
                    <a:pos x="14" y="27"/>
                  </a:cxn>
                  <a:cxn ang="0">
                    <a:pos x="14" y="27"/>
                  </a:cxn>
                  <a:cxn ang="0">
                    <a:pos x="18" y="23"/>
                  </a:cxn>
                  <a:cxn ang="0">
                    <a:pos x="22" y="27"/>
                  </a:cxn>
                  <a:cxn ang="0">
                    <a:pos x="27" y="27"/>
                  </a:cxn>
                  <a:cxn ang="0">
                    <a:pos x="27" y="27"/>
                  </a:cxn>
                  <a:cxn ang="0">
                    <a:pos x="27" y="23"/>
                  </a:cxn>
                  <a:cxn ang="0">
                    <a:pos x="31" y="18"/>
                  </a:cxn>
                  <a:cxn ang="0">
                    <a:pos x="31" y="18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36" y="14"/>
                  </a:cxn>
                  <a:cxn ang="0">
                    <a:pos x="36" y="9"/>
                  </a:cxn>
                  <a:cxn ang="0">
                    <a:pos x="40" y="9"/>
                  </a:cxn>
                  <a:cxn ang="0">
                    <a:pos x="40" y="9"/>
                  </a:cxn>
                  <a:cxn ang="0">
                    <a:pos x="40" y="5"/>
                  </a:cxn>
                  <a:cxn ang="0">
                    <a:pos x="45" y="9"/>
                  </a:cxn>
                  <a:cxn ang="0">
                    <a:pos x="45" y="9"/>
                  </a:cxn>
                  <a:cxn ang="0">
                    <a:pos x="40" y="0"/>
                  </a:cxn>
                  <a:cxn ang="0">
                    <a:pos x="27" y="5"/>
                  </a:cxn>
                  <a:cxn ang="0">
                    <a:pos x="18" y="9"/>
                  </a:cxn>
                  <a:cxn ang="0">
                    <a:pos x="5" y="9"/>
                  </a:cxn>
                  <a:cxn ang="0">
                    <a:pos x="0" y="9"/>
                  </a:cxn>
                  <a:cxn ang="0">
                    <a:pos x="5" y="14"/>
                  </a:cxn>
                  <a:cxn ang="0">
                    <a:pos x="5" y="18"/>
                  </a:cxn>
                  <a:cxn ang="0">
                    <a:pos x="9" y="27"/>
                  </a:cxn>
                  <a:cxn ang="0">
                    <a:pos x="5" y="27"/>
                  </a:cxn>
                </a:cxnLst>
                <a:rect l="0" t="0" r="r" b="b"/>
                <a:pathLst>
                  <a:path w="45" h="27">
                    <a:moveTo>
                      <a:pt x="5" y="27"/>
                    </a:moveTo>
                    <a:lnTo>
                      <a:pt x="5" y="27"/>
                    </a:lnTo>
                    <a:lnTo>
                      <a:pt x="5" y="27"/>
                    </a:lnTo>
                    <a:lnTo>
                      <a:pt x="14" y="27"/>
                    </a:lnTo>
                    <a:lnTo>
                      <a:pt x="14" y="27"/>
                    </a:lnTo>
                    <a:lnTo>
                      <a:pt x="18" y="23"/>
                    </a:lnTo>
                    <a:lnTo>
                      <a:pt x="22" y="27"/>
                    </a:lnTo>
                    <a:lnTo>
                      <a:pt x="27" y="27"/>
                    </a:lnTo>
                    <a:lnTo>
                      <a:pt x="27" y="27"/>
                    </a:lnTo>
                    <a:lnTo>
                      <a:pt x="27" y="23"/>
                    </a:lnTo>
                    <a:lnTo>
                      <a:pt x="31" y="18"/>
                    </a:lnTo>
                    <a:lnTo>
                      <a:pt x="31" y="18"/>
                    </a:lnTo>
                    <a:lnTo>
                      <a:pt x="31" y="14"/>
                    </a:lnTo>
                    <a:lnTo>
                      <a:pt x="31" y="14"/>
                    </a:lnTo>
                    <a:lnTo>
                      <a:pt x="36" y="14"/>
                    </a:lnTo>
                    <a:lnTo>
                      <a:pt x="36" y="9"/>
                    </a:lnTo>
                    <a:lnTo>
                      <a:pt x="40" y="9"/>
                    </a:lnTo>
                    <a:lnTo>
                      <a:pt x="40" y="9"/>
                    </a:lnTo>
                    <a:lnTo>
                      <a:pt x="40" y="5"/>
                    </a:lnTo>
                    <a:lnTo>
                      <a:pt x="45" y="9"/>
                    </a:lnTo>
                    <a:lnTo>
                      <a:pt x="45" y="9"/>
                    </a:lnTo>
                    <a:lnTo>
                      <a:pt x="40" y="0"/>
                    </a:lnTo>
                    <a:lnTo>
                      <a:pt x="27" y="5"/>
                    </a:lnTo>
                    <a:lnTo>
                      <a:pt x="18" y="9"/>
                    </a:lnTo>
                    <a:lnTo>
                      <a:pt x="5" y="9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5" y="18"/>
                    </a:lnTo>
                    <a:lnTo>
                      <a:pt x="9" y="27"/>
                    </a:lnTo>
                    <a:lnTo>
                      <a:pt x="5" y="2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7" name="Freeform 222"/>
              <p:cNvSpPr>
                <a:spLocks noEditPoints="1"/>
              </p:cNvSpPr>
              <p:nvPr/>
            </p:nvSpPr>
            <p:spPr bwMode="gray">
              <a:xfrm>
                <a:off x="6015203" y="1324591"/>
                <a:ext cx="882145" cy="1596679"/>
              </a:xfrm>
              <a:custGeom>
                <a:avLst/>
                <a:gdLst/>
                <a:ahLst/>
                <a:cxnLst>
                  <a:cxn ang="0">
                    <a:pos x="0" y="340"/>
                  </a:cxn>
                  <a:cxn ang="0">
                    <a:pos x="9" y="358"/>
                  </a:cxn>
                  <a:cxn ang="0">
                    <a:pos x="13" y="358"/>
                  </a:cxn>
                  <a:cxn ang="0">
                    <a:pos x="9" y="371"/>
                  </a:cxn>
                  <a:cxn ang="0">
                    <a:pos x="13" y="384"/>
                  </a:cxn>
                  <a:cxn ang="0">
                    <a:pos x="27" y="402"/>
                  </a:cxn>
                  <a:cxn ang="0">
                    <a:pos x="22" y="411"/>
                  </a:cxn>
                  <a:cxn ang="0">
                    <a:pos x="22" y="429"/>
                  </a:cxn>
                  <a:cxn ang="0">
                    <a:pos x="31" y="438"/>
                  </a:cxn>
                  <a:cxn ang="0">
                    <a:pos x="45" y="434"/>
                  </a:cxn>
                  <a:cxn ang="0">
                    <a:pos x="45" y="420"/>
                  </a:cxn>
                  <a:cxn ang="0">
                    <a:pos x="53" y="416"/>
                  </a:cxn>
                  <a:cxn ang="0">
                    <a:pos x="76" y="407"/>
                  </a:cxn>
                  <a:cxn ang="0">
                    <a:pos x="85" y="358"/>
                  </a:cxn>
                  <a:cxn ang="0">
                    <a:pos x="112" y="340"/>
                  </a:cxn>
                  <a:cxn ang="0">
                    <a:pos x="116" y="317"/>
                  </a:cxn>
                  <a:cxn ang="0">
                    <a:pos x="98" y="295"/>
                  </a:cxn>
                  <a:cxn ang="0">
                    <a:pos x="94" y="282"/>
                  </a:cxn>
                  <a:cxn ang="0">
                    <a:pos x="98" y="259"/>
                  </a:cxn>
                  <a:cxn ang="0">
                    <a:pos x="98" y="241"/>
                  </a:cxn>
                  <a:cxn ang="0">
                    <a:pos x="98" y="233"/>
                  </a:cxn>
                  <a:cxn ang="0">
                    <a:pos x="103" y="224"/>
                  </a:cxn>
                  <a:cxn ang="0">
                    <a:pos x="103" y="215"/>
                  </a:cxn>
                  <a:cxn ang="0">
                    <a:pos x="116" y="210"/>
                  </a:cxn>
                  <a:cxn ang="0">
                    <a:pos x="125" y="201"/>
                  </a:cxn>
                  <a:cxn ang="0">
                    <a:pos x="138" y="188"/>
                  </a:cxn>
                  <a:cxn ang="0">
                    <a:pos x="143" y="165"/>
                  </a:cxn>
                  <a:cxn ang="0">
                    <a:pos x="161" y="139"/>
                  </a:cxn>
                  <a:cxn ang="0">
                    <a:pos x="165" y="125"/>
                  </a:cxn>
                  <a:cxn ang="0">
                    <a:pos x="174" y="125"/>
                  </a:cxn>
                  <a:cxn ang="0">
                    <a:pos x="183" y="112"/>
                  </a:cxn>
                  <a:cxn ang="0">
                    <a:pos x="187" y="81"/>
                  </a:cxn>
                  <a:cxn ang="0">
                    <a:pos x="179" y="36"/>
                  </a:cxn>
                  <a:cxn ang="0">
                    <a:pos x="152" y="14"/>
                  </a:cxn>
                  <a:cxn ang="0">
                    <a:pos x="129" y="0"/>
                  </a:cxn>
                  <a:cxn ang="0">
                    <a:pos x="125" y="22"/>
                  </a:cxn>
                  <a:cxn ang="0">
                    <a:pos x="98" y="22"/>
                  </a:cxn>
                  <a:cxn ang="0">
                    <a:pos x="98" y="40"/>
                  </a:cxn>
                  <a:cxn ang="0">
                    <a:pos x="80" y="49"/>
                  </a:cxn>
                  <a:cxn ang="0">
                    <a:pos x="80" y="81"/>
                  </a:cxn>
                  <a:cxn ang="0">
                    <a:pos x="62" y="112"/>
                  </a:cxn>
                  <a:cxn ang="0">
                    <a:pos x="53" y="116"/>
                  </a:cxn>
                  <a:cxn ang="0">
                    <a:pos x="49" y="139"/>
                  </a:cxn>
                  <a:cxn ang="0">
                    <a:pos x="45" y="179"/>
                  </a:cxn>
                  <a:cxn ang="0">
                    <a:pos x="27" y="179"/>
                  </a:cxn>
                  <a:cxn ang="0">
                    <a:pos x="13" y="201"/>
                  </a:cxn>
                  <a:cxn ang="0">
                    <a:pos x="13" y="210"/>
                  </a:cxn>
                  <a:cxn ang="0">
                    <a:pos x="27" y="273"/>
                  </a:cxn>
                  <a:cxn ang="0">
                    <a:pos x="22" y="313"/>
                  </a:cxn>
                  <a:cxn ang="0">
                    <a:pos x="13" y="331"/>
                  </a:cxn>
                  <a:cxn ang="0">
                    <a:pos x="4" y="340"/>
                  </a:cxn>
                  <a:cxn ang="0">
                    <a:pos x="80" y="402"/>
                  </a:cxn>
                  <a:cxn ang="0">
                    <a:pos x="80" y="411"/>
                  </a:cxn>
                  <a:cxn ang="0">
                    <a:pos x="89" y="384"/>
                  </a:cxn>
                  <a:cxn ang="0">
                    <a:pos x="120" y="371"/>
                  </a:cxn>
                  <a:cxn ang="0">
                    <a:pos x="112" y="371"/>
                  </a:cxn>
                  <a:cxn ang="0">
                    <a:pos x="103" y="376"/>
                  </a:cxn>
                  <a:cxn ang="0">
                    <a:pos x="107" y="393"/>
                  </a:cxn>
                  <a:cxn ang="0">
                    <a:pos x="112" y="380"/>
                  </a:cxn>
                  <a:cxn ang="0">
                    <a:pos x="120" y="371"/>
                  </a:cxn>
                </a:cxnLst>
                <a:rect l="0" t="0" r="r" b="b"/>
                <a:pathLst>
                  <a:path w="187" h="438">
                    <a:moveTo>
                      <a:pt x="4" y="340"/>
                    </a:moveTo>
                    <a:lnTo>
                      <a:pt x="0" y="340"/>
                    </a:lnTo>
                    <a:lnTo>
                      <a:pt x="0" y="358"/>
                    </a:lnTo>
                    <a:lnTo>
                      <a:pt x="9" y="358"/>
                    </a:lnTo>
                    <a:lnTo>
                      <a:pt x="9" y="353"/>
                    </a:lnTo>
                    <a:lnTo>
                      <a:pt x="13" y="358"/>
                    </a:lnTo>
                    <a:lnTo>
                      <a:pt x="9" y="367"/>
                    </a:lnTo>
                    <a:lnTo>
                      <a:pt x="9" y="371"/>
                    </a:lnTo>
                    <a:lnTo>
                      <a:pt x="9" y="384"/>
                    </a:lnTo>
                    <a:lnTo>
                      <a:pt x="13" y="384"/>
                    </a:lnTo>
                    <a:lnTo>
                      <a:pt x="18" y="398"/>
                    </a:lnTo>
                    <a:lnTo>
                      <a:pt x="27" y="402"/>
                    </a:lnTo>
                    <a:lnTo>
                      <a:pt x="18" y="411"/>
                    </a:lnTo>
                    <a:lnTo>
                      <a:pt x="22" y="411"/>
                    </a:lnTo>
                    <a:lnTo>
                      <a:pt x="18" y="411"/>
                    </a:lnTo>
                    <a:lnTo>
                      <a:pt x="22" y="429"/>
                    </a:lnTo>
                    <a:lnTo>
                      <a:pt x="22" y="434"/>
                    </a:lnTo>
                    <a:lnTo>
                      <a:pt x="31" y="438"/>
                    </a:lnTo>
                    <a:lnTo>
                      <a:pt x="45" y="438"/>
                    </a:lnTo>
                    <a:lnTo>
                      <a:pt x="45" y="434"/>
                    </a:lnTo>
                    <a:lnTo>
                      <a:pt x="45" y="429"/>
                    </a:lnTo>
                    <a:lnTo>
                      <a:pt x="45" y="420"/>
                    </a:lnTo>
                    <a:lnTo>
                      <a:pt x="53" y="420"/>
                    </a:lnTo>
                    <a:lnTo>
                      <a:pt x="53" y="416"/>
                    </a:lnTo>
                    <a:lnTo>
                      <a:pt x="71" y="416"/>
                    </a:lnTo>
                    <a:lnTo>
                      <a:pt x="76" y="407"/>
                    </a:lnTo>
                    <a:lnTo>
                      <a:pt x="80" y="380"/>
                    </a:lnTo>
                    <a:lnTo>
                      <a:pt x="85" y="358"/>
                    </a:lnTo>
                    <a:lnTo>
                      <a:pt x="94" y="344"/>
                    </a:lnTo>
                    <a:lnTo>
                      <a:pt x="112" y="340"/>
                    </a:lnTo>
                    <a:lnTo>
                      <a:pt x="107" y="331"/>
                    </a:lnTo>
                    <a:lnTo>
                      <a:pt x="116" y="317"/>
                    </a:lnTo>
                    <a:lnTo>
                      <a:pt x="112" y="308"/>
                    </a:lnTo>
                    <a:lnTo>
                      <a:pt x="98" y="295"/>
                    </a:lnTo>
                    <a:lnTo>
                      <a:pt x="94" y="291"/>
                    </a:lnTo>
                    <a:lnTo>
                      <a:pt x="94" y="282"/>
                    </a:lnTo>
                    <a:lnTo>
                      <a:pt x="94" y="259"/>
                    </a:lnTo>
                    <a:lnTo>
                      <a:pt x="98" y="259"/>
                    </a:lnTo>
                    <a:lnTo>
                      <a:pt x="94" y="255"/>
                    </a:lnTo>
                    <a:lnTo>
                      <a:pt x="98" y="241"/>
                    </a:lnTo>
                    <a:lnTo>
                      <a:pt x="94" y="237"/>
                    </a:lnTo>
                    <a:lnTo>
                      <a:pt x="98" y="233"/>
                    </a:lnTo>
                    <a:lnTo>
                      <a:pt x="98" y="224"/>
                    </a:lnTo>
                    <a:lnTo>
                      <a:pt x="103" y="224"/>
                    </a:lnTo>
                    <a:lnTo>
                      <a:pt x="107" y="219"/>
                    </a:lnTo>
                    <a:lnTo>
                      <a:pt x="103" y="215"/>
                    </a:lnTo>
                    <a:lnTo>
                      <a:pt x="112" y="206"/>
                    </a:lnTo>
                    <a:lnTo>
                      <a:pt x="116" y="210"/>
                    </a:lnTo>
                    <a:lnTo>
                      <a:pt x="125" y="197"/>
                    </a:lnTo>
                    <a:lnTo>
                      <a:pt x="125" y="201"/>
                    </a:lnTo>
                    <a:lnTo>
                      <a:pt x="129" y="192"/>
                    </a:lnTo>
                    <a:lnTo>
                      <a:pt x="138" y="188"/>
                    </a:lnTo>
                    <a:lnTo>
                      <a:pt x="152" y="174"/>
                    </a:lnTo>
                    <a:lnTo>
                      <a:pt x="143" y="165"/>
                    </a:lnTo>
                    <a:lnTo>
                      <a:pt x="152" y="148"/>
                    </a:lnTo>
                    <a:lnTo>
                      <a:pt x="161" y="139"/>
                    </a:lnTo>
                    <a:lnTo>
                      <a:pt x="161" y="130"/>
                    </a:lnTo>
                    <a:lnTo>
                      <a:pt x="165" y="125"/>
                    </a:lnTo>
                    <a:lnTo>
                      <a:pt x="165" y="121"/>
                    </a:lnTo>
                    <a:lnTo>
                      <a:pt x="174" y="125"/>
                    </a:lnTo>
                    <a:lnTo>
                      <a:pt x="187" y="125"/>
                    </a:lnTo>
                    <a:lnTo>
                      <a:pt x="183" y="112"/>
                    </a:lnTo>
                    <a:lnTo>
                      <a:pt x="183" y="98"/>
                    </a:lnTo>
                    <a:lnTo>
                      <a:pt x="187" y="81"/>
                    </a:lnTo>
                    <a:lnTo>
                      <a:pt x="183" y="58"/>
                    </a:lnTo>
                    <a:lnTo>
                      <a:pt x="179" y="36"/>
                    </a:lnTo>
                    <a:lnTo>
                      <a:pt x="174" y="22"/>
                    </a:lnTo>
                    <a:lnTo>
                      <a:pt x="152" y="14"/>
                    </a:lnTo>
                    <a:lnTo>
                      <a:pt x="138" y="0"/>
                    </a:lnTo>
                    <a:lnTo>
                      <a:pt x="129" y="0"/>
                    </a:lnTo>
                    <a:lnTo>
                      <a:pt x="125" y="9"/>
                    </a:lnTo>
                    <a:lnTo>
                      <a:pt x="125" y="22"/>
                    </a:lnTo>
                    <a:lnTo>
                      <a:pt x="103" y="18"/>
                    </a:lnTo>
                    <a:lnTo>
                      <a:pt x="98" y="22"/>
                    </a:lnTo>
                    <a:lnTo>
                      <a:pt x="103" y="36"/>
                    </a:lnTo>
                    <a:lnTo>
                      <a:pt x="98" y="40"/>
                    </a:lnTo>
                    <a:lnTo>
                      <a:pt x="89" y="36"/>
                    </a:lnTo>
                    <a:lnTo>
                      <a:pt x="80" y="49"/>
                    </a:lnTo>
                    <a:lnTo>
                      <a:pt x="76" y="63"/>
                    </a:lnTo>
                    <a:lnTo>
                      <a:pt x="80" y="81"/>
                    </a:lnTo>
                    <a:lnTo>
                      <a:pt x="58" y="103"/>
                    </a:lnTo>
                    <a:lnTo>
                      <a:pt x="62" y="112"/>
                    </a:lnTo>
                    <a:lnTo>
                      <a:pt x="58" y="121"/>
                    </a:lnTo>
                    <a:lnTo>
                      <a:pt x="53" y="116"/>
                    </a:lnTo>
                    <a:lnTo>
                      <a:pt x="49" y="121"/>
                    </a:lnTo>
                    <a:lnTo>
                      <a:pt x="49" y="139"/>
                    </a:lnTo>
                    <a:lnTo>
                      <a:pt x="40" y="165"/>
                    </a:lnTo>
                    <a:lnTo>
                      <a:pt x="45" y="179"/>
                    </a:lnTo>
                    <a:lnTo>
                      <a:pt x="36" y="183"/>
                    </a:lnTo>
                    <a:lnTo>
                      <a:pt x="27" y="179"/>
                    </a:lnTo>
                    <a:lnTo>
                      <a:pt x="18" y="183"/>
                    </a:lnTo>
                    <a:lnTo>
                      <a:pt x="13" y="201"/>
                    </a:lnTo>
                    <a:lnTo>
                      <a:pt x="18" y="206"/>
                    </a:lnTo>
                    <a:lnTo>
                      <a:pt x="13" y="210"/>
                    </a:lnTo>
                    <a:lnTo>
                      <a:pt x="13" y="255"/>
                    </a:lnTo>
                    <a:lnTo>
                      <a:pt x="27" y="273"/>
                    </a:lnTo>
                    <a:lnTo>
                      <a:pt x="18" y="286"/>
                    </a:lnTo>
                    <a:lnTo>
                      <a:pt x="22" y="313"/>
                    </a:lnTo>
                    <a:lnTo>
                      <a:pt x="13" y="322"/>
                    </a:lnTo>
                    <a:lnTo>
                      <a:pt x="13" y="331"/>
                    </a:lnTo>
                    <a:lnTo>
                      <a:pt x="13" y="344"/>
                    </a:lnTo>
                    <a:lnTo>
                      <a:pt x="4" y="340"/>
                    </a:lnTo>
                    <a:close/>
                    <a:moveTo>
                      <a:pt x="85" y="384"/>
                    </a:moveTo>
                    <a:lnTo>
                      <a:pt x="80" y="402"/>
                    </a:lnTo>
                    <a:lnTo>
                      <a:pt x="80" y="416"/>
                    </a:lnTo>
                    <a:lnTo>
                      <a:pt x="80" y="411"/>
                    </a:lnTo>
                    <a:lnTo>
                      <a:pt x="80" y="407"/>
                    </a:lnTo>
                    <a:lnTo>
                      <a:pt x="89" y="384"/>
                    </a:lnTo>
                    <a:lnTo>
                      <a:pt x="85" y="384"/>
                    </a:lnTo>
                    <a:close/>
                    <a:moveTo>
                      <a:pt x="120" y="371"/>
                    </a:moveTo>
                    <a:lnTo>
                      <a:pt x="116" y="367"/>
                    </a:lnTo>
                    <a:lnTo>
                      <a:pt x="112" y="371"/>
                    </a:lnTo>
                    <a:lnTo>
                      <a:pt x="107" y="367"/>
                    </a:lnTo>
                    <a:lnTo>
                      <a:pt x="103" y="376"/>
                    </a:lnTo>
                    <a:lnTo>
                      <a:pt x="103" y="384"/>
                    </a:lnTo>
                    <a:lnTo>
                      <a:pt x="107" y="393"/>
                    </a:lnTo>
                    <a:lnTo>
                      <a:pt x="112" y="380"/>
                    </a:lnTo>
                    <a:lnTo>
                      <a:pt x="112" y="380"/>
                    </a:lnTo>
                    <a:lnTo>
                      <a:pt x="112" y="371"/>
                    </a:lnTo>
                    <a:lnTo>
                      <a:pt x="120" y="371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58" name="Freeform 223"/>
              <p:cNvSpPr>
                <a:spLocks/>
              </p:cNvSpPr>
              <p:nvPr/>
            </p:nvSpPr>
            <p:spPr bwMode="gray">
              <a:xfrm>
                <a:off x="5698376" y="3588557"/>
                <a:ext cx="274894" cy="131053"/>
              </a:xfrm>
              <a:custGeom>
                <a:avLst/>
                <a:gdLst/>
                <a:ahLst/>
                <a:cxnLst>
                  <a:cxn ang="0">
                    <a:pos x="13" y="36"/>
                  </a:cxn>
                  <a:cxn ang="0">
                    <a:pos x="9" y="27"/>
                  </a:cxn>
                  <a:cxn ang="0">
                    <a:pos x="4" y="23"/>
                  </a:cxn>
                  <a:cxn ang="0">
                    <a:pos x="0" y="32"/>
                  </a:cxn>
                  <a:cxn ang="0">
                    <a:pos x="0" y="23"/>
                  </a:cxn>
                  <a:cxn ang="0">
                    <a:pos x="9" y="9"/>
                  </a:cxn>
                  <a:cxn ang="0">
                    <a:pos x="9" y="5"/>
                  </a:cxn>
                  <a:cxn ang="0">
                    <a:pos x="18" y="5"/>
                  </a:cxn>
                  <a:cxn ang="0">
                    <a:pos x="22" y="0"/>
                  </a:cxn>
                  <a:cxn ang="0">
                    <a:pos x="22" y="5"/>
                  </a:cxn>
                  <a:cxn ang="0">
                    <a:pos x="31" y="0"/>
                  </a:cxn>
                  <a:cxn ang="0">
                    <a:pos x="40" y="0"/>
                  </a:cxn>
                  <a:cxn ang="0">
                    <a:pos x="49" y="0"/>
                  </a:cxn>
                  <a:cxn ang="0">
                    <a:pos x="49" y="14"/>
                  </a:cxn>
                  <a:cxn ang="0">
                    <a:pos x="49" y="18"/>
                  </a:cxn>
                  <a:cxn ang="0">
                    <a:pos x="58" y="14"/>
                  </a:cxn>
                  <a:cxn ang="0">
                    <a:pos x="58" y="18"/>
                  </a:cxn>
                  <a:cxn ang="0">
                    <a:pos x="53" y="27"/>
                  </a:cxn>
                  <a:cxn ang="0">
                    <a:pos x="45" y="27"/>
                  </a:cxn>
                  <a:cxn ang="0">
                    <a:pos x="40" y="23"/>
                  </a:cxn>
                  <a:cxn ang="0">
                    <a:pos x="40" y="32"/>
                  </a:cxn>
                  <a:cxn ang="0">
                    <a:pos x="36" y="36"/>
                  </a:cxn>
                  <a:cxn ang="0">
                    <a:pos x="31" y="27"/>
                  </a:cxn>
                  <a:cxn ang="0">
                    <a:pos x="27" y="27"/>
                  </a:cxn>
                  <a:cxn ang="0">
                    <a:pos x="27" y="36"/>
                  </a:cxn>
                  <a:cxn ang="0">
                    <a:pos x="18" y="36"/>
                  </a:cxn>
                  <a:cxn ang="0">
                    <a:pos x="13" y="36"/>
                  </a:cxn>
                </a:cxnLst>
                <a:rect l="0" t="0" r="r" b="b"/>
                <a:pathLst>
                  <a:path w="58" h="36">
                    <a:moveTo>
                      <a:pt x="13" y="36"/>
                    </a:moveTo>
                    <a:lnTo>
                      <a:pt x="9" y="27"/>
                    </a:lnTo>
                    <a:lnTo>
                      <a:pt x="4" y="23"/>
                    </a:lnTo>
                    <a:lnTo>
                      <a:pt x="0" y="32"/>
                    </a:lnTo>
                    <a:lnTo>
                      <a:pt x="0" y="23"/>
                    </a:lnTo>
                    <a:lnTo>
                      <a:pt x="9" y="9"/>
                    </a:lnTo>
                    <a:lnTo>
                      <a:pt x="9" y="5"/>
                    </a:lnTo>
                    <a:lnTo>
                      <a:pt x="18" y="5"/>
                    </a:lnTo>
                    <a:lnTo>
                      <a:pt x="22" y="0"/>
                    </a:lnTo>
                    <a:lnTo>
                      <a:pt x="22" y="5"/>
                    </a:lnTo>
                    <a:lnTo>
                      <a:pt x="31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49" y="14"/>
                    </a:lnTo>
                    <a:lnTo>
                      <a:pt x="49" y="18"/>
                    </a:lnTo>
                    <a:lnTo>
                      <a:pt x="58" y="14"/>
                    </a:lnTo>
                    <a:lnTo>
                      <a:pt x="58" y="18"/>
                    </a:lnTo>
                    <a:lnTo>
                      <a:pt x="53" y="27"/>
                    </a:lnTo>
                    <a:lnTo>
                      <a:pt x="45" y="27"/>
                    </a:lnTo>
                    <a:lnTo>
                      <a:pt x="40" y="23"/>
                    </a:lnTo>
                    <a:lnTo>
                      <a:pt x="40" y="32"/>
                    </a:lnTo>
                    <a:lnTo>
                      <a:pt x="36" y="36"/>
                    </a:lnTo>
                    <a:lnTo>
                      <a:pt x="31" y="27"/>
                    </a:lnTo>
                    <a:lnTo>
                      <a:pt x="27" y="27"/>
                    </a:lnTo>
                    <a:lnTo>
                      <a:pt x="27" y="36"/>
                    </a:lnTo>
                    <a:lnTo>
                      <a:pt x="18" y="36"/>
                    </a:lnTo>
                    <a:lnTo>
                      <a:pt x="13" y="36"/>
                    </a:lnTo>
                    <a:close/>
                  </a:path>
                </a:pathLst>
              </a:custGeom>
              <a:solidFill>
                <a:schemeClr val="accent6">
                  <a:lumMod val="75000"/>
                </a:schemeClr>
              </a:solidFill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59" name="Freeform 224"/>
              <p:cNvSpPr>
                <a:spLocks noEditPoints="1"/>
              </p:cNvSpPr>
              <p:nvPr/>
            </p:nvSpPr>
            <p:spPr bwMode="gray">
              <a:xfrm>
                <a:off x="7021594" y="3998548"/>
                <a:ext cx="1285944" cy="455679"/>
              </a:xfrm>
              <a:custGeom>
                <a:avLst/>
                <a:gdLst/>
                <a:ahLst/>
                <a:cxnLst>
                  <a:cxn ang="0">
                    <a:pos x="0" y="18"/>
                  </a:cxn>
                  <a:cxn ang="0">
                    <a:pos x="18" y="0"/>
                  </a:cxn>
                  <a:cxn ang="0">
                    <a:pos x="32" y="4"/>
                  </a:cxn>
                  <a:cxn ang="0">
                    <a:pos x="45" y="18"/>
                  </a:cxn>
                  <a:cxn ang="0">
                    <a:pos x="32" y="22"/>
                  </a:cxn>
                  <a:cxn ang="0">
                    <a:pos x="14" y="31"/>
                  </a:cxn>
                  <a:cxn ang="0">
                    <a:pos x="0" y="40"/>
                  </a:cxn>
                  <a:cxn ang="0">
                    <a:pos x="9" y="27"/>
                  </a:cxn>
                  <a:cxn ang="0">
                    <a:pos x="63" y="112"/>
                  </a:cxn>
                  <a:cxn ang="0">
                    <a:pos x="85" y="107"/>
                  </a:cxn>
                  <a:cxn ang="0">
                    <a:pos x="99" y="116"/>
                  </a:cxn>
                  <a:cxn ang="0">
                    <a:pos x="121" y="107"/>
                  </a:cxn>
                  <a:cxn ang="0">
                    <a:pos x="139" y="112"/>
                  </a:cxn>
                  <a:cxn ang="0">
                    <a:pos x="148" y="107"/>
                  </a:cxn>
                  <a:cxn ang="0">
                    <a:pos x="143" y="116"/>
                  </a:cxn>
                  <a:cxn ang="0">
                    <a:pos x="139" y="125"/>
                  </a:cxn>
                  <a:cxn ang="0">
                    <a:pos x="157" y="116"/>
                  </a:cxn>
                  <a:cxn ang="0">
                    <a:pos x="179" y="103"/>
                  </a:cxn>
                  <a:cxn ang="0">
                    <a:pos x="210" y="103"/>
                  </a:cxn>
                  <a:cxn ang="0">
                    <a:pos x="241" y="103"/>
                  </a:cxn>
                  <a:cxn ang="0">
                    <a:pos x="264" y="103"/>
                  </a:cxn>
                  <a:cxn ang="0">
                    <a:pos x="273" y="94"/>
                  </a:cxn>
                  <a:cxn ang="0">
                    <a:pos x="259" y="63"/>
                  </a:cxn>
                  <a:cxn ang="0">
                    <a:pos x="264" y="45"/>
                  </a:cxn>
                  <a:cxn ang="0">
                    <a:pos x="250" y="22"/>
                  </a:cxn>
                  <a:cxn ang="0">
                    <a:pos x="219" y="13"/>
                  </a:cxn>
                  <a:cxn ang="0">
                    <a:pos x="206" y="22"/>
                  </a:cxn>
                  <a:cxn ang="0">
                    <a:pos x="183" y="22"/>
                  </a:cxn>
                  <a:cxn ang="0">
                    <a:pos x="148" y="18"/>
                  </a:cxn>
                  <a:cxn ang="0">
                    <a:pos x="134" y="9"/>
                  </a:cxn>
                  <a:cxn ang="0">
                    <a:pos x="130" y="0"/>
                  </a:cxn>
                  <a:cxn ang="0">
                    <a:pos x="103" y="0"/>
                  </a:cxn>
                  <a:cxn ang="0">
                    <a:pos x="76" y="18"/>
                  </a:cxn>
                  <a:cxn ang="0">
                    <a:pos x="54" y="18"/>
                  </a:cxn>
                  <a:cxn ang="0">
                    <a:pos x="45" y="22"/>
                  </a:cxn>
                  <a:cxn ang="0">
                    <a:pos x="40" y="27"/>
                  </a:cxn>
                  <a:cxn ang="0">
                    <a:pos x="36" y="31"/>
                  </a:cxn>
                  <a:cxn ang="0">
                    <a:pos x="23" y="40"/>
                  </a:cxn>
                  <a:cxn ang="0">
                    <a:pos x="9" y="36"/>
                  </a:cxn>
                  <a:cxn ang="0">
                    <a:pos x="0" y="49"/>
                  </a:cxn>
                  <a:cxn ang="0">
                    <a:pos x="9" y="54"/>
                  </a:cxn>
                  <a:cxn ang="0">
                    <a:pos x="14" y="72"/>
                  </a:cxn>
                  <a:cxn ang="0">
                    <a:pos x="5" y="67"/>
                  </a:cxn>
                  <a:cxn ang="0">
                    <a:pos x="9" y="76"/>
                  </a:cxn>
                  <a:cxn ang="0">
                    <a:pos x="14" y="85"/>
                  </a:cxn>
                  <a:cxn ang="0">
                    <a:pos x="23" y="94"/>
                  </a:cxn>
                  <a:cxn ang="0">
                    <a:pos x="27" y="98"/>
                  </a:cxn>
                  <a:cxn ang="0">
                    <a:pos x="23" y="107"/>
                  </a:cxn>
                  <a:cxn ang="0">
                    <a:pos x="32" y="107"/>
                  </a:cxn>
                  <a:cxn ang="0">
                    <a:pos x="45" y="103"/>
                  </a:cxn>
                  <a:cxn ang="0">
                    <a:pos x="54" y="116"/>
                  </a:cxn>
                </a:cxnLst>
                <a:rect l="0" t="0" r="r" b="b"/>
                <a:pathLst>
                  <a:path w="273" h="125">
                    <a:moveTo>
                      <a:pt x="0" y="22"/>
                    </a:moveTo>
                    <a:lnTo>
                      <a:pt x="0" y="18"/>
                    </a:lnTo>
                    <a:lnTo>
                      <a:pt x="0" y="9"/>
                    </a:lnTo>
                    <a:lnTo>
                      <a:pt x="18" y="0"/>
                    </a:lnTo>
                    <a:lnTo>
                      <a:pt x="23" y="4"/>
                    </a:lnTo>
                    <a:lnTo>
                      <a:pt x="32" y="4"/>
                    </a:lnTo>
                    <a:lnTo>
                      <a:pt x="32" y="13"/>
                    </a:lnTo>
                    <a:lnTo>
                      <a:pt x="45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18" y="22"/>
                    </a:lnTo>
                    <a:lnTo>
                      <a:pt x="14" y="31"/>
                    </a:lnTo>
                    <a:lnTo>
                      <a:pt x="9" y="31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9" y="27"/>
                    </a:lnTo>
                    <a:lnTo>
                      <a:pt x="0" y="22"/>
                    </a:lnTo>
                    <a:close/>
                    <a:moveTo>
                      <a:pt x="63" y="112"/>
                    </a:moveTo>
                    <a:lnTo>
                      <a:pt x="67" y="103"/>
                    </a:lnTo>
                    <a:lnTo>
                      <a:pt x="85" y="107"/>
                    </a:lnTo>
                    <a:lnTo>
                      <a:pt x="90" y="116"/>
                    </a:lnTo>
                    <a:lnTo>
                      <a:pt x="99" y="116"/>
                    </a:lnTo>
                    <a:lnTo>
                      <a:pt x="116" y="112"/>
                    </a:lnTo>
                    <a:lnTo>
                      <a:pt x="121" y="107"/>
                    </a:lnTo>
                    <a:lnTo>
                      <a:pt x="125" y="107"/>
                    </a:lnTo>
                    <a:lnTo>
                      <a:pt x="139" y="112"/>
                    </a:lnTo>
                    <a:lnTo>
                      <a:pt x="143" y="103"/>
                    </a:lnTo>
                    <a:lnTo>
                      <a:pt x="148" y="107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21"/>
                    </a:lnTo>
                    <a:lnTo>
                      <a:pt x="139" y="125"/>
                    </a:lnTo>
                    <a:lnTo>
                      <a:pt x="148" y="125"/>
                    </a:lnTo>
                    <a:lnTo>
                      <a:pt x="157" y="116"/>
                    </a:lnTo>
                    <a:lnTo>
                      <a:pt x="157" y="107"/>
                    </a:lnTo>
                    <a:lnTo>
                      <a:pt x="179" y="103"/>
                    </a:lnTo>
                    <a:lnTo>
                      <a:pt x="197" y="107"/>
                    </a:lnTo>
                    <a:lnTo>
                      <a:pt x="210" y="103"/>
                    </a:lnTo>
                    <a:lnTo>
                      <a:pt x="233" y="98"/>
                    </a:lnTo>
                    <a:lnTo>
                      <a:pt x="241" y="103"/>
                    </a:lnTo>
                    <a:lnTo>
                      <a:pt x="246" y="98"/>
                    </a:lnTo>
                    <a:lnTo>
                      <a:pt x="264" y="103"/>
                    </a:lnTo>
                    <a:lnTo>
                      <a:pt x="273" y="98"/>
                    </a:lnTo>
                    <a:lnTo>
                      <a:pt x="273" y="94"/>
                    </a:lnTo>
                    <a:lnTo>
                      <a:pt x="264" y="89"/>
                    </a:lnTo>
                    <a:lnTo>
                      <a:pt x="259" y="63"/>
                    </a:lnTo>
                    <a:lnTo>
                      <a:pt x="268" y="54"/>
                    </a:lnTo>
                    <a:lnTo>
                      <a:pt x="264" y="45"/>
                    </a:lnTo>
                    <a:lnTo>
                      <a:pt x="255" y="40"/>
                    </a:lnTo>
                    <a:lnTo>
                      <a:pt x="250" y="22"/>
                    </a:lnTo>
                    <a:lnTo>
                      <a:pt x="241" y="18"/>
                    </a:lnTo>
                    <a:lnTo>
                      <a:pt x="219" y="13"/>
                    </a:lnTo>
                    <a:lnTo>
                      <a:pt x="210" y="18"/>
                    </a:lnTo>
                    <a:lnTo>
                      <a:pt x="206" y="22"/>
                    </a:lnTo>
                    <a:lnTo>
                      <a:pt x="192" y="18"/>
                    </a:lnTo>
                    <a:lnTo>
                      <a:pt x="183" y="22"/>
                    </a:lnTo>
                    <a:lnTo>
                      <a:pt x="170" y="22"/>
                    </a:lnTo>
                    <a:lnTo>
                      <a:pt x="148" y="18"/>
                    </a:lnTo>
                    <a:lnTo>
                      <a:pt x="143" y="9"/>
                    </a:lnTo>
                    <a:lnTo>
                      <a:pt x="134" y="9"/>
                    </a:lnTo>
                    <a:lnTo>
                      <a:pt x="134" y="0"/>
                    </a:lnTo>
                    <a:lnTo>
                      <a:pt x="130" y="0"/>
                    </a:lnTo>
                    <a:lnTo>
                      <a:pt x="125" y="4"/>
                    </a:lnTo>
                    <a:lnTo>
                      <a:pt x="103" y="0"/>
                    </a:lnTo>
                    <a:lnTo>
                      <a:pt x="76" y="13"/>
                    </a:lnTo>
                    <a:lnTo>
                      <a:pt x="76" y="18"/>
                    </a:lnTo>
                    <a:lnTo>
                      <a:pt x="63" y="18"/>
                    </a:lnTo>
                    <a:lnTo>
                      <a:pt x="54" y="18"/>
                    </a:lnTo>
                    <a:lnTo>
                      <a:pt x="45" y="18"/>
                    </a:lnTo>
                    <a:lnTo>
                      <a:pt x="45" y="22"/>
                    </a:lnTo>
                    <a:lnTo>
                      <a:pt x="45" y="27"/>
                    </a:lnTo>
                    <a:lnTo>
                      <a:pt x="40" y="27"/>
                    </a:lnTo>
                    <a:lnTo>
                      <a:pt x="45" y="31"/>
                    </a:lnTo>
                    <a:lnTo>
                      <a:pt x="36" y="31"/>
                    </a:lnTo>
                    <a:lnTo>
                      <a:pt x="27" y="31"/>
                    </a:lnTo>
                    <a:lnTo>
                      <a:pt x="23" y="40"/>
                    </a:lnTo>
                    <a:lnTo>
                      <a:pt x="14" y="36"/>
                    </a:lnTo>
                    <a:lnTo>
                      <a:pt x="9" y="36"/>
                    </a:lnTo>
                    <a:lnTo>
                      <a:pt x="0" y="40"/>
                    </a:lnTo>
                    <a:lnTo>
                      <a:pt x="0" y="49"/>
                    </a:lnTo>
                    <a:lnTo>
                      <a:pt x="14" y="49"/>
                    </a:lnTo>
                    <a:lnTo>
                      <a:pt x="9" y="54"/>
                    </a:lnTo>
                    <a:lnTo>
                      <a:pt x="14" y="67"/>
                    </a:lnTo>
                    <a:lnTo>
                      <a:pt x="14" y="72"/>
                    </a:lnTo>
                    <a:lnTo>
                      <a:pt x="9" y="72"/>
                    </a:lnTo>
                    <a:lnTo>
                      <a:pt x="5" y="67"/>
                    </a:lnTo>
                    <a:lnTo>
                      <a:pt x="5" y="76"/>
                    </a:lnTo>
                    <a:lnTo>
                      <a:pt x="9" y="76"/>
                    </a:lnTo>
                    <a:lnTo>
                      <a:pt x="14" y="80"/>
                    </a:lnTo>
                    <a:lnTo>
                      <a:pt x="14" y="85"/>
                    </a:lnTo>
                    <a:lnTo>
                      <a:pt x="14" y="94"/>
                    </a:lnTo>
                    <a:lnTo>
                      <a:pt x="23" y="94"/>
                    </a:lnTo>
                    <a:lnTo>
                      <a:pt x="14" y="98"/>
                    </a:lnTo>
                    <a:lnTo>
                      <a:pt x="27" y="98"/>
                    </a:lnTo>
                    <a:lnTo>
                      <a:pt x="27" y="103"/>
                    </a:lnTo>
                    <a:lnTo>
                      <a:pt x="23" y="107"/>
                    </a:lnTo>
                    <a:lnTo>
                      <a:pt x="27" y="103"/>
                    </a:lnTo>
                    <a:lnTo>
                      <a:pt x="32" y="107"/>
                    </a:lnTo>
                    <a:lnTo>
                      <a:pt x="36" y="98"/>
                    </a:lnTo>
                    <a:lnTo>
                      <a:pt x="45" y="103"/>
                    </a:lnTo>
                    <a:lnTo>
                      <a:pt x="49" y="112"/>
                    </a:lnTo>
                    <a:lnTo>
                      <a:pt x="54" y="116"/>
                    </a:lnTo>
                    <a:lnTo>
                      <a:pt x="63" y="112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60" name="Freeform 225"/>
              <p:cNvSpPr>
                <a:spLocks/>
              </p:cNvSpPr>
              <p:nvPr/>
            </p:nvSpPr>
            <p:spPr bwMode="gray">
              <a:xfrm>
                <a:off x="6771550" y="3217041"/>
                <a:ext cx="1198972" cy="616790"/>
              </a:xfrm>
              <a:custGeom>
                <a:avLst/>
                <a:gdLst/>
                <a:ahLst/>
                <a:cxnLst>
                  <a:cxn ang="0">
                    <a:pos x="4" y="71"/>
                  </a:cxn>
                  <a:cxn ang="0">
                    <a:pos x="4" y="67"/>
                  </a:cxn>
                  <a:cxn ang="0">
                    <a:pos x="22" y="49"/>
                  </a:cxn>
                  <a:cxn ang="0">
                    <a:pos x="22" y="40"/>
                  </a:cxn>
                  <a:cxn ang="0">
                    <a:pos x="18" y="17"/>
                  </a:cxn>
                  <a:cxn ang="0">
                    <a:pos x="26" y="17"/>
                  </a:cxn>
                  <a:cxn ang="0">
                    <a:pos x="35" y="4"/>
                  </a:cxn>
                  <a:cxn ang="0">
                    <a:pos x="58" y="13"/>
                  </a:cxn>
                  <a:cxn ang="0">
                    <a:pos x="76" y="13"/>
                  </a:cxn>
                  <a:cxn ang="0">
                    <a:pos x="80" y="17"/>
                  </a:cxn>
                  <a:cxn ang="0">
                    <a:pos x="89" y="13"/>
                  </a:cxn>
                  <a:cxn ang="0">
                    <a:pos x="98" y="13"/>
                  </a:cxn>
                  <a:cxn ang="0">
                    <a:pos x="111" y="17"/>
                  </a:cxn>
                  <a:cxn ang="0">
                    <a:pos x="120" y="17"/>
                  </a:cxn>
                  <a:cxn ang="0">
                    <a:pos x="125" y="0"/>
                  </a:cxn>
                  <a:cxn ang="0">
                    <a:pos x="138" y="4"/>
                  </a:cxn>
                  <a:cxn ang="0">
                    <a:pos x="147" y="4"/>
                  </a:cxn>
                  <a:cxn ang="0">
                    <a:pos x="165" y="0"/>
                  </a:cxn>
                  <a:cxn ang="0">
                    <a:pos x="174" y="8"/>
                  </a:cxn>
                  <a:cxn ang="0">
                    <a:pos x="187" y="22"/>
                  </a:cxn>
                  <a:cxn ang="0">
                    <a:pos x="192" y="44"/>
                  </a:cxn>
                  <a:cxn ang="0">
                    <a:pos x="205" y="49"/>
                  </a:cxn>
                  <a:cxn ang="0">
                    <a:pos x="219" y="44"/>
                  </a:cxn>
                  <a:cxn ang="0">
                    <a:pos x="223" y="53"/>
                  </a:cxn>
                  <a:cxn ang="0">
                    <a:pos x="232" y="58"/>
                  </a:cxn>
                  <a:cxn ang="0">
                    <a:pos x="241" y="58"/>
                  </a:cxn>
                  <a:cxn ang="0">
                    <a:pos x="250" y="71"/>
                  </a:cxn>
                  <a:cxn ang="0">
                    <a:pos x="250" y="80"/>
                  </a:cxn>
                  <a:cxn ang="0">
                    <a:pos x="250" y="93"/>
                  </a:cxn>
                  <a:cxn ang="0">
                    <a:pos x="232" y="111"/>
                  </a:cxn>
                  <a:cxn ang="0">
                    <a:pos x="205" y="120"/>
                  </a:cxn>
                  <a:cxn ang="0">
                    <a:pos x="192" y="125"/>
                  </a:cxn>
                  <a:cxn ang="0">
                    <a:pos x="183" y="125"/>
                  </a:cxn>
                  <a:cxn ang="0">
                    <a:pos x="192" y="147"/>
                  </a:cxn>
                  <a:cxn ang="0">
                    <a:pos x="201" y="156"/>
                  </a:cxn>
                  <a:cxn ang="0">
                    <a:pos x="192" y="156"/>
                  </a:cxn>
                  <a:cxn ang="0">
                    <a:pos x="178" y="160"/>
                  </a:cxn>
                  <a:cxn ang="0">
                    <a:pos x="156" y="165"/>
                  </a:cxn>
                  <a:cxn ang="0">
                    <a:pos x="160" y="151"/>
                  </a:cxn>
                  <a:cxn ang="0">
                    <a:pos x="147" y="147"/>
                  </a:cxn>
                  <a:cxn ang="0">
                    <a:pos x="165" y="138"/>
                  </a:cxn>
                  <a:cxn ang="0">
                    <a:pos x="156" y="129"/>
                  </a:cxn>
                  <a:cxn ang="0">
                    <a:pos x="138" y="129"/>
                  </a:cxn>
                  <a:cxn ang="0">
                    <a:pos x="138" y="120"/>
                  </a:cxn>
                  <a:cxn ang="0">
                    <a:pos x="116" y="129"/>
                  </a:cxn>
                  <a:cxn ang="0">
                    <a:pos x="111" y="129"/>
                  </a:cxn>
                  <a:cxn ang="0">
                    <a:pos x="111" y="143"/>
                  </a:cxn>
                  <a:cxn ang="0">
                    <a:pos x="102" y="151"/>
                  </a:cxn>
                  <a:cxn ang="0">
                    <a:pos x="89" y="156"/>
                  </a:cxn>
                  <a:cxn ang="0">
                    <a:pos x="80" y="147"/>
                  </a:cxn>
                  <a:cxn ang="0">
                    <a:pos x="93" y="143"/>
                  </a:cxn>
                  <a:cxn ang="0">
                    <a:pos x="93" y="129"/>
                  </a:cxn>
                  <a:cxn ang="0">
                    <a:pos x="98" y="129"/>
                  </a:cxn>
                  <a:cxn ang="0">
                    <a:pos x="107" y="129"/>
                  </a:cxn>
                  <a:cxn ang="0">
                    <a:pos x="102" y="111"/>
                  </a:cxn>
                  <a:cxn ang="0">
                    <a:pos x="89" y="93"/>
                  </a:cxn>
                  <a:cxn ang="0">
                    <a:pos x="80" y="89"/>
                  </a:cxn>
                  <a:cxn ang="0">
                    <a:pos x="76" y="89"/>
                  </a:cxn>
                  <a:cxn ang="0">
                    <a:pos x="40" y="98"/>
                  </a:cxn>
                  <a:cxn ang="0">
                    <a:pos x="9" y="98"/>
                  </a:cxn>
                </a:cxnLst>
                <a:rect l="0" t="0" r="r" b="b"/>
                <a:pathLst>
                  <a:path w="254" h="169">
                    <a:moveTo>
                      <a:pt x="0" y="84"/>
                    </a:moveTo>
                    <a:lnTo>
                      <a:pt x="4" y="71"/>
                    </a:lnTo>
                    <a:lnTo>
                      <a:pt x="9" y="71"/>
                    </a:lnTo>
                    <a:lnTo>
                      <a:pt x="4" y="67"/>
                    </a:lnTo>
                    <a:lnTo>
                      <a:pt x="13" y="53"/>
                    </a:lnTo>
                    <a:lnTo>
                      <a:pt x="22" y="49"/>
                    </a:lnTo>
                    <a:lnTo>
                      <a:pt x="26" y="44"/>
                    </a:lnTo>
                    <a:lnTo>
                      <a:pt x="22" y="40"/>
                    </a:lnTo>
                    <a:lnTo>
                      <a:pt x="22" y="31"/>
                    </a:lnTo>
                    <a:lnTo>
                      <a:pt x="18" y="17"/>
                    </a:lnTo>
                    <a:lnTo>
                      <a:pt x="18" y="13"/>
                    </a:lnTo>
                    <a:lnTo>
                      <a:pt x="26" y="17"/>
                    </a:lnTo>
                    <a:lnTo>
                      <a:pt x="31" y="8"/>
                    </a:lnTo>
                    <a:lnTo>
                      <a:pt x="35" y="4"/>
                    </a:lnTo>
                    <a:lnTo>
                      <a:pt x="49" y="8"/>
                    </a:lnTo>
                    <a:lnTo>
                      <a:pt x="58" y="13"/>
                    </a:lnTo>
                    <a:lnTo>
                      <a:pt x="71" y="8"/>
                    </a:lnTo>
                    <a:lnTo>
                      <a:pt x="76" y="13"/>
                    </a:lnTo>
                    <a:lnTo>
                      <a:pt x="80" y="22"/>
                    </a:lnTo>
                    <a:lnTo>
                      <a:pt x="80" y="17"/>
                    </a:lnTo>
                    <a:lnTo>
                      <a:pt x="89" y="17"/>
                    </a:lnTo>
                    <a:lnTo>
                      <a:pt x="89" y="13"/>
                    </a:lnTo>
                    <a:lnTo>
                      <a:pt x="93" y="17"/>
                    </a:lnTo>
                    <a:lnTo>
                      <a:pt x="98" y="13"/>
                    </a:lnTo>
                    <a:lnTo>
                      <a:pt x="102" y="22"/>
                    </a:lnTo>
                    <a:lnTo>
                      <a:pt x="111" y="17"/>
                    </a:lnTo>
                    <a:lnTo>
                      <a:pt x="120" y="22"/>
                    </a:lnTo>
                    <a:lnTo>
                      <a:pt x="120" y="17"/>
                    </a:lnTo>
                    <a:lnTo>
                      <a:pt x="120" y="13"/>
                    </a:lnTo>
                    <a:lnTo>
                      <a:pt x="125" y="0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3" y="0"/>
                    </a:lnTo>
                    <a:lnTo>
                      <a:pt x="147" y="4"/>
                    </a:lnTo>
                    <a:lnTo>
                      <a:pt x="156" y="0"/>
                    </a:lnTo>
                    <a:lnTo>
                      <a:pt x="165" y="0"/>
                    </a:lnTo>
                    <a:lnTo>
                      <a:pt x="169" y="8"/>
                    </a:lnTo>
                    <a:lnTo>
                      <a:pt x="174" y="8"/>
                    </a:lnTo>
                    <a:lnTo>
                      <a:pt x="169" y="17"/>
                    </a:lnTo>
                    <a:lnTo>
                      <a:pt x="187" y="22"/>
                    </a:lnTo>
                    <a:lnTo>
                      <a:pt x="187" y="31"/>
                    </a:lnTo>
                    <a:lnTo>
                      <a:pt x="192" y="44"/>
                    </a:lnTo>
                    <a:lnTo>
                      <a:pt x="201" y="44"/>
                    </a:lnTo>
                    <a:lnTo>
                      <a:pt x="205" y="49"/>
                    </a:lnTo>
                    <a:lnTo>
                      <a:pt x="210" y="44"/>
                    </a:lnTo>
                    <a:lnTo>
                      <a:pt x="219" y="44"/>
                    </a:lnTo>
                    <a:lnTo>
                      <a:pt x="223" y="49"/>
                    </a:lnTo>
                    <a:lnTo>
                      <a:pt x="223" y="53"/>
                    </a:lnTo>
                    <a:lnTo>
                      <a:pt x="232" y="53"/>
                    </a:lnTo>
                    <a:lnTo>
                      <a:pt x="232" y="58"/>
                    </a:lnTo>
                    <a:lnTo>
                      <a:pt x="236" y="53"/>
                    </a:lnTo>
                    <a:lnTo>
                      <a:pt x="241" y="58"/>
                    </a:lnTo>
                    <a:lnTo>
                      <a:pt x="254" y="67"/>
                    </a:lnTo>
                    <a:lnTo>
                      <a:pt x="250" y="71"/>
                    </a:lnTo>
                    <a:lnTo>
                      <a:pt x="254" y="75"/>
                    </a:lnTo>
                    <a:lnTo>
                      <a:pt x="250" y="80"/>
                    </a:lnTo>
                    <a:lnTo>
                      <a:pt x="254" y="84"/>
                    </a:lnTo>
                    <a:lnTo>
                      <a:pt x="250" y="93"/>
                    </a:lnTo>
                    <a:lnTo>
                      <a:pt x="241" y="98"/>
                    </a:lnTo>
                    <a:lnTo>
                      <a:pt x="232" y="111"/>
                    </a:lnTo>
                    <a:lnTo>
                      <a:pt x="223" y="111"/>
                    </a:lnTo>
                    <a:lnTo>
                      <a:pt x="205" y="120"/>
                    </a:lnTo>
                    <a:lnTo>
                      <a:pt x="196" y="125"/>
                    </a:lnTo>
                    <a:lnTo>
                      <a:pt x="192" y="125"/>
                    </a:lnTo>
                    <a:lnTo>
                      <a:pt x="187" y="129"/>
                    </a:lnTo>
                    <a:lnTo>
                      <a:pt x="183" y="125"/>
                    </a:lnTo>
                    <a:lnTo>
                      <a:pt x="174" y="134"/>
                    </a:lnTo>
                    <a:lnTo>
                      <a:pt x="192" y="147"/>
                    </a:lnTo>
                    <a:lnTo>
                      <a:pt x="205" y="147"/>
                    </a:lnTo>
                    <a:lnTo>
                      <a:pt x="201" y="156"/>
                    </a:lnTo>
                    <a:lnTo>
                      <a:pt x="196" y="156"/>
                    </a:lnTo>
                    <a:lnTo>
                      <a:pt x="192" y="156"/>
                    </a:lnTo>
                    <a:lnTo>
                      <a:pt x="183" y="160"/>
                    </a:lnTo>
                    <a:lnTo>
                      <a:pt x="178" y="160"/>
                    </a:lnTo>
                    <a:lnTo>
                      <a:pt x="169" y="169"/>
                    </a:lnTo>
                    <a:lnTo>
                      <a:pt x="156" y="165"/>
                    </a:lnTo>
                    <a:lnTo>
                      <a:pt x="160" y="160"/>
                    </a:lnTo>
                    <a:lnTo>
                      <a:pt x="160" y="151"/>
                    </a:lnTo>
                    <a:lnTo>
                      <a:pt x="156" y="151"/>
                    </a:lnTo>
                    <a:lnTo>
                      <a:pt x="147" y="147"/>
                    </a:lnTo>
                    <a:lnTo>
                      <a:pt x="156" y="138"/>
                    </a:lnTo>
                    <a:lnTo>
                      <a:pt x="165" y="138"/>
                    </a:lnTo>
                    <a:lnTo>
                      <a:pt x="160" y="134"/>
                    </a:lnTo>
                    <a:lnTo>
                      <a:pt x="156" y="129"/>
                    </a:lnTo>
                    <a:lnTo>
                      <a:pt x="134" y="134"/>
                    </a:lnTo>
                    <a:lnTo>
                      <a:pt x="138" y="129"/>
                    </a:lnTo>
                    <a:lnTo>
                      <a:pt x="129" y="125"/>
                    </a:lnTo>
                    <a:lnTo>
                      <a:pt x="138" y="120"/>
                    </a:lnTo>
                    <a:lnTo>
                      <a:pt x="125" y="125"/>
                    </a:lnTo>
                    <a:lnTo>
                      <a:pt x="116" y="129"/>
                    </a:lnTo>
                    <a:lnTo>
                      <a:pt x="111" y="125"/>
                    </a:lnTo>
                    <a:lnTo>
                      <a:pt x="111" y="129"/>
                    </a:lnTo>
                    <a:lnTo>
                      <a:pt x="116" y="134"/>
                    </a:lnTo>
                    <a:lnTo>
                      <a:pt x="111" y="143"/>
                    </a:lnTo>
                    <a:lnTo>
                      <a:pt x="102" y="147"/>
                    </a:lnTo>
                    <a:lnTo>
                      <a:pt x="102" y="151"/>
                    </a:lnTo>
                    <a:lnTo>
                      <a:pt x="98" y="151"/>
                    </a:lnTo>
                    <a:lnTo>
                      <a:pt x="89" y="156"/>
                    </a:lnTo>
                    <a:lnTo>
                      <a:pt x="85" y="151"/>
                    </a:lnTo>
                    <a:lnTo>
                      <a:pt x="80" y="147"/>
                    </a:lnTo>
                    <a:lnTo>
                      <a:pt x="89" y="147"/>
                    </a:lnTo>
                    <a:lnTo>
                      <a:pt x="93" y="143"/>
                    </a:lnTo>
                    <a:lnTo>
                      <a:pt x="93" y="138"/>
                    </a:lnTo>
                    <a:lnTo>
                      <a:pt x="93" y="129"/>
                    </a:lnTo>
                    <a:lnTo>
                      <a:pt x="98" y="134"/>
                    </a:lnTo>
                    <a:lnTo>
                      <a:pt x="98" y="129"/>
                    </a:lnTo>
                    <a:lnTo>
                      <a:pt x="102" y="129"/>
                    </a:lnTo>
                    <a:lnTo>
                      <a:pt x="107" y="129"/>
                    </a:lnTo>
                    <a:lnTo>
                      <a:pt x="107" y="120"/>
                    </a:lnTo>
                    <a:lnTo>
                      <a:pt x="102" y="111"/>
                    </a:lnTo>
                    <a:lnTo>
                      <a:pt x="102" y="102"/>
                    </a:lnTo>
                    <a:lnTo>
                      <a:pt x="89" y="93"/>
                    </a:lnTo>
                    <a:lnTo>
                      <a:pt x="85" y="93"/>
                    </a:lnTo>
                    <a:lnTo>
                      <a:pt x="80" y="89"/>
                    </a:lnTo>
                    <a:lnTo>
                      <a:pt x="76" y="93"/>
                    </a:lnTo>
                    <a:lnTo>
                      <a:pt x="76" y="89"/>
                    </a:lnTo>
                    <a:lnTo>
                      <a:pt x="62" y="89"/>
                    </a:lnTo>
                    <a:lnTo>
                      <a:pt x="40" y="98"/>
                    </a:lnTo>
                    <a:lnTo>
                      <a:pt x="13" y="93"/>
                    </a:lnTo>
                    <a:lnTo>
                      <a:pt x="9" y="98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61" name="Freeform 226"/>
              <p:cNvSpPr>
                <a:spLocks/>
              </p:cNvSpPr>
              <p:nvPr/>
            </p:nvSpPr>
            <p:spPr bwMode="gray">
              <a:xfrm>
                <a:off x="6664388" y="3981716"/>
                <a:ext cx="169285" cy="128648"/>
              </a:xfrm>
              <a:custGeom>
                <a:avLst/>
                <a:gdLst/>
                <a:ahLst/>
                <a:cxnLst>
                  <a:cxn ang="0">
                    <a:pos x="9" y="35"/>
                  </a:cxn>
                  <a:cxn ang="0">
                    <a:pos x="0" y="31"/>
                  </a:cxn>
                  <a:cxn ang="0">
                    <a:pos x="0" y="8"/>
                  </a:cxn>
                  <a:cxn ang="0">
                    <a:pos x="9" y="4"/>
                  </a:cxn>
                  <a:cxn ang="0">
                    <a:pos x="9" y="4"/>
                  </a:cxn>
                  <a:cxn ang="0">
                    <a:pos x="23" y="0"/>
                  </a:cxn>
                  <a:cxn ang="0">
                    <a:pos x="27" y="4"/>
                  </a:cxn>
                  <a:cxn ang="0">
                    <a:pos x="36" y="8"/>
                  </a:cxn>
                  <a:cxn ang="0">
                    <a:pos x="36" y="22"/>
                  </a:cxn>
                  <a:cxn ang="0">
                    <a:pos x="27" y="26"/>
                  </a:cxn>
                  <a:cxn ang="0">
                    <a:pos x="23" y="26"/>
                  </a:cxn>
                  <a:cxn ang="0">
                    <a:pos x="18" y="31"/>
                  </a:cxn>
                  <a:cxn ang="0">
                    <a:pos x="9" y="35"/>
                  </a:cxn>
                </a:cxnLst>
                <a:rect l="0" t="0" r="r" b="b"/>
                <a:pathLst>
                  <a:path w="36" h="35">
                    <a:moveTo>
                      <a:pt x="9" y="35"/>
                    </a:moveTo>
                    <a:lnTo>
                      <a:pt x="0" y="31"/>
                    </a:lnTo>
                    <a:lnTo>
                      <a:pt x="0" y="8"/>
                    </a:lnTo>
                    <a:lnTo>
                      <a:pt x="9" y="4"/>
                    </a:lnTo>
                    <a:lnTo>
                      <a:pt x="9" y="4"/>
                    </a:lnTo>
                    <a:lnTo>
                      <a:pt x="23" y="0"/>
                    </a:lnTo>
                    <a:lnTo>
                      <a:pt x="27" y="4"/>
                    </a:lnTo>
                    <a:lnTo>
                      <a:pt x="36" y="8"/>
                    </a:lnTo>
                    <a:lnTo>
                      <a:pt x="36" y="22"/>
                    </a:lnTo>
                    <a:lnTo>
                      <a:pt x="27" y="26"/>
                    </a:lnTo>
                    <a:lnTo>
                      <a:pt x="23" y="26"/>
                    </a:lnTo>
                    <a:lnTo>
                      <a:pt x="18" y="31"/>
                    </a:lnTo>
                    <a:lnTo>
                      <a:pt x="9" y="35"/>
                    </a:lnTo>
                    <a:close/>
                  </a:path>
                </a:pathLst>
              </a:custGeom>
              <a:grp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62" name="Freeform 227"/>
              <p:cNvSpPr>
                <a:spLocks noEditPoints="1"/>
              </p:cNvSpPr>
              <p:nvPr/>
            </p:nvSpPr>
            <p:spPr bwMode="gray">
              <a:xfrm>
                <a:off x="4709069" y="2418701"/>
                <a:ext cx="692670" cy="989508"/>
              </a:xfrm>
              <a:custGeom>
                <a:avLst/>
                <a:gdLst/>
                <a:ahLst/>
                <a:cxnLst>
                  <a:cxn ang="0">
                    <a:pos x="22" y="71"/>
                  </a:cxn>
                  <a:cxn ang="0">
                    <a:pos x="31" y="53"/>
                  </a:cxn>
                  <a:cxn ang="0">
                    <a:pos x="18" y="80"/>
                  </a:cxn>
                  <a:cxn ang="0">
                    <a:pos x="13" y="165"/>
                  </a:cxn>
                  <a:cxn ang="0">
                    <a:pos x="4" y="156"/>
                  </a:cxn>
                  <a:cxn ang="0">
                    <a:pos x="22" y="143"/>
                  </a:cxn>
                  <a:cxn ang="0">
                    <a:pos x="36" y="156"/>
                  </a:cxn>
                  <a:cxn ang="0">
                    <a:pos x="36" y="89"/>
                  </a:cxn>
                  <a:cxn ang="0">
                    <a:pos x="27" y="80"/>
                  </a:cxn>
                  <a:cxn ang="0">
                    <a:pos x="31" y="93"/>
                  </a:cxn>
                  <a:cxn ang="0">
                    <a:pos x="76" y="49"/>
                  </a:cxn>
                  <a:cxn ang="0">
                    <a:pos x="45" y="62"/>
                  </a:cxn>
                  <a:cxn ang="0">
                    <a:pos x="36" y="98"/>
                  </a:cxn>
                  <a:cxn ang="0">
                    <a:pos x="27" y="107"/>
                  </a:cxn>
                  <a:cxn ang="0">
                    <a:pos x="36" y="111"/>
                  </a:cxn>
                  <a:cxn ang="0">
                    <a:pos x="36" y="120"/>
                  </a:cxn>
                  <a:cxn ang="0">
                    <a:pos x="40" y="138"/>
                  </a:cxn>
                  <a:cxn ang="0">
                    <a:pos x="45" y="125"/>
                  </a:cxn>
                  <a:cxn ang="0">
                    <a:pos x="54" y="143"/>
                  </a:cxn>
                  <a:cxn ang="0">
                    <a:pos x="58" y="156"/>
                  </a:cxn>
                  <a:cxn ang="0">
                    <a:pos x="71" y="151"/>
                  </a:cxn>
                  <a:cxn ang="0">
                    <a:pos x="76" y="174"/>
                  </a:cxn>
                  <a:cxn ang="0">
                    <a:pos x="76" y="183"/>
                  </a:cxn>
                  <a:cxn ang="0">
                    <a:pos x="54" y="187"/>
                  </a:cxn>
                  <a:cxn ang="0">
                    <a:pos x="67" y="196"/>
                  </a:cxn>
                  <a:cxn ang="0">
                    <a:pos x="45" y="223"/>
                  </a:cxn>
                  <a:cxn ang="0">
                    <a:pos x="67" y="232"/>
                  </a:cxn>
                  <a:cxn ang="0">
                    <a:pos x="76" y="236"/>
                  </a:cxn>
                  <a:cxn ang="0">
                    <a:pos x="49" y="254"/>
                  </a:cxn>
                  <a:cxn ang="0">
                    <a:pos x="40" y="268"/>
                  </a:cxn>
                  <a:cxn ang="0">
                    <a:pos x="58" y="259"/>
                  </a:cxn>
                  <a:cxn ang="0">
                    <a:pos x="89" y="254"/>
                  </a:cxn>
                  <a:cxn ang="0">
                    <a:pos x="98" y="254"/>
                  </a:cxn>
                  <a:cxn ang="0">
                    <a:pos x="121" y="250"/>
                  </a:cxn>
                  <a:cxn ang="0">
                    <a:pos x="143" y="232"/>
                  </a:cxn>
                  <a:cxn ang="0">
                    <a:pos x="143" y="223"/>
                  </a:cxn>
                  <a:cxn ang="0">
                    <a:pos x="129" y="201"/>
                  </a:cxn>
                  <a:cxn ang="0">
                    <a:pos x="121" y="183"/>
                  </a:cxn>
                  <a:cxn ang="0">
                    <a:pos x="103" y="151"/>
                  </a:cxn>
                  <a:cxn ang="0">
                    <a:pos x="85" y="125"/>
                  </a:cxn>
                  <a:cxn ang="0">
                    <a:pos x="89" y="111"/>
                  </a:cxn>
                  <a:cxn ang="0">
                    <a:pos x="98" y="80"/>
                  </a:cxn>
                  <a:cxn ang="0">
                    <a:pos x="62" y="80"/>
                  </a:cxn>
                  <a:cxn ang="0">
                    <a:pos x="67" y="71"/>
                  </a:cxn>
                  <a:cxn ang="0">
                    <a:pos x="76" y="44"/>
                  </a:cxn>
                  <a:cxn ang="0">
                    <a:pos x="76" y="40"/>
                  </a:cxn>
                  <a:cxn ang="0">
                    <a:pos x="107" y="13"/>
                  </a:cxn>
                  <a:cxn ang="0">
                    <a:pos x="103" y="17"/>
                  </a:cxn>
                </a:cxnLst>
                <a:rect l="0" t="0" r="r" b="b"/>
                <a:pathLst>
                  <a:path w="147" h="272">
                    <a:moveTo>
                      <a:pt x="13" y="98"/>
                    </a:moveTo>
                    <a:lnTo>
                      <a:pt x="18" y="93"/>
                    </a:lnTo>
                    <a:lnTo>
                      <a:pt x="22" y="76"/>
                    </a:lnTo>
                    <a:lnTo>
                      <a:pt x="22" y="71"/>
                    </a:lnTo>
                    <a:lnTo>
                      <a:pt x="27" y="67"/>
                    </a:lnTo>
                    <a:lnTo>
                      <a:pt x="27" y="67"/>
                    </a:lnTo>
                    <a:lnTo>
                      <a:pt x="31" y="58"/>
                    </a:lnTo>
                    <a:lnTo>
                      <a:pt x="31" y="53"/>
                    </a:lnTo>
                    <a:lnTo>
                      <a:pt x="22" y="58"/>
                    </a:lnTo>
                    <a:lnTo>
                      <a:pt x="18" y="76"/>
                    </a:lnTo>
                    <a:lnTo>
                      <a:pt x="13" y="76"/>
                    </a:lnTo>
                    <a:lnTo>
                      <a:pt x="18" y="80"/>
                    </a:lnTo>
                    <a:lnTo>
                      <a:pt x="13" y="98"/>
                    </a:lnTo>
                    <a:close/>
                    <a:moveTo>
                      <a:pt x="27" y="169"/>
                    </a:moveTo>
                    <a:lnTo>
                      <a:pt x="22" y="169"/>
                    </a:lnTo>
                    <a:lnTo>
                      <a:pt x="13" y="165"/>
                    </a:lnTo>
                    <a:lnTo>
                      <a:pt x="13" y="174"/>
                    </a:lnTo>
                    <a:lnTo>
                      <a:pt x="0" y="169"/>
                    </a:lnTo>
                    <a:lnTo>
                      <a:pt x="0" y="165"/>
                    </a:lnTo>
                    <a:lnTo>
                      <a:pt x="4" y="156"/>
                    </a:lnTo>
                    <a:lnTo>
                      <a:pt x="9" y="156"/>
                    </a:lnTo>
                    <a:lnTo>
                      <a:pt x="13" y="151"/>
                    </a:lnTo>
                    <a:lnTo>
                      <a:pt x="18" y="143"/>
                    </a:lnTo>
                    <a:lnTo>
                      <a:pt x="22" y="143"/>
                    </a:lnTo>
                    <a:lnTo>
                      <a:pt x="31" y="143"/>
                    </a:lnTo>
                    <a:lnTo>
                      <a:pt x="36" y="151"/>
                    </a:lnTo>
                    <a:lnTo>
                      <a:pt x="31" y="156"/>
                    </a:lnTo>
                    <a:lnTo>
                      <a:pt x="36" y="156"/>
                    </a:lnTo>
                    <a:lnTo>
                      <a:pt x="40" y="160"/>
                    </a:lnTo>
                    <a:lnTo>
                      <a:pt x="36" y="165"/>
                    </a:lnTo>
                    <a:lnTo>
                      <a:pt x="27" y="169"/>
                    </a:lnTo>
                    <a:close/>
                    <a:moveTo>
                      <a:pt x="36" y="89"/>
                    </a:moveTo>
                    <a:lnTo>
                      <a:pt x="31" y="84"/>
                    </a:lnTo>
                    <a:lnTo>
                      <a:pt x="31" y="80"/>
                    </a:lnTo>
                    <a:lnTo>
                      <a:pt x="27" y="76"/>
                    </a:lnTo>
                    <a:lnTo>
                      <a:pt x="27" y="80"/>
                    </a:lnTo>
                    <a:lnTo>
                      <a:pt x="22" y="89"/>
                    </a:lnTo>
                    <a:lnTo>
                      <a:pt x="27" y="89"/>
                    </a:lnTo>
                    <a:lnTo>
                      <a:pt x="27" y="93"/>
                    </a:lnTo>
                    <a:lnTo>
                      <a:pt x="31" y="93"/>
                    </a:lnTo>
                    <a:lnTo>
                      <a:pt x="36" y="89"/>
                    </a:lnTo>
                    <a:close/>
                    <a:moveTo>
                      <a:pt x="62" y="71"/>
                    </a:moveTo>
                    <a:lnTo>
                      <a:pt x="76" y="58"/>
                    </a:lnTo>
                    <a:lnTo>
                      <a:pt x="76" y="49"/>
                    </a:lnTo>
                    <a:lnTo>
                      <a:pt x="58" y="53"/>
                    </a:lnTo>
                    <a:lnTo>
                      <a:pt x="49" y="49"/>
                    </a:lnTo>
                    <a:lnTo>
                      <a:pt x="45" y="62"/>
                    </a:lnTo>
                    <a:lnTo>
                      <a:pt x="45" y="62"/>
                    </a:lnTo>
                    <a:lnTo>
                      <a:pt x="40" y="67"/>
                    </a:lnTo>
                    <a:lnTo>
                      <a:pt x="36" y="71"/>
                    </a:lnTo>
                    <a:lnTo>
                      <a:pt x="36" y="84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6" y="107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31" y="111"/>
                    </a:lnTo>
                    <a:lnTo>
                      <a:pt x="27" y="111"/>
                    </a:lnTo>
                    <a:lnTo>
                      <a:pt x="27" y="116"/>
                    </a:lnTo>
                    <a:lnTo>
                      <a:pt x="36" y="111"/>
                    </a:lnTo>
                    <a:lnTo>
                      <a:pt x="45" y="102"/>
                    </a:lnTo>
                    <a:lnTo>
                      <a:pt x="49" y="102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31" y="125"/>
                    </a:lnTo>
                    <a:lnTo>
                      <a:pt x="36" y="125"/>
                    </a:lnTo>
                    <a:lnTo>
                      <a:pt x="40" y="134"/>
                    </a:lnTo>
                    <a:lnTo>
                      <a:pt x="40" y="138"/>
                    </a:lnTo>
                    <a:lnTo>
                      <a:pt x="45" y="138"/>
                    </a:lnTo>
                    <a:lnTo>
                      <a:pt x="45" y="134"/>
                    </a:lnTo>
                    <a:lnTo>
                      <a:pt x="49" y="134"/>
                    </a:lnTo>
                    <a:lnTo>
                      <a:pt x="45" y="125"/>
                    </a:lnTo>
                    <a:lnTo>
                      <a:pt x="49" y="125"/>
                    </a:lnTo>
                    <a:lnTo>
                      <a:pt x="49" y="134"/>
                    </a:lnTo>
                    <a:lnTo>
                      <a:pt x="54" y="134"/>
                    </a:lnTo>
                    <a:lnTo>
                      <a:pt x="54" y="143"/>
                    </a:lnTo>
                    <a:lnTo>
                      <a:pt x="49" y="151"/>
                    </a:lnTo>
                    <a:lnTo>
                      <a:pt x="54" y="160"/>
                    </a:lnTo>
                    <a:lnTo>
                      <a:pt x="54" y="156"/>
                    </a:lnTo>
                    <a:lnTo>
                      <a:pt x="58" y="156"/>
                    </a:lnTo>
                    <a:lnTo>
                      <a:pt x="62" y="156"/>
                    </a:lnTo>
                    <a:lnTo>
                      <a:pt x="58" y="151"/>
                    </a:lnTo>
                    <a:lnTo>
                      <a:pt x="67" y="156"/>
                    </a:lnTo>
                    <a:lnTo>
                      <a:pt x="71" y="151"/>
                    </a:lnTo>
                    <a:lnTo>
                      <a:pt x="80" y="151"/>
                    </a:lnTo>
                    <a:lnTo>
                      <a:pt x="76" y="156"/>
                    </a:lnTo>
                    <a:lnTo>
                      <a:pt x="71" y="160"/>
                    </a:lnTo>
                    <a:lnTo>
                      <a:pt x="76" y="174"/>
                    </a:lnTo>
                    <a:lnTo>
                      <a:pt x="80" y="169"/>
                    </a:lnTo>
                    <a:lnTo>
                      <a:pt x="85" y="169"/>
                    </a:lnTo>
                    <a:lnTo>
                      <a:pt x="76" y="174"/>
                    </a:lnTo>
                    <a:lnTo>
                      <a:pt x="76" y="183"/>
                    </a:lnTo>
                    <a:lnTo>
                      <a:pt x="80" y="187"/>
                    </a:lnTo>
                    <a:lnTo>
                      <a:pt x="62" y="187"/>
                    </a:lnTo>
                    <a:lnTo>
                      <a:pt x="58" y="187"/>
                    </a:lnTo>
                    <a:lnTo>
                      <a:pt x="54" y="187"/>
                    </a:lnTo>
                    <a:lnTo>
                      <a:pt x="58" y="192"/>
                    </a:lnTo>
                    <a:lnTo>
                      <a:pt x="54" y="201"/>
                    </a:lnTo>
                    <a:lnTo>
                      <a:pt x="62" y="196"/>
                    </a:lnTo>
                    <a:lnTo>
                      <a:pt x="67" y="196"/>
                    </a:lnTo>
                    <a:lnTo>
                      <a:pt x="67" y="205"/>
                    </a:lnTo>
                    <a:lnTo>
                      <a:pt x="67" y="210"/>
                    </a:lnTo>
                    <a:lnTo>
                      <a:pt x="62" y="219"/>
                    </a:lnTo>
                    <a:lnTo>
                      <a:pt x="45" y="223"/>
                    </a:lnTo>
                    <a:lnTo>
                      <a:pt x="49" y="232"/>
                    </a:lnTo>
                    <a:lnTo>
                      <a:pt x="58" y="223"/>
                    </a:lnTo>
                    <a:lnTo>
                      <a:pt x="62" y="232"/>
                    </a:lnTo>
                    <a:lnTo>
                      <a:pt x="67" y="232"/>
                    </a:lnTo>
                    <a:lnTo>
                      <a:pt x="71" y="232"/>
                    </a:lnTo>
                    <a:lnTo>
                      <a:pt x="76" y="227"/>
                    </a:lnTo>
                    <a:lnTo>
                      <a:pt x="80" y="227"/>
                    </a:lnTo>
                    <a:lnTo>
                      <a:pt x="76" y="236"/>
                    </a:lnTo>
                    <a:lnTo>
                      <a:pt x="62" y="241"/>
                    </a:lnTo>
                    <a:lnTo>
                      <a:pt x="58" y="245"/>
                    </a:lnTo>
                    <a:lnTo>
                      <a:pt x="54" y="250"/>
                    </a:lnTo>
                    <a:lnTo>
                      <a:pt x="49" y="254"/>
                    </a:lnTo>
                    <a:lnTo>
                      <a:pt x="45" y="259"/>
                    </a:lnTo>
                    <a:lnTo>
                      <a:pt x="40" y="263"/>
                    </a:lnTo>
                    <a:lnTo>
                      <a:pt x="36" y="268"/>
                    </a:lnTo>
                    <a:lnTo>
                      <a:pt x="40" y="268"/>
                    </a:lnTo>
                    <a:lnTo>
                      <a:pt x="45" y="268"/>
                    </a:lnTo>
                    <a:lnTo>
                      <a:pt x="45" y="272"/>
                    </a:lnTo>
                    <a:lnTo>
                      <a:pt x="49" y="263"/>
                    </a:lnTo>
                    <a:lnTo>
                      <a:pt x="58" y="259"/>
                    </a:lnTo>
                    <a:lnTo>
                      <a:pt x="71" y="263"/>
                    </a:lnTo>
                    <a:lnTo>
                      <a:pt x="71" y="254"/>
                    </a:lnTo>
                    <a:lnTo>
                      <a:pt x="85" y="250"/>
                    </a:lnTo>
                    <a:lnTo>
                      <a:pt x="89" y="254"/>
                    </a:lnTo>
                    <a:lnTo>
                      <a:pt x="89" y="259"/>
                    </a:lnTo>
                    <a:lnTo>
                      <a:pt x="94" y="254"/>
                    </a:lnTo>
                    <a:lnTo>
                      <a:pt x="98" y="254"/>
                    </a:lnTo>
                    <a:lnTo>
                      <a:pt x="98" y="254"/>
                    </a:lnTo>
                    <a:lnTo>
                      <a:pt x="103" y="254"/>
                    </a:lnTo>
                    <a:lnTo>
                      <a:pt x="103" y="250"/>
                    </a:lnTo>
                    <a:lnTo>
                      <a:pt x="112" y="254"/>
                    </a:lnTo>
                    <a:lnTo>
                      <a:pt x="121" y="250"/>
                    </a:lnTo>
                    <a:lnTo>
                      <a:pt x="125" y="250"/>
                    </a:lnTo>
                    <a:lnTo>
                      <a:pt x="138" y="250"/>
                    </a:lnTo>
                    <a:lnTo>
                      <a:pt x="143" y="241"/>
                    </a:lnTo>
                    <a:lnTo>
                      <a:pt x="143" y="232"/>
                    </a:lnTo>
                    <a:lnTo>
                      <a:pt x="134" y="232"/>
                    </a:lnTo>
                    <a:lnTo>
                      <a:pt x="129" y="232"/>
                    </a:lnTo>
                    <a:lnTo>
                      <a:pt x="138" y="223"/>
                    </a:lnTo>
                    <a:lnTo>
                      <a:pt x="143" y="223"/>
                    </a:lnTo>
                    <a:lnTo>
                      <a:pt x="147" y="214"/>
                    </a:lnTo>
                    <a:lnTo>
                      <a:pt x="147" y="205"/>
                    </a:lnTo>
                    <a:lnTo>
                      <a:pt x="143" y="201"/>
                    </a:lnTo>
                    <a:lnTo>
                      <a:pt x="129" y="201"/>
                    </a:lnTo>
                    <a:lnTo>
                      <a:pt x="125" y="205"/>
                    </a:lnTo>
                    <a:lnTo>
                      <a:pt x="121" y="201"/>
                    </a:lnTo>
                    <a:lnTo>
                      <a:pt x="125" y="192"/>
                    </a:lnTo>
                    <a:lnTo>
                      <a:pt x="121" y="183"/>
                    </a:lnTo>
                    <a:lnTo>
                      <a:pt x="121" y="178"/>
                    </a:lnTo>
                    <a:lnTo>
                      <a:pt x="112" y="160"/>
                    </a:lnTo>
                    <a:lnTo>
                      <a:pt x="107" y="160"/>
                    </a:lnTo>
                    <a:lnTo>
                      <a:pt x="103" y="151"/>
                    </a:lnTo>
                    <a:lnTo>
                      <a:pt x="103" y="147"/>
                    </a:lnTo>
                    <a:lnTo>
                      <a:pt x="98" y="134"/>
                    </a:lnTo>
                    <a:lnTo>
                      <a:pt x="94" y="129"/>
                    </a:lnTo>
                    <a:lnTo>
                      <a:pt x="85" y="125"/>
                    </a:lnTo>
                    <a:lnTo>
                      <a:pt x="76" y="125"/>
                    </a:lnTo>
                    <a:lnTo>
                      <a:pt x="80" y="116"/>
                    </a:lnTo>
                    <a:lnTo>
                      <a:pt x="85" y="120"/>
                    </a:lnTo>
                    <a:lnTo>
                      <a:pt x="89" y="111"/>
                    </a:lnTo>
                    <a:lnTo>
                      <a:pt x="85" y="116"/>
                    </a:lnTo>
                    <a:lnTo>
                      <a:pt x="85" y="107"/>
                    </a:lnTo>
                    <a:lnTo>
                      <a:pt x="85" y="98"/>
                    </a:lnTo>
                    <a:lnTo>
                      <a:pt x="98" y="80"/>
                    </a:lnTo>
                    <a:lnTo>
                      <a:pt x="98" y="76"/>
                    </a:lnTo>
                    <a:lnTo>
                      <a:pt x="89" y="80"/>
                    </a:lnTo>
                    <a:lnTo>
                      <a:pt x="71" y="76"/>
                    </a:lnTo>
                    <a:lnTo>
                      <a:pt x="62" y="80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62" y="76"/>
                    </a:lnTo>
                    <a:lnTo>
                      <a:pt x="67" y="71"/>
                    </a:lnTo>
                    <a:lnTo>
                      <a:pt x="62" y="71"/>
                    </a:lnTo>
                    <a:close/>
                    <a:moveTo>
                      <a:pt x="71" y="35"/>
                    </a:moveTo>
                    <a:lnTo>
                      <a:pt x="71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80" y="31"/>
                    </a:lnTo>
                    <a:lnTo>
                      <a:pt x="71" y="35"/>
                    </a:lnTo>
                    <a:close/>
                    <a:moveTo>
                      <a:pt x="103" y="17"/>
                    </a:moveTo>
                    <a:lnTo>
                      <a:pt x="107" y="13"/>
                    </a:lnTo>
                    <a:lnTo>
                      <a:pt x="103" y="0"/>
                    </a:lnTo>
                    <a:lnTo>
                      <a:pt x="98" y="8"/>
                    </a:lnTo>
                    <a:lnTo>
                      <a:pt x="103" y="8"/>
                    </a:lnTo>
                    <a:lnTo>
                      <a:pt x="103" y="1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63" name="Freeform 228"/>
              <p:cNvSpPr>
                <a:spLocks/>
              </p:cNvSpPr>
              <p:nvPr/>
            </p:nvSpPr>
            <p:spPr bwMode="gray">
              <a:xfrm>
                <a:off x="6519952" y="3706385"/>
                <a:ext cx="313721" cy="305389"/>
              </a:xfrm>
              <a:custGeom>
                <a:avLst/>
                <a:gdLst/>
                <a:ahLst/>
                <a:cxnLst>
                  <a:cxn ang="0">
                    <a:pos x="0" y="67"/>
                  </a:cxn>
                  <a:cxn ang="0">
                    <a:pos x="0" y="67"/>
                  </a:cxn>
                  <a:cxn ang="0">
                    <a:pos x="0" y="67"/>
                  </a:cxn>
                  <a:cxn ang="0">
                    <a:pos x="0" y="62"/>
                  </a:cxn>
                  <a:cxn ang="0">
                    <a:pos x="0" y="62"/>
                  </a:cxn>
                  <a:cxn ang="0">
                    <a:pos x="0" y="58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53"/>
                  </a:cxn>
                  <a:cxn ang="0">
                    <a:pos x="5" y="49"/>
                  </a:cxn>
                  <a:cxn ang="0">
                    <a:pos x="9" y="49"/>
                  </a:cxn>
                  <a:cxn ang="0">
                    <a:pos x="13" y="44"/>
                  </a:cxn>
                  <a:cxn ang="0">
                    <a:pos x="9" y="40"/>
                  </a:cxn>
                  <a:cxn ang="0">
                    <a:pos x="13" y="40"/>
                  </a:cxn>
                  <a:cxn ang="0">
                    <a:pos x="13" y="40"/>
                  </a:cxn>
                  <a:cxn ang="0">
                    <a:pos x="5" y="35"/>
                  </a:cxn>
                  <a:cxn ang="0">
                    <a:pos x="5" y="31"/>
                  </a:cxn>
                  <a:cxn ang="0">
                    <a:pos x="9" y="26"/>
                  </a:cxn>
                  <a:cxn ang="0">
                    <a:pos x="9" y="22"/>
                  </a:cxn>
                  <a:cxn ang="0">
                    <a:pos x="5" y="22"/>
                  </a:cxn>
                  <a:cxn ang="0">
                    <a:pos x="5" y="17"/>
                  </a:cxn>
                  <a:cxn ang="0">
                    <a:pos x="9" y="17"/>
                  </a:cxn>
                  <a:cxn ang="0">
                    <a:pos x="9" y="13"/>
                  </a:cxn>
                  <a:cxn ang="0">
                    <a:pos x="5" y="13"/>
                  </a:cxn>
                  <a:cxn ang="0">
                    <a:pos x="5" y="13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5" y="4"/>
                  </a:cxn>
                  <a:cxn ang="0">
                    <a:pos x="0" y="4"/>
                  </a:cxn>
                  <a:cxn ang="0">
                    <a:pos x="13" y="0"/>
                  </a:cxn>
                  <a:cxn ang="0">
                    <a:pos x="27" y="0"/>
                  </a:cxn>
                  <a:cxn ang="0">
                    <a:pos x="31" y="9"/>
                  </a:cxn>
                  <a:cxn ang="0">
                    <a:pos x="31" y="17"/>
                  </a:cxn>
                  <a:cxn ang="0">
                    <a:pos x="40" y="26"/>
                  </a:cxn>
                  <a:cxn ang="0">
                    <a:pos x="49" y="31"/>
                  </a:cxn>
                  <a:cxn ang="0">
                    <a:pos x="54" y="31"/>
                  </a:cxn>
                  <a:cxn ang="0">
                    <a:pos x="54" y="35"/>
                  </a:cxn>
                  <a:cxn ang="0">
                    <a:pos x="58" y="35"/>
                  </a:cxn>
                  <a:cxn ang="0">
                    <a:pos x="54" y="53"/>
                  </a:cxn>
                  <a:cxn ang="0">
                    <a:pos x="67" y="62"/>
                  </a:cxn>
                  <a:cxn ang="0">
                    <a:pos x="67" y="67"/>
                  </a:cxn>
                  <a:cxn ang="0">
                    <a:pos x="58" y="71"/>
                  </a:cxn>
                  <a:cxn ang="0">
                    <a:pos x="58" y="80"/>
                  </a:cxn>
                  <a:cxn ang="0">
                    <a:pos x="54" y="76"/>
                  </a:cxn>
                  <a:cxn ang="0">
                    <a:pos x="40" y="80"/>
                  </a:cxn>
                  <a:cxn ang="0">
                    <a:pos x="40" y="80"/>
                  </a:cxn>
                  <a:cxn ang="0">
                    <a:pos x="31" y="84"/>
                  </a:cxn>
                  <a:cxn ang="0">
                    <a:pos x="27" y="84"/>
                  </a:cxn>
                  <a:cxn ang="0">
                    <a:pos x="27" y="76"/>
                  </a:cxn>
                  <a:cxn ang="0">
                    <a:pos x="18" y="71"/>
                  </a:cxn>
                  <a:cxn ang="0">
                    <a:pos x="13" y="84"/>
                  </a:cxn>
                  <a:cxn ang="0">
                    <a:pos x="9" y="84"/>
                  </a:cxn>
                  <a:cxn ang="0">
                    <a:pos x="0" y="71"/>
                  </a:cxn>
                  <a:cxn ang="0">
                    <a:pos x="0" y="71"/>
                  </a:cxn>
                  <a:cxn ang="0">
                    <a:pos x="0" y="67"/>
                  </a:cxn>
                </a:cxnLst>
                <a:rect l="0" t="0" r="r" b="b"/>
                <a:pathLst>
                  <a:path w="67" h="84">
                    <a:moveTo>
                      <a:pt x="0" y="67"/>
                    </a:moveTo>
                    <a:lnTo>
                      <a:pt x="0" y="67"/>
                    </a:lnTo>
                    <a:lnTo>
                      <a:pt x="0" y="67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53"/>
                    </a:lnTo>
                    <a:lnTo>
                      <a:pt x="5" y="49"/>
                    </a:lnTo>
                    <a:lnTo>
                      <a:pt x="9" y="49"/>
                    </a:lnTo>
                    <a:lnTo>
                      <a:pt x="13" y="44"/>
                    </a:lnTo>
                    <a:lnTo>
                      <a:pt x="9" y="40"/>
                    </a:lnTo>
                    <a:lnTo>
                      <a:pt x="13" y="40"/>
                    </a:lnTo>
                    <a:lnTo>
                      <a:pt x="13" y="40"/>
                    </a:lnTo>
                    <a:lnTo>
                      <a:pt x="5" y="35"/>
                    </a:lnTo>
                    <a:lnTo>
                      <a:pt x="5" y="31"/>
                    </a:lnTo>
                    <a:lnTo>
                      <a:pt x="9" y="26"/>
                    </a:lnTo>
                    <a:lnTo>
                      <a:pt x="9" y="22"/>
                    </a:lnTo>
                    <a:lnTo>
                      <a:pt x="5" y="22"/>
                    </a:lnTo>
                    <a:lnTo>
                      <a:pt x="5" y="17"/>
                    </a:lnTo>
                    <a:lnTo>
                      <a:pt x="9" y="17"/>
                    </a:lnTo>
                    <a:lnTo>
                      <a:pt x="9" y="13"/>
                    </a:lnTo>
                    <a:lnTo>
                      <a:pt x="5" y="13"/>
                    </a:lnTo>
                    <a:lnTo>
                      <a:pt x="5" y="13"/>
                    </a:lnTo>
                    <a:lnTo>
                      <a:pt x="5" y="9"/>
                    </a:lnTo>
                    <a:lnTo>
                      <a:pt x="5" y="9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13" y="0"/>
                    </a:lnTo>
                    <a:lnTo>
                      <a:pt x="27" y="0"/>
                    </a:lnTo>
                    <a:lnTo>
                      <a:pt x="31" y="9"/>
                    </a:lnTo>
                    <a:lnTo>
                      <a:pt x="31" y="17"/>
                    </a:lnTo>
                    <a:lnTo>
                      <a:pt x="40" y="26"/>
                    </a:lnTo>
                    <a:lnTo>
                      <a:pt x="49" y="31"/>
                    </a:lnTo>
                    <a:lnTo>
                      <a:pt x="54" y="31"/>
                    </a:lnTo>
                    <a:lnTo>
                      <a:pt x="54" y="35"/>
                    </a:lnTo>
                    <a:lnTo>
                      <a:pt x="58" y="35"/>
                    </a:lnTo>
                    <a:lnTo>
                      <a:pt x="54" y="53"/>
                    </a:lnTo>
                    <a:lnTo>
                      <a:pt x="67" y="62"/>
                    </a:lnTo>
                    <a:lnTo>
                      <a:pt x="67" y="67"/>
                    </a:lnTo>
                    <a:lnTo>
                      <a:pt x="58" y="71"/>
                    </a:lnTo>
                    <a:lnTo>
                      <a:pt x="58" y="80"/>
                    </a:lnTo>
                    <a:lnTo>
                      <a:pt x="54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31" y="84"/>
                    </a:lnTo>
                    <a:lnTo>
                      <a:pt x="27" y="84"/>
                    </a:lnTo>
                    <a:lnTo>
                      <a:pt x="27" y="76"/>
                    </a:lnTo>
                    <a:lnTo>
                      <a:pt x="18" y="71"/>
                    </a:lnTo>
                    <a:lnTo>
                      <a:pt x="13" y="84"/>
                    </a:lnTo>
                    <a:lnTo>
                      <a:pt x="9" y="8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67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  <p:sp>
            <p:nvSpPr>
              <p:cNvPr id="264" name="Freeform 229"/>
              <p:cNvSpPr>
                <a:spLocks/>
              </p:cNvSpPr>
              <p:nvPr/>
            </p:nvSpPr>
            <p:spPr bwMode="gray">
              <a:xfrm>
                <a:off x="6519952" y="3964883"/>
                <a:ext cx="60570" cy="4689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9" y="13"/>
                  </a:cxn>
                  <a:cxn ang="0">
                    <a:pos x="13" y="13"/>
                  </a:cxn>
                </a:cxnLst>
                <a:rect l="0" t="0" r="r" b="b"/>
                <a:pathLst>
                  <a:path w="13" h="13">
                    <a:moveTo>
                      <a:pt x="0" y="0"/>
                    </a:moveTo>
                    <a:lnTo>
                      <a:pt x="0" y="0"/>
                    </a:lnTo>
                    <a:lnTo>
                      <a:pt x="9" y="13"/>
                    </a:lnTo>
                    <a:lnTo>
                      <a:pt x="13" y="13"/>
                    </a:lnTo>
                  </a:path>
                </a:pathLst>
              </a:custGeom>
              <a:grpFill/>
              <a:ln w="3175" cmpd="sng">
                <a:solidFill>
                  <a:schemeClr val="tx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65" name="Freeform 230"/>
              <p:cNvSpPr>
                <a:spLocks noEditPoints="1"/>
              </p:cNvSpPr>
              <p:nvPr/>
            </p:nvSpPr>
            <p:spPr bwMode="gray">
              <a:xfrm>
                <a:off x="4120455" y="3883125"/>
                <a:ext cx="1495609" cy="1058041"/>
              </a:xfrm>
              <a:custGeom>
                <a:avLst/>
                <a:gdLst/>
                <a:ahLst/>
                <a:cxnLst>
                  <a:cxn ang="0">
                    <a:pos x="4" y="290"/>
                  </a:cxn>
                  <a:cxn ang="0">
                    <a:pos x="13" y="277"/>
                  </a:cxn>
                  <a:cxn ang="0">
                    <a:pos x="22" y="286"/>
                  </a:cxn>
                  <a:cxn ang="0">
                    <a:pos x="27" y="290"/>
                  </a:cxn>
                  <a:cxn ang="0">
                    <a:pos x="27" y="286"/>
                  </a:cxn>
                  <a:cxn ang="0">
                    <a:pos x="143" y="125"/>
                  </a:cxn>
                  <a:cxn ang="0">
                    <a:pos x="156" y="138"/>
                  </a:cxn>
                  <a:cxn ang="0">
                    <a:pos x="170" y="147"/>
                  </a:cxn>
                  <a:cxn ang="0">
                    <a:pos x="179" y="143"/>
                  </a:cxn>
                  <a:cxn ang="0">
                    <a:pos x="196" y="138"/>
                  </a:cxn>
                  <a:cxn ang="0">
                    <a:pos x="205" y="138"/>
                  </a:cxn>
                  <a:cxn ang="0">
                    <a:pos x="219" y="134"/>
                  </a:cxn>
                  <a:cxn ang="0">
                    <a:pos x="228" y="125"/>
                  </a:cxn>
                  <a:cxn ang="0">
                    <a:pos x="241" y="111"/>
                  </a:cxn>
                  <a:cxn ang="0">
                    <a:pos x="250" y="98"/>
                  </a:cxn>
                  <a:cxn ang="0">
                    <a:pos x="241" y="89"/>
                  </a:cxn>
                  <a:cxn ang="0">
                    <a:pos x="263" y="53"/>
                  </a:cxn>
                  <a:cxn ang="0">
                    <a:pos x="295" y="35"/>
                  </a:cxn>
                  <a:cxn ang="0">
                    <a:pos x="295" y="31"/>
                  </a:cxn>
                  <a:cxn ang="0">
                    <a:pos x="295" y="27"/>
                  </a:cxn>
                  <a:cxn ang="0">
                    <a:pos x="277" y="27"/>
                  </a:cxn>
                  <a:cxn ang="0">
                    <a:pos x="259" y="22"/>
                  </a:cxn>
                  <a:cxn ang="0">
                    <a:pos x="241" y="22"/>
                  </a:cxn>
                  <a:cxn ang="0">
                    <a:pos x="223" y="4"/>
                  </a:cxn>
                  <a:cxn ang="0">
                    <a:pos x="214" y="4"/>
                  </a:cxn>
                  <a:cxn ang="0">
                    <a:pos x="201" y="4"/>
                  </a:cxn>
                  <a:cxn ang="0">
                    <a:pos x="179" y="4"/>
                  </a:cxn>
                  <a:cxn ang="0">
                    <a:pos x="170" y="0"/>
                  </a:cxn>
                  <a:cxn ang="0">
                    <a:pos x="152" y="4"/>
                  </a:cxn>
                  <a:cxn ang="0">
                    <a:pos x="143" y="0"/>
                  </a:cxn>
                  <a:cxn ang="0">
                    <a:pos x="125" y="0"/>
                  </a:cxn>
                  <a:cxn ang="0">
                    <a:pos x="116" y="4"/>
                  </a:cxn>
                  <a:cxn ang="0">
                    <a:pos x="112" y="18"/>
                  </a:cxn>
                  <a:cxn ang="0">
                    <a:pos x="116" y="22"/>
                  </a:cxn>
                  <a:cxn ang="0">
                    <a:pos x="116" y="31"/>
                  </a:cxn>
                  <a:cxn ang="0">
                    <a:pos x="129" y="31"/>
                  </a:cxn>
                  <a:cxn ang="0">
                    <a:pos x="152" y="40"/>
                  </a:cxn>
                  <a:cxn ang="0">
                    <a:pos x="152" y="53"/>
                  </a:cxn>
                  <a:cxn ang="0">
                    <a:pos x="147" y="71"/>
                  </a:cxn>
                  <a:cxn ang="0">
                    <a:pos x="138" y="85"/>
                  </a:cxn>
                  <a:cxn ang="0">
                    <a:pos x="143" y="107"/>
                  </a:cxn>
                  <a:cxn ang="0">
                    <a:pos x="143" y="116"/>
                  </a:cxn>
                  <a:cxn ang="0">
                    <a:pos x="268" y="94"/>
                  </a:cxn>
                  <a:cxn ang="0">
                    <a:pos x="268" y="103"/>
                  </a:cxn>
                  <a:cxn ang="0">
                    <a:pos x="272" y="103"/>
                  </a:cxn>
                  <a:cxn ang="0">
                    <a:pos x="272" y="94"/>
                  </a:cxn>
                  <a:cxn ang="0">
                    <a:pos x="286" y="85"/>
                  </a:cxn>
                  <a:cxn ang="0">
                    <a:pos x="290" y="89"/>
                  </a:cxn>
                  <a:cxn ang="0">
                    <a:pos x="304" y="85"/>
                  </a:cxn>
                  <a:cxn ang="0">
                    <a:pos x="299" y="76"/>
                  </a:cxn>
                  <a:cxn ang="0">
                    <a:pos x="290" y="80"/>
                  </a:cxn>
                  <a:cxn ang="0">
                    <a:pos x="308" y="71"/>
                  </a:cxn>
                  <a:cxn ang="0">
                    <a:pos x="317" y="80"/>
                  </a:cxn>
                  <a:cxn ang="0">
                    <a:pos x="308" y="71"/>
                  </a:cxn>
                </a:cxnLst>
                <a:rect l="0" t="0" r="r" b="b"/>
                <a:pathLst>
                  <a:path w="317" h="290">
                    <a:moveTo>
                      <a:pt x="0" y="281"/>
                    </a:moveTo>
                    <a:lnTo>
                      <a:pt x="4" y="290"/>
                    </a:lnTo>
                    <a:lnTo>
                      <a:pt x="13" y="286"/>
                    </a:lnTo>
                    <a:lnTo>
                      <a:pt x="13" y="277"/>
                    </a:lnTo>
                    <a:lnTo>
                      <a:pt x="0" y="281"/>
                    </a:lnTo>
                    <a:close/>
                    <a:moveTo>
                      <a:pt x="22" y="286"/>
                    </a:moveTo>
                    <a:lnTo>
                      <a:pt x="18" y="290"/>
                    </a:lnTo>
                    <a:lnTo>
                      <a:pt x="27" y="290"/>
                    </a:lnTo>
                    <a:lnTo>
                      <a:pt x="27" y="286"/>
                    </a:lnTo>
                    <a:lnTo>
                      <a:pt x="27" y="286"/>
                    </a:lnTo>
                    <a:lnTo>
                      <a:pt x="22" y="286"/>
                    </a:lnTo>
                    <a:close/>
                    <a:moveTo>
                      <a:pt x="143" y="125"/>
                    </a:move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3"/>
                    </a:lnTo>
                    <a:lnTo>
                      <a:pt x="170" y="147"/>
                    </a:lnTo>
                    <a:lnTo>
                      <a:pt x="174" y="138"/>
                    </a:lnTo>
                    <a:lnTo>
                      <a:pt x="179" y="143"/>
                    </a:lnTo>
                    <a:lnTo>
                      <a:pt x="187" y="134"/>
                    </a:lnTo>
                    <a:lnTo>
                      <a:pt x="196" y="138"/>
                    </a:lnTo>
                    <a:lnTo>
                      <a:pt x="205" y="134"/>
                    </a:lnTo>
                    <a:lnTo>
                      <a:pt x="205" y="138"/>
                    </a:lnTo>
                    <a:lnTo>
                      <a:pt x="214" y="134"/>
                    </a:lnTo>
                    <a:lnTo>
                      <a:pt x="219" y="134"/>
                    </a:lnTo>
                    <a:lnTo>
                      <a:pt x="223" y="129"/>
                    </a:lnTo>
                    <a:lnTo>
                      <a:pt x="228" y="125"/>
                    </a:lnTo>
                    <a:lnTo>
                      <a:pt x="237" y="125"/>
                    </a:lnTo>
                    <a:lnTo>
                      <a:pt x="241" y="111"/>
                    </a:lnTo>
                    <a:lnTo>
                      <a:pt x="246" y="103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1" y="89"/>
                    </a:lnTo>
                    <a:lnTo>
                      <a:pt x="241" y="85"/>
                    </a:lnTo>
                    <a:lnTo>
                      <a:pt x="263" y="53"/>
                    </a:lnTo>
                    <a:lnTo>
                      <a:pt x="281" y="49"/>
                    </a:lnTo>
                    <a:lnTo>
                      <a:pt x="295" y="35"/>
                    </a:lnTo>
                    <a:lnTo>
                      <a:pt x="295" y="31"/>
                    </a:lnTo>
                    <a:lnTo>
                      <a:pt x="295" y="31"/>
                    </a:lnTo>
                    <a:lnTo>
                      <a:pt x="299" y="27"/>
                    </a:lnTo>
                    <a:lnTo>
                      <a:pt x="295" y="27"/>
                    </a:lnTo>
                    <a:lnTo>
                      <a:pt x="286" y="27"/>
                    </a:lnTo>
                    <a:lnTo>
                      <a:pt x="277" y="27"/>
                    </a:lnTo>
                    <a:lnTo>
                      <a:pt x="268" y="22"/>
                    </a:lnTo>
                    <a:lnTo>
                      <a:pt x="259" y="22"/>
                    </a:lnTo>
                    <a:lnTo>
                      <a:pt x="246" y="22"/>
                    </a:lnTo>
                    <a:lnTo>
                      <a:pt x="241" y="22"/>
                    </a:lnTo>
                    <a:lnTo>
                      <a:pt x="228" y="13"/>
                    </a:lnTo>
                    <a:lnTo>
                      <a:pt x="223" y="4"/>
                    </a:lnTo>
                    <a:lnTo>
                      <a:pt x="214" y="9"/>
                    </a:lnTo>
                    <a:lnTo>
                      <a:pt x="214" y="4"/>
                    </a:lnTo>
                    <a:lnTo>
                      <a:pt x="205" y="4"/>
                    </a:lnTo>
                    <a:lnTo>
                      <a:pt x="201" y="4"/>
                    </a:lnTo>
                    <a:lnTo>
                      <a:pt x="192" y="4"/>
                    </a:lnTo>
                    <a:lnTo>
                      <a:pt x="179" y="4"/>
                    </a:lnTo>
                    <a:lnTo>
                      <a:pt x="170" y="4"/>
                    </a:lnTo>
                    <a:lnTo>
                      <a:pt x="170" y="0"/>
                    </a:lnTo>
                    <a:lnTo>
                      <a:pt x="161" y="0"/>
                    </a:lnTo>
                    <a:lnTo>
                      <a:pt x="152" y="4"/>
                    </a:lnTo>
                    <a:lnTo>
                      <a:pt x="147" y="0"/>
                    </a:lnTo>
                    <a:lnTo>
                      <a:pt x="143" y="0"/>
                    </a:lnTo>
                    <a:lnTo>
                      <a:pt x="134" y="0"/>
                    </a:lnTo>
                    <a:lnTo>
                      <a:pt x="125" y="0"/>
                    </a:lnTo>
                    <a:lnTo>
                      <a:pt x="129" y="4"/>
                    </a:lnTo>
                    <a:lnTo>
                      <a:pt x="116" y="4"/>
                    </a:lnTo>
                    <a:lnTo>
                      <a:pt x="112" y="9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7"/>
                    </a:lnTo>
                    <a:lnTo>
                      <a:pt x="116" y="31"/>
                    </a:lnTo>
                    <a:lnTo>
                      <a:pt x="120" y="35"/>
                    </a:lnTo>
                    <a:lnTo>
                      <a:pt x="129" y="31"/>
                    </a:lnTo>
                    <a:lnTo>
                      <a:pt x="134" y="40"/>
                    </a:lnTo>
                    <a:lnTo>
                      <a:pt x="152" y="40"/>
                    </a:lnTo>
                    <a:lnTo>
                      <a:pt x="161" y="44"/>
                    </a:lnTo>
                    <a:lnTo>
                      <a:pt x="152" y="53"/>
                    </a:lnTo>
                    <a:lnTo>
                      <a:pt x="147" y="67"/>
                    </a:lnTo>
                    <a:lnTo>
                      <a:pt x="147" y="71"/>
                    </a:lnTo>
                    <a:lnTo>
                      <a:pt x="147" y="80"/>
                    </a:lnTo>
                    <a:lnTo>
                      <a:pt x="138" y="85"/>
                    </a:lnTo>
                    <a:lnTo>
                      <a:pt x="147" y="98"/>
                    </a:lnTo>
                    <a:lnTo>
                      <a:pt x="143" y="107"/>
                    </a:lnTo>
                    <a:lnTo>
                      <a:pt x="147" y="116"/>
                    </a:lnTo>
                    <a:lnTo>
                      <a:pt x="143" y="116"/>
                    </a:lnTo>
                    <a:lnTo>
                      <a:pt x="143" y="125"/>
                    </a:lnTo>
                    <a:close/>
                    <a:moveTo>
                      <a:pt x="268" y="94"/>
                    </a:moveTo>
                    <a:lnTo>
                      <a:pt x="263" y="98"/>
                    </a:lnTo>
                    <a:lnTo>
                      <a:pt x="268" y="103"/>
                    </a:lnTo>
                    <a:lnTo>
                      <a:pt x="268" y="103"/>
                    </a:lnTo>
                    <a:lnTo>
                      <a:pt x="272" y="103"/>
                    </a:lnTo>
                    <a:lnTo>
                      <a:pt x="268" y="98"/>
                    </a:lnTo>
                    <a:lnTo>
                      <a:pt x="272" y="94"/>
                    </a:lnTo>
                    <a:lnTo>
                      <a:pt x="268" y="94"/>
                    </a:lnTo>
                    <a:close/>
                    <a:moveTo>
                      <a:pt x="286" y="85"/>
                    </a:moveTo>
                    <a:lnTo>
                      <a:pt x="286" y="85"/>
                    </a:lnTo>
                    <a:lnTo>
                      <a:pt x="290" y="89"/>
                    </a:lnTo>
                    <a:lnTo>
                      <a:pt x="299" y="89"/>
                    </a:lnTo>
                    <a:lnTo>
                      <a:pt x="304" y="85"/>
                    </a:lnTo>
                    <a:lnTo>
                      <a:pt x="304" y="80"/>
                    </a:lnTo>
                    <a:lnTo>
                      <a:pt x="299" y="76"/>
                    </a:lnTo>
                    <a:lnTo>
                      <a:pt x="299" y="76"/>
                    </a:lnTo>
                    <a:lnTo>
                      <a:pt x="290" y="80"/>
                    </a:lnTo>
                    <a:lnTo>
                      <a:pt x="286" y="85"/>
                    </a:lnTo>
                    <a:close/>
                    <a:moveTo>
                      <a:pt x="308" y="71"/>
                    </a:moveTo>
                    <a:lnTo>
                      <a:pt x="308" y="80"/>
                    </a:lnTo>
                    <a:lnTo>
                      <a:pt x="317" y="80"/>
                    </a:lnTo>
                    <a:lnTo>
                      <a:pt x="313" y="71"/>
                    </a:lnTo>
                    <a:lnTo>
                      <a:pt x="308" y="71"/>
                    </a:lnTo>
                    <a:close/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</a:endParaRPr>
              </a:p>
            </p:txBody>
          </p:sp>
          <p:sp>
            <p:nvSpPr>
              <p:cNvPr id="266" name="Freeform 231"/>
              <p:cNvSpPr>
                <a:spLocks/>
              </p:cNvSpPr>
              <p:nvPr/>
            </p:nvSpPr>
            <p:spPr bwMode="gray">
              <a:xfrm>
                <a:off x="7128756" y="1180313"/>
                <a:ext cx="1835732" cy="2896386"/>
              </a:xfrm>
              <a:custGeom>
                <a:avLst/>
                <a:gdLst/>
                <a:ahLst/>
                <a:cxnLst>
                  <a:cxn ang="0">
                    <a:pos x="0" y="675"/>
                  </a:cxn>
                  <a:cxn ang="0">
                    <a:pos x="16" y="614"/>
                  </a:cxn>
                  <a:cxn ang="0">
                    <a:pos x="60" y="590"/>
                  </a:cxn>
                  <a:cxn ang="0">
                    <a:pos x="29" y="562"/>
                  </a:cxn>
                  <a:cxn ang="0">
                    <a:pos x="53" y="522"/>
                  </a:cxn>
                  <a:cxn ang="0">
                    <a:pos x="75" y="387"/>
                  </a:cxn>
                  <a:cxn ang="0">
                    <a:pos x="68" y="273"/>
                  </a:cxn>
                  <a:cxn ang="0">
                    <a:pos x="53" y="135"/>
                  </a:cxn>
                  <a:cxn ang="0">
                    <a:pos x="53" y="22"/>
                  </a:cxn>
                  <a:cxn ang="0">
                    <a:pos x="99" y="0"/>
                  </a:cxn>
                  <a:cxn ang="0">
                    <a:pos x="143" y="45"/>
                  </a:cxn>
                  <a:cxn ang="0">
                    <a:pos x="197" y="52"/>
                  </a:cxn>
                  <a:cxn ang="0">
                    <a:pos x="311" y="151"/>
                  </a:cxn>
                  <a:cxn ang="0">
                    <a:pos x="219" y="258"/>
                  </a:cxn>
                  <a:cxn ang="0">
                    <a:pos x="121" y="227"/>
                  </a:cxn>
                  <a:cxn ang="0">
                    <a:pos x="182" y="280"/>
                  </a:cxn>
                  <a:cxn ang="0">
                    <a:pos x="219" y="387"/>
                  </a:cxn>
                  <a:cxn ang="0">
                    <a:pos x="228" y="319"/>
                  </a:cxn>
                  <a:cxn ang="0">
                    <a:pos x="296" y="319"/>
                  </a:cxn>
                  <a:cxn ang="0">
                    <a:pos x="357" y="242"/>
                  </a:cxn>
                  <a:cxn ang="0">
                    <a:pos x="394" y="151"/>
                  </a:cxn>
                  <a:cxn ang="0">
                    <a:pos x="432" y="98"/>
                  </a:cxn>
                  <a:cxn ang="0">
                    <a:pos x="440" y="181"/>
                  </a:cxn>
                  <a:cxn ang="0">
                    <a:pos x="576" y="113"/>
                  </a:cxn>
                  <a:cxn ang="0">
                    <a:pos x="629" y="120"/>
                  </a:cxn>
                  <a:cxn ang="0">
                    <a:pos x="622" y="978"/>
                  </a:cxn>
                  <a:cxn ang="0">
                    <a:pos x="585" y="978"/>
                  </a:cxn>
                  <a:cxn ang="0">
                    <a:pos x="515" y="1008"/>
                  </a:cxn>
                  <a:cxn ang="0">
                    <a:pos x="484" y="1047"/>
                  </a:cxn>
                  <a:cxn ang="0">
                    <a:pos x="478" y="1106"/>
                  </a:cxn>
                  <a:cxn ang="0">
                    <a:pos x="515" y="1146"/>
                  </a:cxn>
                  <a:cxn ang="0">
                    <a:pos x="524" y="1168"/>
                  </a:cxn>
                  <a:cxn ang="0">
                    <a:pos x="484" y="1259"/>
                  </a:cxn>
                  <a:cxn ang="0">
                    <a:pos x="508" y="1343"/>
                  </a:cxn>
                  <a:cxn ang="0">
                    <a:pos x="462" y="1319"/>
                  </a:cxn>
                  <a:cxn ang="0">
                    <a:pos x="417" y="1297"/>
                  </a:cxn>
                  <a:cxn ang="0">
                    <a:pos x="386" y="1297"/>
                  </a:cxn>
                  <a:cxn ang="0">
                    <a:pos x="303" y="1275"/>
                  </a:cxn>
                  <a:cxn ang="0">
                    <a:pos x="243" y="1198"/>
                  </a:cxn>
                  <a:cxn ang="0">
                    <a:pos x="257" y="1168"/>
                  </a:cxn>
                  <a:cxn ang="0">
                    <a:pos x="287" y="1137"/>
                  </a:cxn>
                  <a:cxn ang="0">
                    <a:pos x="303" y="1091"/>
                  </a:cxn>
                  <a:cxn ang="0">
                    <a:pos x="280" y="1047"/>
                  </a:cxn>
                  <a:cxn ang="0">
                    <a:pos x="250" y="1032"/>
                  </a:cxn>
                  <a:cxn ang="0">
                    <a:pos x="197" y="1023"/>
                  </a:cxn>
                  <a:cxn ang="0">
                    <a:pos x="158" y="962"/>
                  </a:cxn>
                  <a:cxn ang="0">
                    <a:pos x="106" y="955"/>
                  </a:cxn>
                  <a:cxn ang="0">
                    <a:pos x="106" y="918"/>
                  </a:cxn>
                  <a:cxn ang="0">
                    <a:pos x="90" y="894"/>
                  </a:cxn>
                  <a:cxn ang="0">
                    <a:pos x="83" y="833"/>
                  </a:cxn>
                  <a:cxn ang="0">
                    <a:pos x="22" y="789"/>
                  </a:cxn>
                  <a:cxn ang="0">
                    <a:pos x="7" y="735"/>
                  </a:cxn>
                </a:cxnLst>
                <a:rect l="0" t="0" r="r" b="b"/>
                <a:pathLst>
                  <a:path w="662" h="1349">
                    <a:moveTo>
                      <a:pt x="0" y="719"/>
                    </a:moveTo>
                    <a:lnTo>
                      <a:pt x="16" y="713"/>
                    </a:lnTo>
                    <a:lnTo>
                      <a:pt x="22" y="706"/>
                    </a:lnTo>
                    <a:lnTo>
                      <a:pt x="7" y="690"/>
                    </a:lnTo>
                    <a:lnTo>
                      <a:pt x="0" y="675"/>
                    </a:lnTo>
                    <a:lnTo>
                      <a:pt x="0" y="667"/>
                    </a:lnTo>
                    <a:lnTo>
                      <a:pt x="0" y="652"/>
                    </a:lnTo>
                    <a:lnTo>
                      <a:pt x="16" y="645"/>
                    </a:lnTo>
                    <a:lnTo>
                      <a:pt x="22" y="630"/>
                    </a:lnTo>
                    <a:lnTo>
                      <a:pt x="16" y="614"/>
                    </a:lnTo>
                    <a:lnTo>
                      <a:pt x="16" y="606"/>
                    </a:lnTo>
                    <a:lnTo>
                      <a:pt x="22" y="614"/>
                    </a:lnTo>
                    <a:lnTo>
                      <a:pt x="38" y="599"/>
                    </a:lnTo>
                    <a:lnTo>
                      <a:pt x="53" y="606"/>
                    </a:lnTo>
                    <a:lnTo>
                      <a:pt x="60" y="590"/>
                    </a:lnTo>
                    <a:lnTo>
                      <a:pt x="53" y="590"/>
                    </a:lnTo>
                    <a:lnTo>
                      <a:pt x="29" y="590"/>
                    </a:lnTo>
                    <a:lnTo>
                      <a:pt x="22" y="577"/>
                    </a:lnTo>
                    <a:lnTo>
                      <a:pt x="29" y="577"/>
                    </a:lnTo>
                    <a:lnTo>
                      <a:pt x="29" y="562"/>
                    </a:lnTo>
                    <a:lnTo>
                      <a:pt x="22" y="577"/>
                    </a:lnTo>
                    <a:lnTo>
                      <a:pt x="16" y="577"/>
                    </a:lnTo>
                    <a:lnTo>
                      <a:pt x="29" y="562"/>
                    </a:lnTo>
                    <a:lnTo>
                      <a:pt x="44" y="546"/>
                    </a:lnTo>
                    <a:lnTo>
                      <a:pt x="53" y="522"/>
                    </a:lnTo>
                    <a:lnTo>
                      <a:pt x="99" y="477"/>
                    </a:lnTo>
                    <a:lnTo>
                      <a:pt x="106" y="463"/>
                    </a:lnTo>
                    <a:lnTo>
                      <a:pt x="75" y="432"/>
                    </a:lnTo>
                    <a:lnTo>
                      <a:pt x="53" y="409"/>
                    </a:lnTo>
                    <a:lnTo>
                      <a:pt x="75" y="387"/>
                    </a:lnTo>
                    <a:lnTo>
                      <a:pt x="53" y="371"/>
                    </a:lnTo>
                    <a:lnTo>
                      <a:pt x="68" y="363"/>
                    </a:lnTo>
                    <a:lnTo>
                      <a:pt x="53" y="356"/>
                    </a:lnTo>
                    <a:lnTo>
                      <a:pt x="53" y="280"/>
                    </a:lnTo>
                    <a:lnTo>
                      <a:pt x="68" y="273"/>
                    </a:lnTo>
                    <a:lnTo>
                      <a:pt x="53" y="249"/>
                    </a:lnTo>
                    <a:lnTo>
                      <a:pt x="44" y="220"/>
                    </a:lnTo>
                    <a:lnTo>
                      <a:pt x="29" y="197"/>
                    </a:lnTo>
                    <a:lnTo>
                      <a:pt x="53" y="151"/>
                    </a:lnTo>
                    <a:lnTo>
                      <a:pt x="53" y="135"/>
                    </a:lnTo>
                    <a:lnTo>
                      <a:pt x="29" y="120"/>
                    </a:lnTo>
                    <a:lnTo>
                      <a:pt x="22" y="91"/>
                    </a:lnTo>
                    <a:lnTo>
                      <a:pt x="38" y="61"/>
                    </a:lnTo>
                    <a:lnTo>
                      <a:pt x="53" y="37"/>
                    </a:lnTo>
                    <a:lnTo>
                      <a:pt x="53" y="22"/>
                    </a:lnTo>
                    <a:lnTo>
                      <a:pt x="68" y="37"/>
                    </a:lnTo>
                    <a:lnTo>
                      <a:pt x="75" y="15"/>
                    </a:lnTo>
                    <a:lnTo>
                      <a:pt x="90" y="22"/>
                    </a:lnTo>
                    <a:lnTo>
                      <a:pt x="99" y="15"/>
                    </a:lnTo>
                    <a:lnTo>
                      <a:pt x="99" y="0"/>
                    </a:lnTo>
                    <a:lnTo>
                      <a:pt x="136" y="15"/>
                    </a:lnTo>
                    <a:lnTo>
                      <a:pt x="129" y="30"/>
                    </a:lnTo>
                    <a:lnTo>
                      <a:pt x="106" y="22"/>
                    </a:lnTo>
                    <a:lnTo>
                      <a:pt x="106" y="30"/>
                    </a:lnTo>
                    <a:lnTo>
                      <a:pt x="143" y="45"/>
                    </a:lnTo>
                    <a:lnTo>
                      <a:pt x="136" y="67"/>
                    </a:lnTo>
                    <a:lnTo>
                      <a:pt x="151" y="61"/>
                    </a:lnTo>
                    <a:lnTo>
                      <a:pt x="182" y="61"/>
                    </a:lnTo>
                    <a:lnTo>
                      <a:pt x="189" y="52"/>
                    </a:lnTo>
                    <a:lnTo>
                      <a:pt x="197" y="52"/>
                    </a:lnTo>
                    <a:lnTo>
                      <a:pt x="219" y="67"/>
                    </a:lnTo>
                    <a:lnTo>
                      <a:pt x="265" y="113"/>
                    </a:lnTo>
                    <a:lnTo>
                      <a:pt x="272" y="105"/>
                    </a:lnTo>
                    <a:lnTo>
                      <a:pt x="311" y="135"/>
                    </a:lnTo>
                    <a:lnTo>
                      <a:pt x="311" y="151"/>
                    </a:lnTo>
                    <a:lnTo>
                      <a:pt x="326" y="159"/>
                    </a:lnTo>
                    <a:lnTo>
                      <a:pt x="326" y="205"/>
                    </a:lnTo>
                    <a:lnTo>
                      <a:pt x="311" y="249"/>
                    </a:lnTo>
                    <a:lnTo>
                      <a:pt x="280" y="264"/>
                    </a:lnTo>
                    <a:lnTo>
                      <a:pt x="219" y="258"/>
                    </a:lnTo>
                    <a:lnTo>
                      <a:pt x="173" y="242"/>
                    </a:lnTo>
                    <a:lnTo>
                      <a:pt x="143" y="227"/>
                    </a:lnTo>
                    <a:lnTo>
                      <a:pt x="129" y="205"/>
                    </a:lnTo>
                    <a:lnTo>
                      <a:pt x="114" y="205"/>
                    </a:lnTo>
                    <a:lnTo>
                      <a:pt x="121" y="227"/>
                    </a:lnTo>
                    <a:lnTo>
                      <a:pt x="136" y="234"/>
                    </a:lnTo>
                    <a:lnTo>
                      <a:pt x="136" y="242"/>
                    </a:lnTo>
                    <a:lnTo>
                      <a:pt x="151" y="249"/>
                    </a:lnTo>
                    <a:lnTo>
                      <a:pt x="173" y="258"/>
                    </a:lnTo>
                    <a:lnTo>
                      <a:pt x="182" y="280"/>
                    </a:lnTo>
                    <a:lnTo>
                      <a:pt x="173" y="319"/>
                    </a:lnTo>
                    <a:lnTo>
                      <a:pt x="182" y="334"/>
                    </a:lnTo>
                    <a:lnTo>
                      <a:pt x="173" y="363"/>
                    </a:lnTo>
                    <a:lnTo>
                      <a:pt x="197" y="363"/>
                    </a:lnTo>
                    <a:lnTo>
                      <a:pt x="219" y="387"/>
                    </a:lnTo>
                    <a:lnTo>
                      <a:pt x="257" y="387"/>
                    </a:lnTo>
                    <a:lnTo>
                      <a:pt x="257" y="363"/>
                    </a:lnTo>
                    <a:lnTo>
                      <a:pt x="235" y="363"/>
                    </a:lnTo>
                    <a:lnTo>
                      <a:pt x="219" y="341"/>
                    </a:lnTo>
                    <a:lnTo>
                      <a:pt x="228" y="319"/>
                    </a:lnTo>
                    <a:lnTo>
                      <a:pt x="243" y="325"/>
                    </a:lnTo>
                    <a:lnTo>
                      <a:pt x="296" y="356"/>
                    </a:lnTo>
                    <a:lnTo>
                      <a:pt x="318" y="356"/>
                    </a:lnTo>
                    <a:lnTo>
                      <a:pt x="311" y="341"/>
                    </a:lnTo>
                    <a:lnTo>
                      <a:pt x="296" y="319"/>
                    </a:lnTo>
                    <a:lnTo>
                      <a:pt x="296" y="303"/>
                    </a:lnTo>
                    <a:lnTo>
                      <a:pt x="311" y="288"/>
                    </a:lnTo>
                    <a:lnTo>
                      <a:pt x="318" y="273"/>
                    </a:lnTo>
                    <a:lnTo>
                      <a:pt x="342" y="273"/>
                    </a:lnTo>
                    <a:lnTo>
                      <a:pt x="357" y="242"/>
                    </a:lnTo>
                    <a:lnTo>
                      <a:pt x="410" y="264"/>
                    </a:lnTo>
                    <a:lnTo>
                      <a:pt x="417" y="220"/>
                    </a:lnTo>
                    <a:lnTo>
                      <a:pt x="417" y="190"/>
                    </a:lnTo>
                    <a:lnTo>
                      <a:pt x="394" y="190"/>
                    </a:lnTo>
                    <a:lnTo>
                      <a:pt x="394" y="151"/>
                    </a:lnTo>
                    <a:lnTo>
                      <a:pt x="401" y="120"/>
                    </a:lnTo>
                    <a:lnTo>
                      <a:pt x="379" y="98"/>
                    </a:lnTo>
                    <a:lnTo>
                      <a:pt x="386" y="91"/>
                    </a:lnTo>
                    <a:lnTo>
                      <a:pt x="410" y="98"/>
                    </a:lnTo>
                    <a:lnTo>
                      <a:pt x="432" y="98"/>
                    </a:lnTo>
                    <a:lnTo>
                      <a:pt x="462" y="129"/>
                    </a:lnTo>
                    <a:lnTo>
                      <a:pt x="471" y="144"/>
                    </a:lnTo>
                    <a:lnTo>
                      <a:pt x="440" y="151"/>
                    </a:lnTo>
                    <a:lnTo>
                      <a:pt x="432" y="174"/>
                    </a:lnTo>
                    <a:lnTo>
                      <a:pt x="440" y="181"/>
                    </a:lnTo>
                    <a:lnTo>
                      <a:pt x="455" y="212"/>
                    </a:lnTo>
                    <a:lnTo>
                      <a:pt x="493" y="212"/>
                    </a:lnTo>
                    <a:lnTo>
                      <a:pt x="500" y="159"/>
                    </a:lnTo>
                    <a:lnTo>
                      <a:pt x="561" y="113"/>
                    </a:lnTo>
                    <a:lnTo>
                      <a:pt x="576" y="113"/>
                    </a:lnTo>
                    <a:lnTo>
                      <a:pt x="629" y="76"/>
                    </a:lnTo>
                    <a:lnTo>
                      <a:pt x="653" y="76"/>
                    </a:lnTo>
                    <a:lnTo>
                      <a:pt x="637" y="98"/>
                    </a:lnTo>
                    <a:lnTo>
                      <a:pt x="644" y="113"/>
                    </a:lnTo>
                    <a:lnTo>
                      <a:pt x="629" y="120"/>
                    </a:lnTo>
                    <a:lnTo>
                      <a:pt x="662" y="129"/>
                    </a:lnTo>
                    <a:lnTo>
                      <a:pt x="659" y="1016"/>
                    </a:lnTo>
                    <a:lnTo>
                      <a:pt x="653" y="1008"/>
                    </a:lnTo>
                    <a:lnTo>
                      <a:pt x="644" y="986"/>
                    </a:lnTo>
                    <a:lnTo>
                      <a:pt x="622" y="978"/>
                    </a:lnTo>
                    <a:lnTo>
                      <a:pt x="614" y="986"/>
                    </a:lnTo>
                    <a:lnTo>
                      <a:pt x="607" y="971"/>
                    </a:lnTo>
                    <a:lnTo>
                      <a:pt x="592" y="978"/>
                    </a:lnTo>
                    <a:lnTo>
                      <a:pt x="585" y="986"/>
                    </a:lnTo>
                    <a:lnTo>
                      <a:pt x="585" y="978"/>
                    </a:lnTo>
                    <a:lnTo>
                      <a:pt x="576" y="971"/>
                    </a:lnTo>
                    <a:lnTo>
                      <a:pt x="569" y="986"/>
                    </a:lnTo>
                    <a:lnTo>
                      <a:pt x="539" y="1008"/>
                    </a:lnTo>
                    <a:lnTo>
                      <a:pt x="524" y="1016"/>
                    </a:lnTo>
                    <a:lnTo>
                      <a:pt x="515" y="1008"/>
                    </a:lnTo>
                    <a:lnTo>
                      <a:pt x="524" y="1038"/>
                    </a:lnTo>
                    <a:lnTo>
                      <a:pt x="515" y="1047"/>
                    </a:lnTo>
                    <a:lnTo>
                      <a:pt x="493" y="1023"/>
                    </a:lnTo>
                    <a:lnTo>
                      <a:pt x="484" y="1023"/>
                    </a:lnTo>
                    <a:lnTo>
                      <a:pt x="484" y="1047"/>
                    </a:lnTo>
                    <a:lnTo>
                      <a:pt x="478" y="1047"/>
                    </a:lnTo>
                    <a:lnTo>
                      <a:pt x="471" y="1069"/>
                    </a:lnTo>
                    <a:lnTo>
                      <a:pt x="471" y="1076"/>
                    </a:lnTo>
                    <a:lnTo>
                      <a:pt x="462" y="1100"/>
                    </a:lnTo>
                    <a:lnTo>
                      <a:pt x="478" y="1106"/>
                    </a:lnTo>
                    <a:lnTo>
                      <a:pt x="478" y="1115"/>
                    </a:lnTo>
                    <a:lnTo>
                      <a:pt x="484" y="1130"/>
                    </a:lnTo>
                    <a:lnTo>
                      <a:pt x="484" y="1115"/>
                    </a:lnTo>
                    <a:lnTo>
                      <a:pt x="500" y="1122"/>
                    </a:lnTo>
                    <a:lnTo>
                      <a:pt x="515" y="1146"/>
                    </a:lnTo>
                    <a:lnTo>
                      <a:pt x="524" y="1152"/>
                    </a:lnTo>
                    <a:lnTo>
                      <a:pt x="515" y="1152"/>
                    </a:lnTo>
                    <a:lnTo>
                      <a:pt x="508" y="1161"/>
                    </a:lnTo>
                    <a:lnTo>
                      <a:pt x="524" y="1161"/>
                    </a:lnTo>
                    <a:lnTo>
                      <a:pt x="524" y="1168"/>
                    </a:lnTo>
                    <a:lnTo>
                      <a:pt x="508" y="1191"/>
                    </a:lnTo>
                    <a:lnTo>
                      <a:pt x="484" y="1191"/>
                    </a:lnTo>
                    <a:lnTo>
                      <a:pt x="471" y="1236"/>
                    </a:lnTo>
                    <a:lnTo>
                      <a:pt x="478" y="1236"/>
                    </a:lnTo>
                    <a:lnTo>
                      <a:pt x="484" y="1259"/>
                    </a:lnTo>
                    <a:lnTo>
                      <a:pt x="493" y="1251"/>
                    </a:lnTo>
                    <a:lnTo>
                      <a:pt x="484" y="1290"/>
                    </a:lnTo>
                    <a:lnTo>
                      <a:pt x="515" y="1327"/>
                    </a:lnTo>
                    <a:lnTo>
                      <a:pt x="524" y="1334"/>
                    </a:lnTo>
                    <a:lnTo>
                      <a:pt x="508" y="1343"/>
                    </a:lnTo>
                    <a:lnTo>
                      <a:pt x="500" y="1349"/>
                    </a:lnTo>
                    <a:lnTo>
                      <a:pt x="493" y="1349"/>
                    </a:lnTo>
                    <a:lnTo>
                      <a:pt x="478" y="1327"/>
                    </a:lnTo>
                    <a:lnTo>
                      <a:pt x="471" y="1327"/>
                    </a:lnTo>
                    <a:lnTo>
                      <a:pt x="462" y="1319"/>
                    </a:lnTo>
                    <a:lnTo>
                      <a:pt x="447" y="1312"/>
                    </a:lnTo>
                    <a:lnTo>
                      <a:pt x="455" y="1305"/>
                    </a:lnTo>
                    <a:lnTo>
                      <a:pt x="432" y="1305"/>
                    </a:lnTo>
                    <a:lnTo>
                      <a:pt x="432" y="1297"/>
                    </a:lnTo>
                    <a:lnTo>
                      <a:pt x="417" y="1297"/>
                    </a:lnTo>
                    <a:lnTo>
                      <a:pt x="417" y="1305"/>
                    </a:lnTo>
                    <a:lnTo>
                      <a:pt x="410" y="1297"/>
                    </a:lnTo>
                    <a:lnTo>
                      <a:pt x="401" y="1305"/>
                    </a:lnTo>
                    <a:lnTo>
                      <a:pt x="394" y="1290"/>
                    </a:lnTo>
                    <a:lnTo>
                      <a:pt x="386" y="1297"/>
                    </a:lnTo>
                    <a:lnTo>
                      <a:pt x="379" y="1281"/>
                    </a:lnTo>
                    <a:lnTo>
                      <a:pt x="348" y="1281"/>
                    </a:lnTo>
                    <a:lnTo>
                      <a:pt x="333" y="1275"/>
                    </a:lnTo>
                    <a:lnTo>
                      <a:pt x="311" y="1275"/>
                    </a:lnTo>
                    <a:lnTo>
                      <a:pt x="303" y="1275"/>
                    </a:lnTo>
                    <a:lnTo>
                      <a:pt x="296" y="1275"/>
                    </a:lnTo>
                    <a:lnTo>
                      <a:pt x="235" y="1213"/>
                    </a:lnTo>
                    <a:lnTo>
                      <a:pt x="228" y="1205"/>
                    </a:lnTo>
                    <a:lnTo>
                      <a:pt x="228" y="1198"/>
                    </a:lnTo>
                    <a:lnTo>
                      <a:pt x="243" y="1198"/>
                    </a:lnTo>
                    <a:lnTo>
                      <a:pt x="250" y="1198"/>
                    </a:lnTo>
                    <a:lnTo>
                      <a:pt x="250" y="1183"/>
                    </a:lnTo>
                    <a:lnTo>
                      <a:pt x="257" y="1176"/>
                    </a:lnTo>
                    <a:lnTo>
                      <a:pt x="265" y="1176"/>
                    </a:lnTo>
                    <a:lnTo>
                      <a:pt x="257" y="1168"/>
                    </a:lnTo>
                    <a:lnTo>
                      <a:pt x="250" y="1168"/>
                    </a:lnTo>
                    <a:lnTo>
                      <a:pt x="243" y="1161"/>
                    </a:lnTo>
                    <a:lnTo>
                      <a:pt x="257" y="1152"/>
                    </a:lnTo>
                    <a:lnTo>
                      <a:pt x="265" y="1146"/>
                    </a:lnTo>
                    <a:lnTo>
                      <a:pt x="287" y="1137"/>
                    </a:lnTo>
                    <a:lnTo>
                      <a:pt x="280" y="1130"/>
                    </a:lnTo>
                    <a:lnTo>
                      <a:pt x="265" y="1137"/>
                    </a:lnTo>
                    <a:lnTo>
                      <a:pt x="280" y="1115"/>
                    </a:lnTo>
                    <a:lnTo>
                      <a:pt x="296" y="1106"/>
                    </a:lnTo>
                    <a:lnTo>
                      <a:pt x="303" y="1091"/>
                    </a:lnTo>
                    <a:lnTo>
                      <a:pt x="296" y="1084"/>
                    </a:lnTo>
                    <a:lnTo>
                      <a:pt x="303" y="1076"/>
                    </a:lnTo>
                    <a:lnTo>
                      <a:pt x="296" y="1069"/>
                    </a:lnTo>
                    <a:lnTo>
                      <a:pt x="303" y="1062"/>
                    </a:lnTo>
                    <a:lnTo>
                      <a:pt x="280" y="1047"/>
                    </a:lnTo>
                    <a:lnTo>
                      <a:pt x="272" y="1038"/>
                    </a:lnTo>
                    <a:lnTo>
                      <a:pt x="265" y="1047"/>
                    </a:lnTo>
                    <a:lnTo>
                      <a:pt x="265" y="1038"/>
                    </a:lnTo>
                    <a:lnTo>
                      <a:pt x="250" y="1038"/>
                    </a:lnTo>
                    <a:lnTo>
                      <a:pt x="250" y="1032"/>
                    </a:lnTo>
                    <a:lnTo>
                      <a:pt x="243" y="1023"/>
                    </a:lnTo>
                    <a:lnTo>
                      <a:pt x="228" y="1023"/>
                    </a:lnTo>
                    <a:lnTo>
                      <a:pt x="219" y="1032"/>
                    </a:lnTo>
                    <a:lnTo>
                      <a:pt x="213" y="1023"/>
                    </a:lnTo>
                    <a:lnTo>
                      <a:pt x="197" y="1023"/>
                    </a:lnTo>
                    <a:lnTo>
                      <a:pt x="189" y="1001"/>
                    </a:lnTo>
                    <a:lnTo>
                      <a:pt x="189" y="986"/>
                    </a:lnTo>
                    <a:lnTo>
                      <a:pt x="158" y="978"/>
                    </a:lnTo>
                    <a:lnTo>
                      <a:pt x="167" y="962"/>
                    </a:lnTo>
                    <a:lnTo>
                      <a:pt x="158" y="962"/>
                    </a:lnTo>
                    <a:lnTo>
                      <a:pt x="151" y="948"/>
                    </a:lnTo>
                    <a:lnTo>
                      <a:pt x="136" y="948"/>
                    </a:lnTo>
                    <a:lnTo>
                      <a:pt x="121" y="955"/>
                    </a:lnTo>
                    <a:lnTo>
                      <a:pt x="114" y="948"/>
                    </a:lnTo>
                    <a:lnTo>
                      <a:pt x="106" y="955"/>
                    </a:lnTo>
                    <a:lnTo>
                      <a:pt x="99" y="955"/>
                    </a:lnTo>
                    <a:lnTo>
                      <a:pt x="99" y="940"/>
                    </a:lnTo>
                    <a:lnTo>
                      <a:pt x="90" y="918"/>
                    </a:lnTo>
                    <a:lnTo>
                      <a:pt x="99" y="910"/>
                    </a:lnTo>
                    <a:lnTo>
                      <a:pt x="106" y="918"/>
                    </a:lnTo>
                    <a:lnTo>
                      <a:pt x="114" y="910"/>
                    </a:lnTo>
                    <a:lnTo>
                      <a:pt x="121" y="903"/>
                    </a:lnTo>
                    <a:lnTo>
                      <a:pt x="114" y="903"/>
                    </a:lnTo>
                    <a:lnTo>
                      <a:pt x="106" y="888"/>
                    </a:lnTo>
                    <a:lnTo>
                      <a:pt x="90" y="894"/>
                    </a:lnTo>
                    <a:lnTo>
                      <a:pt x="90" y="872"/>
                    </a:lnTo>
                    <a:lnTo>
                      <a:pt x="83" y="864"/>
                    </a:lnTo>
                    <a:lnTo>
                      <a:pt x="83" y="857"/>
                    </a:lnTo>
                    <a:lnTo>
                      <a:pt x="83" y="842"/>
                    </a:lnTo>
                    <a:lnTo>
                      <a:pt x="83" y="833"/>
                    </a:lnTo>
                    <a:lnTo>
                      <a:pt x="75" y="811"/>
                    </a:lnTo>
                    <a:lnTo>
                      <a:pt x="60" y="796"/>
                    </a:lnTo>
                    <a:lnTo>
                      <a:pt x="44" y="804"/>
                    </a:lnTo>
                    <a:lnTo>
                      <a:pt x="38" y="789"/>
                    </a:lnTo>
                    <a:lnTo>
                      <a:pt x="22" y="789"/>
                    </a:lnTo>
                    <a:lnTo>
                      <a:pt x="22" y="780"/>
                    </a:lnTo>
                    <a:lnTo>
                      <a:pt x="16" y="780"/>
                    </a:lnTo>
                    <a:lnTo>
                      <a:pt x="7" y="780"/>
                    </a:lnTo>
                    <a:lnTo>
                      <a:pt x="7" y="765"/>
                    </a:lnTo>
                    <a:lnTo>
                      <a:pt x="7" y="735"/>
                    </a:lnTo>
                    <a:lnTo>
                      <a:pt x="16" y="728"/>
                    </a:lnTo>
                    <a:lnTo>
                      <a:pt x="7" y="719"/>
                    </a:lnTo>
                    <a:lnTo>
                      <a:pt x="0" y="719"/>
                    </a:lnTo>
                  </a:path>
                </a:pathLst>
              </a:custGeom>
              <a:noFill/>
              <a:ln w="3175" cmpd="sng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>
                  <a:solidFill>
                    <a:prstClr val="black"/>
                  </a:solidFill>
                  <a:latin typeface="+mn-lt"/>
                </a:endParaRPr>
              </a:p>
            </p:txBody>
          </p:sp>
        </p:grpSp>
        <p:sp>
          <p:nvSpPr>
            <p:cNvPr id="349" name="Textfeld 348"/>
            <p:cNvSpPr txBox="1"/>
            <p:nvPr/>
          </p:nvSpPr>
          <p:spPr>
            <a:xfrm>
              <a:off x="2279601" y="2535288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20,6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cxnSp>
          <p:nvCxnSpPr>
            <p:cNvPr id="526" name="Gerade Verbindung 525"/>
            <p:cNvCxnSpPr>
              <a:cxnSpLocks/>
            </p:cNvCxnSpPr>
            <p:nvPr/>
          </p:nvCxnSpPr>
          <p:spPr>
            <a:xfrm>
              <a:off x="1127447" y="3356992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7" name="Gerade Verbindung 526"/>
            <p:cNvCxnSpPr>
              <a:cxnSpLocks/>
            </p:cNvCxnSpPr>
            <p:nvPr/>
          </p:nvCxnSpPr>
          <p:spPr>
            <a:xfrm>
              <a:off x="4606425" y="3356992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8" name="Gerade Verbindung 527"/>
            <p:cNvCxnSpPr>
              <a:cxnSpLocks/>
            </p:cNvCxnSpPr>
            <p:nvPr/>
          </p:nvCxnSpPr>
          <p:spPr>
            <a:xfrm>
              <a:off x="7896200" y="3356992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9" name="Gerade Verbindung 528"/>
            <p:cNvCxnSpPr>
              <a:cxnSpLocks/>
            </p:cNvCxnSpPr>
            <p:nvPr/>
          </p:nvCxnSpPr>
          <p:spPr>
            <a:xfrm>
              <a:off x="1127447" y="5013176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0" name="Gerade Verbindung 529"/>
            <p:cNvCxnSpPr>
              <a:cxnSpLocks/>
            </p:cNvCxnSpPr>
            <p:nvPr/>
          </p:nvCxnSpPr>
          <p:spPr>
            <a:xfrm>
              <a:off x="4606425" y="5013176"/>
              <a:ext cx="1859140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1" name="Gerade Verbindung 530"/>
            <p:cNvCxnSpPr>
              <a:cxnSpLocks/>
            </p:cNvCxnSpPr>
            <p:nvPr/>
          </p:nvCxnSpPr>
          <p:spPr>
            <a:xfrm>
              <a:off x="7896200" y="5013176"/>
              <a:ext cx="1584176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Textfeld 1"/>
            <p:cNvSpPr txBox="1"/>
            <p:nvPr/>
          </p:nvSpPr>
          <p:spPr>
            <a:xfrm>
              <a:off x="1055440" y="1484785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DE, AT, CH</a:t>
              </a:r>
            </a:p>
          </p:txBody>
        </p:sp>
        <p:sp>
          <p:nvSpPr>
            <p:cNvPr id="532" name="Textfeld 531"/>
            <p:cNvSpPr txBox="1"/>
            <p:nvPr/>
          </p:nvSpPr>
          <p:spPr>
            <a:xfrm>
              <a:off x="4547065" y="1484785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DK, SE, NO, FI</a:t>
              </a:r>
            </a:p>
          </p:txBody>
        </p:sp>
        <p:sp>
          <p:nvSpPr>
            <p:cNvPr id="533" name="Textfeld 532"/>
            <p:cNvSpPr txBox="1"/>
            <p:nvPr/>
          </p:nvSpPr>
          <p:spPr>
            <a:xfrm>
              <a:off x="7824193" y="1465040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UK, IE, BE, NL</a:t>
              </a:r>
            </a:p>
          </p:txBody>
        </p:sp>
        <p:sp>
          <p:nvSpPr>
            <p:cNvPr id="534" name="Textfeld 533"/>
            <p:cNvSpPr txBox="1"/>
            <p:nvPr/>
          </p:nvSpPr>
          <p:spPr>
            <a:xfrm>
              <a:off x="1066703" y="3121224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FR, ES, PT, IT</a:t>
              </a:r>
            </a:p>
          </p:txBody>
        </p:sp>
        <p:sp>
          <p:nvSpPr>
            <p:cNvPr id="535" name="Textfeld 534"/>
            <p:cNvSpPr txBox="1"/>
            <p:nvPr/>
          </p:nvSpPr>
          <p:spPr>
            <a:xfrm>
              <a:off x="1055440" y="4777408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RU, BY, UA</a:t>
              </a:r>
            </a:p>
          </p:txBody>
        </p:sp>
        <p:sp>
          <p:nvSpPr>
            <p:cNvPr id="536" name="Textfeld 535"/>
            <p:cNvSpPr txBox="1"/>
            <p:nvPr/>
          </p:nvSpPr>
          <p:spPr>
            <a:xfrm>
              <a:off x="4547065" y="3121224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EE, LV, LT, PL</a:t>
              </a:r>
            </a:p>
          </p:txBody>
        </p:sp>
        <p:sp>
          <p:nvSpPr>
            <p:cNvPr id="537" name="Textfeld 536"/>
            <p:cNvSpPr txBox="1"/>
            <p:nvPr/>
          </p:nvSpPr>
          <p:spPr>
            <a:xfrm>
              <a:off x="4547065" y="4777408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AL, BA, HR, RS, MK, GR</a:t>
              </a:r>
            </a:p>
          </p:txBody>
        </p:sp>
        <p:sp>
          <p:nvSpPr>
            <p:cNvPr id="538" name="Textfeld 537"/>
            <p:cNvSpPr txBox="1"/>
            <p:nvPr/>
          </p:nvSpPr>
          <p:spPr>
            <a:xfrm>
              <a:off x="7824193" y="3121224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RO, BG, TR</a:t>
              </a:r>
            </a:p>
          </p:txBody>
        </p:sp>
        <p:sp>
          <p:nvSpPr>
            <p:cNvPr id="539" name="Textfeld 538"/>
            <p:cNvSpPr txBox="1"/>
            <p:nvPr/>
          </p:nvSpPr>
          <p:spPr>
            <a:xfrm>
              <a:off x="7824193" y="4777408"/>
              <a:ext cx="222098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latin typeface="+mn-lt"/>
                </a:rPr>
                <a:t>CZ, HU, SK, SI</a:t>
              </a:r>
            </a:p>
          </p:txBody>
        </p:sp>
        <p:sp>
          <p:nvSpPr>
            <p:cNvPr id="4" name="Textfeld 3"/>
            <p:cNvSpPr txBox="1"/>
            <p:nvPr/>
          </p:nvSpPr>
          <p:spPr>
            <a:xfrm>
              <a:off x="2279601" y="1844825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16,5</a:t>
              </a:r>
              <a:r>
                <a:rPr lang="de-DE" sz="1400" b="1" dirty="0">
                  <a:latin typeface="+mn-lt"/>
                </a:rPr>
                <a:t>%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  <p:sp>
          <p:nvSpPr>
            <p:cNvPr id="579" name="Rechteck 578"/>
            <p:cNvSpPr/>
            <p:nvPr/>
          </p:nvSpPr>
          <p:spPr>
            <a:xfrm>
              <a:off x="1090679" y="1484785"/>
              <a:ext cx="2629056" cy="1585071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3" name="Rechteck 582"/>
            <p:cNvSpPr/>
            <p:nvPr/>
          </p:nvSpPr>
          <p:spPr>
            <a:xfrm>
              <a:off x="1090679" y="3068961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4" name="Rechteck 583"/>
            <p:cNvSpPr/>
            <p:nvPr/>
          </p:nvSpPr>
          <p:spPr>
            <a:xfrm>
              <a:off x="1090679" y="4725145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5" name="Rechteck 584"/>
            <p:cNvSpPr/>
            <p:nvPr/>
          </p:nvSpPr>
          <p:spPr>
            <a:xfrm>
              <a:off x="4547064" y="1484785"/>
              <a:ext cx="2629056" cy="1585071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6" name="Rechteck 585"/>
            <p:cNvSpPr/>
            <p:nvPr/>
          </p:nvSpPr>
          <p:spPr>
            <a:xfrm>
              <a:off x="4547064" y="3068961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7" name="Rechteck 586"/>
            <p:cNvSpPr/>
            <p:nvPr/>
          </p:nvSpPr>
          <p:spPr>
            <a:xfrm>
              <a:off x="4547064" y="4725145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8" name="Rechteck 587"/>
            <p:cNvSpPr/>
            <p:nvPr/>
          </p:nvSpPr>
          <p:spPr>
            <a:xfrm>
              <a:off x="7824192" y="1484785"/>
              <a:ext cx="2629056" cy="1585071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89" name="Rechteck 588"/>
            <p:cNvSpPr/>
            <p:nvPr/>
          </p:nvSpPr>
          <p:spPr>
            <a:xfrm>
              <a:off x="7824192" y="3068961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590" name="Rechteck 589"/>
            <p:cNvSpPr/>
            <p:nvPr/>
          </p:nvSpPr>
          <p:spPr>
            <a:xfrm>
              <a:off x="7824192" y="4725145"/>
              <a:ext cx="2629056" cy="1660965"/>
            </a:xfrm>
            <a:prstGeom prst="rect">
              <a:avLst/>
            </a:prstGeom>
            <a:noFill/>
            <a:ln w="15875"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 sz="1200" dirty="0">
                <a:solidFill>
                  <a:schemeClr val="tx1"/>
                </a:solidFill>
                <a:cs typeface="Arial" pitchFamily="34" charset="0"/>
              </a:endParaRPr>
            </a:p>
          </p:txBody>
        </p:sp>
        <p:sp>
          <p:nvSpPr>
            <p:cNvPr id="448" name="Textfeld 447"/>
            <p:cNvSpPr txBox="1"/>
            <p:nvPr/>
          </p:nvSpPr>
          <p:spPr>
            <a:xfrm>
              <a:off x="2279601" y="4191472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29,4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58" name="Textfeld 457"/>
            <p:cNvSpPr txBox="1"/>
            <p:nvPr/>
          </p:nvSpPr>
          <p:spPr>
            <a:xfrm>
              <a:off x="2279601" y="3429001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29,3</a:t>
              </a:r>
              <a:r>
                <a:rPr lang="en-US" sz="1400" b="1" dirty="0">
                  <a:latin typeface="+mn-lt"/>
                </a:rPr>
                <a:t>%</a:t>
              </a:r>
              <a:r>
                <a:rPr lang="en-US" sz="1000" b="1" dirty="0">
                  <a:latin typeface="+mn-lt"/>
                </a:rPr>
                <a:t> of the European  car park</a:t>
              </a:r>
            </a:p>
          </p:txBody>
        </p:sp>
        <p:sp>
          <p:nvSpPr>
            <p:cNvPr id="459" name="Textfeld 458"/>
            <p:cNvSpPr txBox="1"/>
            <p:nvPr/>
          </p:nvSpPr>
          <p:spPr>
            <a:xfrm>
              <a:off x="2279601" y="5847656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11,4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60" name="Textfeld 459"/>
            <p:cNvSpPr txBox="1"/>
            <p:nvPr/>
          </p:nvSpPr>
          <p:spPr>
            <a:xfrm>
              <a:off x="2279601" y="5085829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16,1</a:t>
              </a:r>
              <a:r>
                <a:rPr lang="de-DE" sz="1400" b="1" dirty="0">
                  <a:latin typeface="+mn-lt"/>
                </a:rPr>
                <a:t>%</a:t>
              </a:r>
              <a:r>
                <a:rPr lang="en-US" sz="1000" b="1" dirty="0">
                  <a:latin typeface="+mn-lt"/>
                </a:rPr>
                <a:t> of the European  car park</a:t>
              </a:r>
            </a:p>
          </p:txBody>
        </p:sp>
        <p:sp>
          <p:nvSpPr>
            <p:cNvPr id="461" name="Textfeld 460"/>
            <p:cNvSpPr txBox="1"/>
            <p:nvPr/>
          </p:nvSpPr>
          <p:spPr>
            <a:xfrm>
              <a:off x="5745511" y="2535288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5,9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62" name="Textfeld 461"/>
            <p:cNvSpPr txBox="1"/>
            <p:nvPr/>
          </p:nvSpPr>
          <p:spPr>
            <a:xfrm>
              <a:off x="5745511" y="1844825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4,0</a:t>
              </a:r>
              <a:r>
                <a:rPr lang="en-US" sz="1400" b="1" dirty="0">
                  <a:latin typeface="+mn-lt"/>
                </a:rPr>
                <a:t>%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  <p:sp>
          <p:nvSpPr>
            <p:cNvPr id="463" name="Textfeld 462"/>
            <p:cNvSpPr txBox="1"/>
            <p:nvPr/>
          </p:nvSpPr>
          <p:spPr>
            <a:xfrm>
              <a:off x="5745511" y="4191472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5,6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64" name="Textfeld 463"/>
            <p:cNvSpPr txBox="1"/>
            <p:nvPr/>
          </p:nvSpPr>
          <p:spPr>
            <a:xfrm>
              <a:off x="5745511" y="3429001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7,3</a:t>
              </a:r>
              <a:r>
                <a:rPr lang="de-DE" sz="1400" b="1" dirty="0">
                  <a:latin typeface="+mn-lt"/>
                </a:rPr>
                <a:t>%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  <p:sp>
          <p:nvSpPr>
            <p:cNvPr id="466" name="Textfeld 465"/>
            <p:cNvSpPr txBox="1"/>
            <p:nvPr/>
          </p:nvSpPr>
          <p:spPr>
            <a:xfrm>
              <a:off x="5745511" y="5847656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2,3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67" name="Textfeld 466"/>
            <p:cNvSpPr txBox="1"/>
            <p:nvPr/>
          </p:nvSpPr>
          <p:spPr>
            <a:xfrm>
              <a:off x="5745511" y="5085185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3,1</a:t>
              </a:r>
              <a:r>
                <a:rPr lang="de-DE" sz="1400" b="1" dirty="0">
                  <a:latin typeface="+mn-lt"/>
                </a:rPr>
                <a:t>%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  <p:sp>
          <p:nvSpPr>
            <p:cNvPr id="468" name="Textfeld 467"/>
            <p:cNvSpPr txBox="1"/>
            <p:nvPr/>
          </p:nvSpPr>
          <p:spPr>
            <a:xfrm>
              <a:off x="9048354" y="2535288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17,1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69" name="Textfeld 468"/>
            <p:cNvSpPr txBox="1"/>
            <p:nvPr/>
          </p:nvSpPr>
          <p:spPr>
            <a:xfrm>
              <a:off x="9048354" y="1836314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14,3</a:t>
              </a:r>
              <a:r>
                <a:rPr lang="en-US" sz="1400" b="1" dirty="0">
                  <a:latin typeface="+mn-lt"/>
                </a:rPr>
                <a:t>%</a:t>
              </a:r>
              <a:r>
                <a:rPr lang="en-US" sz="1000" b="1" dirty="0">
                  <a:latin typeface="+mn-lt"/>
                </a:rPr>
                <a:t> of the European  car park</a:t>
              </a:r>
            </a:p>
          </p:txBody>
        </p:sp>
        <p:sp>
          <p:nvSpPr>
            <p:cNvPr id="470" name="Textfeld 469"/>
            <p:cNvSpPr txBox="1"/>
            <p:nvPr/>
          </p:nvSpPr>
          <p:spPr>
            <a:xfrm>
              <a:off x="9048354" y="4191472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5,0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71" name="Textfeld 470"/>
            <p:cNvSpPr txBox="1"/>
            <p:nvPr/>
          </p:nvSpPr>
          <p:spPr>
            <a:xfrm>
              <a:off x="9048354" y="3429001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de-DE" sz="1400" b="1" dirty="0">
                  <a:solidFill>
                    <a:schemeClr val="accent5"/>
                  </a:solidFill>
                  <a:latin typeface="+mn-lt"/>
                </a:rPr>
                <a:t>6,0</a:t>
              </a:r>
              <a:r>
                <a:rPr lang="de-DE" sz="1400" b="1" dirty="0">
                  <a:latin typeface="+mn-lt"/>
                </a:rPr>
                <a:t>%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  <p:sp>
          <p:nvSpPr>
            <p:cNvPr id="472" name="Textfeld 471"/>
            <p:cNvSpPr txBox="1"/>
            <p:nvPr/>
          </p:nvSpPr>
          <p:spPr>
            <a:xfrm>
              <a:off x="9048354" y="5847656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effectLst>
                    <a:outerShdw blurRad="50800" dist="38100" algn="l" rotWithShape="0">
                      <a:prstClr val="black">
                        <a:alpha val="40000"/>
                      </a:prstClr>
                    </a:outerShdw>
                  </a:effectLst>
                  <a:latin typeface="+mn-lt"/>
                </a:defRPr>
              </a:lvl1pPr>
            </a:lstStyle>
            <a:p>
              <a:r>
                <a:rPr lang="de-DE" dirty="0">
                  <a:solidFill>
                    <a:schemeClr val="accent5"/>
                  </a:solidFill>
                  <a:effectLst/>
                </a:rPr>
                <a:t>2,8</a:t>
              </a:r>
              <a:r>
                <a:rPr lang="de-DE" dirty="0">
                  <a:effectLst/>
                </a:rPr>
                <a:t>% </a:t>
              </a:r>
              <a:r>
                <a:rPr lang="en-US" sz="1000" dirty="0">
                  <a:effectLst/>
                </a:rPr>
                <a:t>of the total aftermarket volume</a:t>
              </a:r>
            </a:p>
          </p:txBody>
        </p:sp>
        <p:sp>
          <p:nvSpPr>
            <p:cNvPr id="473" name="Textfeld 472"/>
            <p:cNvSpPr txBox="1"/>
            <p:nvPr/>
          </p:nvSpPr>
          <p:spPr>
            <a:xfrm>
              <a:off x="9048354" y="5085185"/>
              <a:ext cx="1368127" cy="46166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noFill/>
              <a:prstDash val="dash"/>
            </a:ln>
            <a:effectLst>
              <a:innerShdw blurRad="63500" dist="50800" dir="18900000">
                <a:prstClr val="black">
                  <a:alpha val="50000"/>
                </a:prstClr>
              </a:innerShdw>
            </a:effectLst>
          </p:spPr>
          <p:txBody>
            <a:bodyPr wrap="square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  <a:latin typeface="+mn-lt"/>
                </a:rPr>
                <a:t>3,5</a:t>
              </a:r>
              <a:r>
                <a:rPr lang="en-US" sz="1400" b="1" dirty="0">
                  <a:latin typeface="+mn-lt"/>
                </a:rPr>
                <a:t>%  </a:t>
              </a:r>
              <a:r>
                <a:rPr lang="en-US" sz="1000" b="1" dirty="0">
                  <a:latin typeface="+mn-lt"/>
                </a:rPr>
                <a:t>of the European  car par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2685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mtgNq0oHkyeoool84ned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6VT6uuIuPUiXpCID2D9.C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WASEX">
  <a:themeElements>
    <a:clrScheme name="wasex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9D003C"/>
      </a:accent1>
      <a:accent2>
        <a:srgbClr val="C1C1C1"/>
      </a:accent2>
      <a:accent3>
        <a:srgbClr val="002D69"/>
      </a:accent3>
      <a:accent4>
        <a:srgbClr val="666666"/>
      </a:accent4>
      <a:accent5>
        <a:srgbClr val="800031"/>
      </a:accent5>
      <a:accent6>
        <a:srgbClr val="00349E"/>
      </a:accent6>
      <a:hlink>
        <a:srgbClr val="800031"/>
      </a:hlink>
      <a:folHlink>
        <a:srgbClr val="800031"/>
      </a:folHlink>
    </a:clrScheme>
    <a:fontScheme name="wasex">
      <a:majorFont>
        <a:latin typeface="DIN Next LT Pro"/>
        <a:ea typeface=""/>
        <a:cs typeface=""/>
      </a:majorFont>
      <a:minorFont>
        <a:latin typeface="DIN Next LT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/>
      <a:bodyPr anchor="ctr"/>
      <a:lstStyle>
        <a:defPPr algn="ctr">
          <a:defRPr sz="1200" dirty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sz="14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ASEX" id="{9D642845-747A-443B-9F32-D49CBA19C471}" vid="{E0B3D6B5-E4D1-4015-8FCD-EC74E52A3577}"/>
    </a:ext>
  </a:extLst>
</a:theme>
</file>

<file path=ppt/theme/theme2.xml><?xml version="1.0" encoding="utf-8"?>
<a:theme xmlns:a="http://schemas.openxmlformats.org/drawingml/2006/main" name="1_WASEX">
  <a:themeElements>
    <a:clrScheme name="wasex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9D003C"/>
      </a:accent1>
      <a:accent2>
        <a:srgbClr val="C1C1C1"/>
      </a:accent2>
      <a:accent3>
        <a:srgbClr val="002D69"/>
      </a:accent3>
      <a:accent4>
        <a:srgbClr val="666666"/>
      </a:accent4>
      <a:accent5>
        <a:srgbClr val="800031"/>
      </a:accent5>
      <a:accent6>
        <a:srgbClr val="00349E"/>
      </a:accent6>
      <a:hlink>
        <a:srgbClr val="800031"/>
      </a:hlink>
      <a:folHlink>
        <a:srgbClr val="800031"/>
      </a:folHlink>
    </a:clrScheme>
    <a:fontScheme name="wasex">
      <a:majorFont>
        <a:latin typeface="DIN Next LT Pro"/>
        <a:ea typeface=""/>
        <a:cs typeface=""/>
      </a:majorFont>
      <a:minorFont>
        <a:latin typeface="DIN Next LT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60000"/>
                <a:satMod val="300000"/>
              </a:schemeClr>
            </a:gs>
            <a:gs pos="30000">
              <a:schemeClr val="phClr">
                <a:shade val="80000"/>
                <a:satMod val="230000"/>
              </a:schemeClr>
            </a:gs>
            <a:gs pos="100000">
              <a:schemeClr val="phClr">
                <a:tint val="97000"/>
                <a:satMod val="22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6000"/>
                <a:satMod val="120000"/>
              </a:schemeClr>
              <a:schemeClr val="phClr">
                <a:tint val="90000"/>
              </a:schemeClr>
            </a:duotone>
          </a:blip>
          <a:tile tx="0" ty="0" sx="35000" sy="40000" flip="x" algn="tl"/>
        </a:blipFill>
      </a:bgFillStyleLst>
    </a:fmtScheme>
  </a:themeElements>
  <a:objectDefaults>
    <a:spDef>
      <a:spPr/>
      <a:bodyPr anchor="ctr"/>
      <a:lstStyle>
        <a:defPPr algn="ctr">
          <a:defRPr sz="1200" dirty="0">
            <a:solidFill>
              <a:schemeClr val="tx1"/>
            </a:solidFill>
            <a:cs typeface="Arial" pitchFamily="34" charset="0"/>
          </a:defRPr>
        </a:defPPr>
      </a:lstStyle>
      <a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>
          <a:defRPr sz="14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ASEX" id="{9D642845-747A-443B-9F32-D49CBA19C471}" vid="{E0B3D6B5-E4D1-4015-8FCD-EC74E52A3577}"/>
    </a:ext>
  </a:extLst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Control xmlns="http://schemas.microsoft.com/VisualStudio/2011/storyboarding/control">
  <Id Name="System.Storyboarding.Backgrounds.RibbonApplication" Revision="1" Stencil="System.Storyboarding.Backgrounds" StencilVersion="0.1"/>
</Control>
</file>

<file path=customXml/itemProps1.xml><?xml version="1.0" encoding="utf-8"?>
<ds:datastoreItem xmlns:ds="http://schemas.openxmlformats.org/officeDocument/2006/customXml" ds:itemID="{E9575964-7DB8-45BF-8147-432D94217AFB}">
  <ds:schemaRefs>
    <ds:schemaRef ds:uri="http://schemas.microsoft.com/VisualStudio/2011/storyboarding/contro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Vorlage 16-9</Template>
  <TotalTime>0</TotalTime>
  <Words>1328</Words>
  <Application>Microsoft Office PowerPoint</Application>
  <PresentationFormat>Breitbild</PresentationFormat>
  <Paragraphs>314</Paragraphs>
  <Slides>18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DIN Next LT Pro</vt:lpstr>
      <vt:lpstr>Wingdings</vt:lpstr>
      <vt:lpstr>Wingdings 3</vt:lpstr>
      <vt:lpstr>WASEX</vt:lpstr>
      <vt:lpstr>1_WASEX</vt:lpstr>
      <vt:lpstr>IX TAYSAD AFTERMARKET CONFERENCE Istanbul, 25.May 2018</vt:lpstr>
      <vt:lpstr>About wolk after sales experts</vt:lpstr>
      <vt:lpstr>Aftermarket sales and marketing services</vt:lpstr>
      <vt:lpstr>Agenda</vt:lpstr>
      <vt:lpstr>Aftermarket structure in Europe</vt:lpstr>
      <vt:lpstr>GenEral Influence FactOrs</vt:lpstr>
      <vt:lpstr>Agenda</vt:lpstr>
      <vt:lpstr>Global view on vehicle park – forecast</vt:lpstr>
      <vt:lpstr>Nine clusters of the European aftermarket</vt:lpstr>
      <vt:lpstr>PowerPoint-Präsentation</vt:lpstr>
      <vt:lpstr>Key figures Car Aftermarket in Europe G5</vt:lpstr>
      <vt:lpstr>Key figures Car Aftermarket in Turkey</vt:lpstr>
      <vt:lpstr>Key figures Car Aftermarket in Russia</vt:lpstr>
      <vt:lpstr>Key figures Car Aftermarket in Africa</vt:lpstr>
      <vt:lpstr>Agenda</vt:lpstr>
      <vt:lpstr>Conclusions</vt:lpstr>
      <vt:lpstr>Mid term Outlook 2025</vt:lpstr>
      <vt:lpstr>Thank you</vt:lpstr>
    </vt:vector>
  </TitlesOfParts>
  <Company>Wolk &amp; Partner Car Consult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wolk after sales experts</dc:creator>
  <cp:lastModifiedBy>Zoran Nikolic</cp:lastModifiedBy>
  <cp:revision>330</cp:revision>
  <dcterms:created xsi:type="dcterms:W3CDTF">2009-03-24T09:45:06Z</dcterms:created>
  <dcterms:modified xsi:type="dcterms:W3CDTF">2018-05-22T14:26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fs.IsStoryboard">
    <vt:bool>true</vt:bool>
  </property>
  <property fmtid="{D5CDD505-2E9C-101B-9397-08002B2CF9AE}" pid="3" name="Tfs.LastKnownPath">
    <vt:lpwstr>\\FS02\Daten\DATABASE\ORGDB\Do100000\00133708.pptx</vt:lpwstr>
  </property>
</Properties>
</file>